
<file path=[Content_Types].xml><?xml version="1.0" encoding="utf-8"?>
<Types xmlns="http://schemas.openxmlformats.org/package/2006/content-types">
  <Default Extension="xml" ContentType="application/xml"/>
  <Default Extension="bin" ContentType="application/vnd.openxmlformats-officedocument.presentationml.printerSettings"/>
  <Default Extension="vml" ContentType="application/vnd.openxmlformats-officedocument.vmlDrawing"/>
  <Default Extension="png" ContentType="image/png"/>
  <Default Extension="emf" ContentType="image/x-emf"/>
  <Default Extension="rels" ContentType="application/vnd.openxmlformats-package.relationships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slides/slide72.xml" ContentType="application/vnd.openxmlformats-officedocument.presentationml.slide+xml"/>
  <Override PartName="/ppt/slides/slide73.xml" ContentType="application/vnd.openxmlformats-officedocument.presentationml.slide+xml"/>
  <Override PartName="/ppt/slides/slide74.xml" ContentType="application/vnd.openxmlformats-officedocument.presentationml.slide+xml"/>
  <Override PartName="/ppt/slides/slide75.xml" ContentType="application/vnd.openxmlformats-officedocument.presentationml.slide+xml"/>
  <Override PartName="/ppt/slides/slide76.xml" ContentType="application/vnd.openxmlformats-officedocument.presentationml.slide+xml"/>
  <Override PartName="/ppt/slides/slide77.xml" ContentType="application/vnd.openxmlformats-officedocument.presentationml.slide+xml"/>
  <Override PartName="/ppt/slides/slide78.xml" ContentType="application/vnd.openxmlformats-officedocument.presentationml.slide+xml"/>
  <Override PartName="/ppt/slides/slide79.xml" ContentType="application/vnd.openxmlformats-officedocument.presentationml.slide+xml"/>
  <Override PartName="/ppt/slides/slide80.xml" ContentType="application/vnd.openxmlformats-officedocument.presentationml.slide+xml"/>
  <Override PartName="/ppt/slides/slide81.xml" ContentType="application/vnd.openxmlformats-officedocument.presentationml.slide+xml"/>
  <Override PartName="/ppt/slides/slide82.xml" ContentType="application/vnd.openxmlformats-officedocument.presentationml.slide+xml"/>
  <Override PartName="/ppt/slides/slide83.xml" ContentType="application/vnd.openxmlformats-officedocument.presentationml.slide+xml"/>
  <Override PartName="/ppt/slides/slide84.xml" ContentType="application/vnd.openxmlformats-officedocument.presentationml.slide+xml"/>
  <Override PartName="/ppt/slides/slide85.xml" ContentType="application/vnd.openxmlformats-officedocument.presentationml.slide+xml"/>
  <Override PartName="/ppt/slides/slide86.xml" ContentType="application/vnd.openxmlformats-officedocument.presentationml.slide+xml"/>
  <Override PartName="/ppt/slides/slide87.xml" ContentType="application/vnd.openxmlformats-officedocument.presentationml.slide+xml"/>
  <Override PartName="/ppt/slides/slide88.xml" ContentType="application/vnd.openxmlformats-officedocument.presentationml.slide+xml"/>
  <Override PartName="/ppt/slides/slide89.xml" ContentType="application/vnd.openxmlformats-officedocument.presentationml.slide+xml"/>
  <Override PartName="/ppt/slides/slide90.xml" ContentType="application/vnd.openxmlformats-officedocument.presentationml.slide+xml"/>
  <Override PartName="/ppt/slides/slide91.xml" ContentType="application/vnd.openxmlformats-officedocument.presentationml.slide+xml"/>
  <Override PartName="/ppt/slides/slide92.xml" ContentType="application/vnd.openxmlformats-officedocument.presentationml.slide+xml"/>
  <Override PartName="/ppt/slides/slide93.xml" ContentType="application/vnd.openxmlformats-officedocument.presentationml.slide+xml"/>
  <Override PartName="/ppt/slides/slide94.xml" ContentType="application/vnd.openxmlformats-officedocument.presentationml.slide+xml"/>
  <Override PartName="/ppt/slides/slide95.xml" ContentType="application/vnd.openxmlformats-officedocument.presentationml.slide+xml"/>
  <Override PartName="/ppt/slides/slide96.xml" ContentType="application/vnd.openxmlformats-officedocument.presentationml.slide+xml"/>
  <Override PartName="/ppt/slides/slide97.xml" ContentType="application/vnd.openxmlformats-officedocument.presentationml.slide+xml"/>
  <Override PartName="/ppt/slides/slide98.xml" ContentType="application/vnd.openxmlformats-officedocument.presentationml.slide+xml"/>
  <Override PartName="/ppt/slides/slide99.xml" ContentType="application/vnd.openxmlformats-officedocument.presentationml.slide+xml"/>
  <Override PartName="/ppt/slides/slide100.xml" ContentType="application/vnd.openxmlformats-officedocument.presentationml.slide+xml"/>
  <Override PartName="/ppt/slides/slide101.xml" ContentType="application/vnd.openxmlformats-officedocument.presentationml.slide+xml"/>
  <Override PartName="/ppt/slides/slide102.xml" ContentType="application/vnd.openxmlformats-officedocument.presentationml.slide+xml"/>
  <Override PartName="/ppt/slides/slide103.xml" ContentType="application/vnd.openxmlformats-officedocument.presentationml.slide+xml"/>
  <Override PartName="/ppt/slides/slide104.xml" ContentType="application/vnd.openxmlformats-officedocument.presentationml.slide+xml"/>
  <Override PartName="/ppt/slides/slide105.xml" ContentType="application/vnd.openxmlformats-officedocument.presentationml.slide+xml"/>
  <Override PartName="/ppt/slides/slide106.xml" ContentType="application/vnd.openxmlformats-officedocument.presentationml.slide+xml"/>
  <Override PartName="/ppt/slides/slide107.xml" ContentType="application/vnd.openxmlformats-officedocument.presentationml.slide+xml"/>
  <Override PartName="/ppt/slides/slide108.xml" ContentType="application/vnd.openxmlformats-officedocument.presentationml.slide+xml"/>
  <Override PartName="/ppt/slides/slide109.xml" ContentType="application/vnd.openxmlformats-officedocument.presentationml.slide+xml"/>
  <Override PartName="/ppt/slides/slide110.xml" ContentType="application/vnd.openxmlformats-officedocument.presentationml.slide+xml"/>
  <Override PartName="/ppt/slides/slide111.xml" ContentType="application/vnd.openxmlformats-officedocument.presentationml.slide+xml"/>
  <Override PartName="/ppt/slides/slide112.xml" ContentType="application/vnd.openxmlformats-officedocument.presentationml.slide+xml"/>
  <Override PartName="/ppt/slides/slide113.xml" ContentType="application/vnd.openxmlformats-officedocument.presentationml.slide+xml"/>
  <Override PartName="/ppt/slides/slide114.xml" ContentType="application/vnd.openxmlformats-officedocument.presentationml.slide+xml"/>
  <Override PartName="/ppt/slides/slide115.xml" ContentType="application/vnd.openxmlformats-officedocument.presentationml.slide+xml"/>
  <Override PartName="/ppt/slides/slide116.xml" ContentType="application/vnd.openxmlformats-officedocument.presentationml.slide+xml"/>
  <Override PartName="/ppt/slides/slide117.xml" ContentType="application/vnd.openxmlformats-officedocument.presentationml.slide+xml"/>
  <Override PartName="/ppt/slides/slide118.xml" ContentType="application/vnd.openxmlformats-officedocument.presentationml.slide+xml"/>
  <Override PartName="/ppt/slides/slide119.xml" ContentType="application/vnd.openxmlformats-officedocument.presentationml.slide+xml"/>
  <Override PartName="/ppt/slides/slide120.xml" ContentType="application/vnd.openxmlformats-officedocument.presentationml.slide+xml"/>
  <Override PartName="/ppt/slides/slide121.xml" ContentType="application/vnd.openxmlformats-officedocument.presentationml.slide+xml"/>
  <Override PartName="/ppt/slides/slide122.xml" ContentType="application/vnd.openxmlformats-officedocument.presentationml.slide+xml"/>
  <Override PartName="/ppt/slides/slide123.xml" ContentType="application/vnd.openxmlformats-officedocument.presentationml.slide+xml"/>
  <Override PartName="/ppt/slides/slide124.xml" ContentType="application/vnd.openxmlformats-officedocument.presentationml.slide+xml"/>
  <Override PartName="/ppt/slides/slide125.xml" ContentType="application/vnd.openxmlformats-officedocument.presentationml.slide+xml"/>
  <Override PartName="/ppt/slides/slide126.xml" ContentType="application/vnd.openxmlformats-officedocument.presentationml.slide+xml"/>
  <Override PartName="/ppt/slides/slide127.xml" ContentType="application/vnd.openxmlformats-officedocument.presentationml.slide+xml"/>
  <Override PartName="/ppt/slides/slide128.xml" ContentType="application/vnd.openxmlformats-officedocument.presentationml.slide+xml"/>
  <Override PartName="/ppt/slides/slide129.xml" ContentType="application/vnd.openxmlformats-officedocument.presentationml.slide+xml"/>
  <Override PartName="/ppt/slides/slide130.xml" ContentType="application/vnd.openxmlformats-officedocument.presentationml.slide+xml"/>
  <Override PartName="/ppt/slides/slide131.xml" ContentType="application/vnd.openxmlformats-officedocument.presentationml.slide+xml"/>
  <Override PartName="/ppt/slides/slide132.xml" ContentType="application/vnd.openxmlformats-officedocument.presentationml.slide+xml"/>
  <Override PartName="/ppt/slides/slide133.xml" ContentType="application/vnd.openxmlformats-officedocument.presentationml.slide+xml"/>
  <Override PartName="/ppt/slides/slide134.xml" ContentType="application/vnd.openxmlformats-officedocument.presentationml.slide+xml"/>
  <Override PartName="/ppt/slides/slide135.xml" ContentType="application/vnd.openxmlformats-officedocument.presentationml.slide+xml"/>
  <Override PartName="/ppt/slides/slide136.xml" ContentType="application/vnd.openxmlformats-officedocument.presentationml.slide+xml"/>
  <Override PartName="/ppt/slides/slide137.xml" ContentType="application/vnd.openxmlformats-officedocument.presentationml.slide+xml"/>
  <Override PartName="/ppt/slides/slide138.xml" ContentType="application/vnd.openxmlformats-officedocument.presentationml.slide+xml"/>
  <Override PartName="/ppt/slides/slide139.xml" ContentType="application/vnd.openxmlformats-officedocument.presentationml.slide+xml"/>
  <Override PartName="/ppt/slides/slide140.xml" ContentType="application/vnd.openxmlformats-officedocument.presentationml.slide+xml"/>
  <Override PartName="/ppt/slides/slide141.xml" ContentType="application/vnd.openxmlformats-officedocument.presentationml.slide+xml"/>
  <Override PartName="/ppt/slides/slide142.xml" ContentType="application/vnd.openxmlformats-officedocument.presentationml.slide+xml"/>
  <Override PartName="/ppt/slides/slide143.xml" ContentType="application/vnd.openxmlformats-officedocument.presentationml.slide+xml"/>
  <Override PartName="/ppt/slides/slide144.xml" ContentType="application/vnd.openxmlformats-officedocument.presentationml.slide+xml"/>
  <Override PartName="/ppt/slides/slide145.xml" ContentType="application/vnd.openxmlformats-officedocument.presentationml.slide+xml"/>
  <Override PartName="/ppt/slides/slide146.xml" ContentType="application/vnd.openxmlformats-officedocument.presentationml.slide+xml"/>
  <Override PartName="/ppt/slides/slide147.xml" ContentType="application/vnd.openxmlformats-officedocument.presentationml.slide+xml"/>
  <Override PartName="/ppt/slides/slide148.xml" ContentType="application/vnd.openxmlformats-officedocument.presentationml.slide+xml"/>
  <Override PartName="/ppt/slides/slide149.xml" ContentType="application/vnd.openxmlformats-officedocument.presentationml.slide+xml"/>
  <Override PartName="/ppt/slides/slide150.xml" ContentType="application/vnd.openxmlformats-officedocument.presentationml.slide+xml"/>
  <Override PartName="/ppt/slides/slide151.xml" ContentType="application/vnd.openxmlformats-officedocument.presentationml.slide+xml"/>
  <Override PartName="/ppt/slides/slide152.xml" ContentType="application/vnd.openxmlformats-officedocument.presentationml.slide+xml"/>
  <Override PartName="/ppt/slides/slide153.xml" ContentType="application/vnd.openxmlformats-officedocument.presentationml.slide+xml"/>
  <Override PartName="/ppt/slides/slide154.xml" ContentType="application/vnd.openxmlformats-officedocument.presentationml.slide+xml"/>
  <Override PartName="/ppt/slides/slide155.xml" ContentType="application/vnd.openxmlformats-officedocument.presentationml.slide+xml"/>
  <Override PartName="/ppt/slides/slide156.xml" ContentType="application/vnd.openxmlformats-officedocument.presentationml.slide+xml"/>
  <Override PartName="/ppt/slides/slide157.xml" ContentType="application/vnd.openxmlformats-officedocument.presentationml.slide+xml"/>
  <Override PartName="/ppt/slides/slide158.xml" ContentType="application/vnd.openxmlformats-officedocument.presentationml.slide+xml"/>
  <Override PartName="/ppt/slides/slide159.xml" ContentType="application/vnd.openxmlformats-officedocument.presentationml.slide+xml"/>
  <Override PartName="/ppt/slides/slide160.xml" ContentType="application/vnd.openxmlformats-officedocument.presentationml.slide+xml"/>
  <Override PartName="/ppt/slides/slide161.xml" ContentType="application/vnd.openxmlformats-officedocument.presentationml.slide+xml"/>
  <Override PartName="/ppt/slides/slide162.xml" ContentType="application/vnd.openxmlformats-officedocument.presentationml.slide+xml"/>
  <Override PartName="/ppt/slides/slide163.xml" ContentType="application/vnd.openxmlformats-officedocument.presentationml.slide+xml"/>
  <Override PartName="/ppt/slides/slide164.xml" ContentType="application/vnd.openxmlformats-officedocument.presentationml.slide+xml"/>
  <Override PartName="/ppt/slides/slide165.xml" ContentType="application/vnd.openxmlformats-officedocument.presentationml.slide+xml"/>
  <Override PartName="/ppt/slides/slide166.xml" ContentType="application/vnd.openxmlformats-officedocument.presentationml.slide+xml"/>
  <Override PartName="/ppt/slides/slide167.xml" ContentType="application/vnd.openxmlformats-officedocument.presentationml.slide+xml"/>
  <Override PartName="/ppt/slides/slide168.xml" ContentType="application/vnd.openxmlformats-officedocument.presentationml.slide+xml"/>
  <Override PartName="/ppt/slides/slide169.xml" ContentType="application/vnd.openxmlformats-officedocument.presentationml.slide+xml"/>
  <Override PartName="/ppt/slides/slide170.xml" ContentType="application/vnd.openxmlformats-officedocument.presentationml.slide+xml"/>
  <Override PartName="/ppt/slides/slide171.xml" ContentType="application/vnd.openxmlformats-officedocument.presentationml.slide+xml"/>
  <Override PartName="/ppt/slides/slide172.xml" ContentType="application/vnd.openxmlformats-officedocument.presentationml.slide+xml"/>
  <Override PartName="/ppt/slides/slide173.xml" ContentType="application/vnd.openxmlformats-officedocument.presentationml.slide+xml"/>
  <Override PartName="/ppt/slides/slide174.xml" ContentType="application/vnd.openxmlformats-officedocument.presentationml.slide+xml"/>
  <Override PartName="/ppt/slides/slide175.xml" ContentType="application/vnd.openxmlformats-officedocument.presentationml.slide+xml"/>
  <Override PartName="/ppt/slides/slide176.xml" ContentType="application/vnd.openxmlformats-officedocument.presentationml.slide+xml"/>
  <Override PartName="/ppt/slides/slide177.xml" ContentType="application/vnd.openxmlformats-officedocument.presentationml.slide+xml"/>
  <Override PartName="/ppt/slides/slide178.xml" ContentType="application/vnd.openxmlformats-officedocument.presentationml.slide+xml"/>
  <Override PartName="/ppt/slides/slide179.xml" ContentType="application/vnd.openxmlformats-officedocument.presentationml.slide+xml"/>
  <Override PartName="/ppt/slides/slide180.xml" ContentType="application/vnd.openxmlformats-officedocument.presentationml.slide+xml"/>
  <Override PartName="/ppt/slides/slide181.xml" ContentType="application/vnd.openxmlformats-officedocument.presentationml.slide+xml"/>
  <Override PartName="/ppt/slides/slide182.xml" ContentType="application/vnd.openxmlformats-officedocument.presentationml.slide+xml"/>
  <Override PartName="/ppt/slides/slide183.xml" ContentType="application/vnd.openxmlformats-officedocument.presentationml.slide+xml"/>
  <Override PartName="/ppt/slides/slide184.xml" ContentType="application/vnd.openxmlformats-officedocument.presentationml.slide+xml"/>
  <Override PartName="/ppt/slides/slide185.xml" ContentType="application/vnd.openxmlformats-officedocument.presentationml.slide+xml"/>
  <Override PartName="/ppt/slides/slide186.xml" ContentType="application/vnd.openxmlformats-officedocument.presentationml.slide+xml"/>
  <Override PartName="/ppt/slides/slide187.xml" ContentType="application/vnd.openxmlformats-officedocument.presentationml.slide+xml"/>
  <Override PartName="/ppt/slides/slide188.xml" ContentType="application/vnd.openxmlformats-officedocument.presentationml.slide+xml"/>
  <Override PartName="/ppt/slides/slide189.xml" ContentType="application/vnd.openxmlformats-officedocument.presentationml.slide+xml"/>
  <Override PartName="/ppt/slides/slide190.xml" ContentType="application/vnd.openxmlformats-officedocument.presentationml.slide+xml"/>
  <Override PartName="/ppt/slides/slide191.xml" ContentType="application/vnd.openxmlformats-officedocument.presentationml.slide+xml"/>
  <Override PartName="/ppt/slides/slide192.xml" ContentType="application/vnd.openxmlformats-officedocument.presentationml.slide+xml"/>
  <Override PartName="/ppt/slides/slide193.xml" ContentType="application/vnd.openxmlformats-officedocument.presentationml.slide+xml"/>
  <Override PartName="/ppt/slides/slide194.xml" ContentType="application/vnd.openxmlformats-officedocument.presentationml.slide+xml"/>
  <Override PartName="/ppt/slides/slide195.xml" ContentType="application/vnd.openxmlformats-officedocument.presentationml.slide+xml"/>
  <Override PartName="/ppt/slides/slide196.xml" ContentType="application/vnd.openxmlformats-officedocument.presentationml.slide+xml"/>
  <Override PartName="/ppt/slides/slide197.xml" ContentType="application/vnd.openxmlformats-officedocument.presentationml.slide+xml"/>
  <Override PartName="/ppt/slides/slide198.xml" ContentType="application/vnd.openxmlformats-officedocument.presentationml.slide+xml"/>
  <Override PartName="/ppt/slides/slide199.xml" ContentType="application/vnd.openxmlformats-officedocument.presentationml.slide+xml"/>
  <Override PartName="/ppt/slides/slide200.xml" ContentType="application/vnd.openxmlformats-officedocument.presentationml.slide+xml"/>
  <Override PartName="/ppt/slides/slide201.xml" ContentType="application/vnd.openxmlformats-officedocument.presentationml.slide+xml"/>
  <Override PartName="/ppt/slides/slide202.xml" ContentType="application/vnd.openxmlformats-officedocument.presentationml.slide+xml"/>
  <Override PartName="/ppt/slides/slide203.xml" ContentType="application/vnd.openxmlformats-officedocument.presentationml.slide+xml"/>
  <Override PartName="/ppt/slides/slide204.xml" ContentType="application/vnd.openxmlformats-officedocument.presentationml.slide+xml"/>
  <Override PartName="/ppt/slides/slide205.xml" ContentType="application/vnd.openxmlformats-officedocument.presentationml.slide+xml"/>
  <Override PartName="/ppt/slides/slide206.xml" ContentType="application/vnd.openxmlformats-officedocument.presentationml.slide+xml"/>
  <Override PartName="/ppt/slides/slide207.xml" ContentType="application/vnd.openxmlformats-officedocument.presentationml.slide+xml"/>
  <Override PartName="/ppt/slides/slide208.xml" ContentType="application/vnd.openxmlformats-officedocument.presentationml.slide+xml"/>
  <Override PartName="/ppt/slides/slide209.xml" ContentType="application/vnd.openxmlformats-officedocument.presentationml.slide+xml"/>
  <Override PartName="/ppt/slides/slide210.xml" ContentType="application/vnd.openxmlformats-officedocument.presentationml.slide+xml"/>
  <Override PartName="/ppt/slides/slide211.xml" ContentType="application/vnd.openxmlformats-officedocument.presentationml.slide+xml"/>
  <Override PartName="/ppt/slides/slide212.xml" ContentType="application/vnd.openxmlformats-officedocument.presentationml.slide+xml"/>
  <Override PartName="/ppt/slides/slide213.xml" ContentType="application/vnd.openxmlformats-officedocument.presentationml.slide+xml"/>
  <Override PartName="/ppt/slides/slide214.xml" ContentType="application/vnd.openxmlformats-officedocument.presentationml.slide+xml"/>
  <Override PartName="/ppt/slides/slide215.xml" ContentType="application/vnd.openxmlformats-officedocument.presentationml.slide+xml"/>
  <Override PartName="/ppt/slides/slide216.xml" ContentType="application/vnd.openxmlformats-officedocument.presentationml.slide+xml"/>
  <Override PartName="/ppt/slides/slide217.xml" ContentType="application/vnd.openxmlformats-officedocument.presentationml.slide+xml"/>
  <Override PartName="/ppt/slides/slide218.xml" ContentType="application/vnd.openxmlformats-officedocument.presentationml.slide+xml"/>
  <Override PartName="/ppt/slides/slide219.xml" ContentType="application/vnd.openxmlformats-officedocument.presentationml.slide+xml"/>
  <Override PartName="/ppt/slides/slide220.xml" ContentType="application/vnd.openxmlformats-officedocument.presentationml.slide+xml"/>
  <Override PartName="/ppt/slides/slide221.xml" ContentType="application/vnd.openxmlformats-officedocument.presentationml.slide+xml"/>
  <Override PartName="/ppt/slides/slide222.xml" ContentType="application/vnd.openxmlformats-officedocument.presentationml.slide+xml"/>
  <Override PartName="/ppt/slides/slide223.xml" ContentType="application/vnd.openxmlformats-officedocument.presentationml.slide+xml"/>
  <Override PartName="/ppt/slides/slide224.xml" ContentType="application/vnd.openxmlformats-officedocument.presentationml.slide+xml"/>
  <Override PartName="/ppt/slides/slide225.xml" ContentType="application/vnd.openxmlformats-officedocument.presentationml.slide+xml"/>
  <Override PartName="/ppt/slides/slide226.xml" ContentType="application/vnd.openxmlformats-officedocument.presentationml.slide+xml"/>
  <Override PartName="/ppt/slides/slide227.xml" ContentType="application/vnd.openxmlformats-officedocument.presentationml.slide+xml"/>
  <Override PartName="/ppt/slides/slide228.xml" ContentType="application/vnd.openxmlformats-officedocument.presentationml.slide+xml"/>
  <Override PartName="/ppt/slides/slide229.xml" ContentType="application/vnd.openxmlformats-officedocument.presentationml.slide+xml"/>
  <Override PartName="/ppt/slides/slide230.xml" ContentType="application/vnd.openxmlformats-officedocument.presentationml.slide+xml"/>
  <Override PartName="/ppt/slides/slide231.xml" ContentType="application/vnd.openxmlformats-officedocument.presentationml.slide+xml"/>
  <Override PartName="/ppt/slides/slide232.xml" ContentType="application/vnd.openxmlformats-officedocument.presentationml.slide+xml"/>
  <Override PartName="/ppt/slides/slide233.xml" ContentType="application/vnd.openxmlformats-officedocument.presentationml.slide+xml"/>
  <Override PartName="/ppt/slides/slide234.xml" ContentType="application/vnd.openxmlformats-officedocument.presentationml.slide+xml"/>
  <Override PartName="/ppt/slides/slide235.xml" ContentType="application/vnd.openxmlformats-officedocument.presentationml.slide+xml"/>
  <Override PartName="/ppt/slides/slide236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ppt/embeddings/oleObject1.bin" ContentType="application/vnd.openxmlformats-officedocument.oleObject"/>
  <Override PartName="/ppt/tags/tag2.xml" ContentType="application/vnd.openxmlformats-officedocument.presentationml.tags+xml"/>
  <Override PartName="/ppt/embeddings/oleObject2.bin" ContentType="application/vnd.openxmlformats-officedocument.oleObject"/>
  <Override PartName="/ppt/tags/tag3.xml" ContentType="application/vnd.openxmlformats-officedocument.presentationml.tags+xml"/>
  <Override PartName="/ppt/embeddings/oleObject3.bin" ContentType="application/vnd.openxmlformats-officedocument.oleObject"/>
  <Override PartName="/ppt/tags/tag4.xml" ContentType="application/vnd.openxmlformats-officedocument.presentationml.tags+xml"/>
  <Override PartName="/ppt/embeddings/oleObject4.bin" ContentType="application/vnd.openxmlformats-officedocument.oleObject"/>
  <Override PartName="/ppt/tags/tag5.xml" ContentType="application/vnd.openxmlformats-officedocument.presentationml.tags+xml"/>
  <Override PartName="/ppt/embeddings/oleObject5.bin" ContentType="application/vnd.openxmlformats-officedocument.oleObject"/>
  <Override PartName="/ppt/tags/tag6.xml" ContentType="application/vnd.openxmlformats-officedocument.presentationml.tags+xml"/>
  <Override PartName="/ppt/embeddings/oleObject6.bin" ContentType="application/vnd.openxmlformats-officedocument.oleObject"/>
  <Override PartName="/ppt/tags/tag7.xml" ContentType="application/vnd.openxmlformats-officedocument.presentationml.tags+xml"/>
  <Override PartName="/ppt/embeddings/oleObject7.bin" ContentType="application/vnd.openxmlformats-officedocument.oleObject"/>
  <Override PartName="/ppt/tags/tag8.xml" ContentType="application/vnd.openxmlformats-officedocument.presentationml.tags+xml"/>
  <Override PartName="/ppt/embeddings/oleObject8.bin" ContentType="application/vnd.openxmlformats-officedocument.oleObject"/>
  <Override PartName="/ppt/tags/tag9.xml" ContentType="application/vnd.openxmlformats-officedocument.presentationml.tags+xml"/>
  <Override PartName="/ppt/embeddings/oleObject9.bin" ContentType="application/vnd.openxmlformats-officedocument.oleObject"/>
  <Override PartName="/ppt/tags/tag10.xml" ContentType="application/vnd.openxmlformats-officedocument.presentationml.tags+xml"/>
  <Override PartName="/ppt/embeddings/oleObject10.bin" ContentType="application/vnd.openxmlformats-officedocument.oleObject"/>
  <Override PartName="/ppt/tags/tag11.xml" ContentType="application/vnd.openxmlformats-officedocument.presentationml.tags+xml"/>
  <Override PartName="/ppt/embeddings/oleObject11.bin" ContentType="application/vnd.openxmlformats-officedocument.oleObject"/>
  <Override PartName="/ppt/tags/tag12.xml" ContentType="application/vnd.openxmlformats-officedocument.presentationml.tags+xml"/>
  <Override PartName="/ppt/embeddings/oleObject12.bin" ContentType="application/vnd.openxmlformats-officedocument.oleObject"/>
  <Override PartName="/ppt/tags/tag13.xml" ContentType="application/vnd.openxmlformats-officedocument.presentationml.tags+xml"/>
  <Override PartName="/ppt/embeddings/oleObject13.bin" ContentType="application/vnd.openxmlformats-officedocument.oleObject"/>
  <Override PartName="/ppt/tags/tag14.xml" ContentType="application/vnd.openxmlformats-officedocument.presentationml.tags+xml"/>
  <Override PartName="/ppt/embeddings/oleObject14.bin" ContentType="application/vnd.openxmlformats-officedocument.oleObject"/>
  <Override PartName="/ppt/tags/tag15.xml" ContentType="application/vnd.openxmlformats-officedocument.presentationml.tags+xml"/>
  <Override PartName="/ppt/embeddings/oleObject15.bin" ContentType="application/vnd.openxmlformats-officedocument.oleObject"/>
  <Override PartName="/ppt/tags/tag16.xml" ContentType="application/vnd.openxmlformats-officedocument.presentationml.tags+xml"/>
  <Override PartName="/ppt/embeddings/oleObject16.bin" ContentType="application/vnd.openxmlformats-officedocument.oleObject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2" Type="http://schemas.openxmlformats.org/package/2006/relationships/metadata/core-properties" Target="docProps/core.xml"/><Relationship Id="rId3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256" r:id="rId2"/>
    <p:sldId id="492" r:id="rId3"/>
    <p:sldId id="493" r:id="rId4"/>
    <p:sldId id="494" r:id="rId5"/>
    <p:sldId id="495" r:id="rId6"/>
    <p:sldId id="496" r:id="rId7"/>
    <p:sldId id="497" r:id="rId8"/>
    <p:sldId id="498" r:id="rId9"/>
    <p:sldId id="499" r:id="rId10"/>
    <p:sldId id="500" r:id="rId11"/>
    <p:sldId id="266" r:id="rId12"/>
    <p:sldId id="267" r:id="rId13"/>
    <p:sldId id="268" r:id="rId14"/>
    <p:sldId id="269" r:id="rId15"/>
    <p:sldId id="270" r:id="rId16"/>
    <p:sldId id="271" r:id="rId17"/>
    <p:sldId id="272" r:id="rId18"/>
    <p:sldId id="273" r:id="rId19"/>
    <p:sldId id="503" r:id="rId20"/>
    <p:sldId id="504" r:id="rId21"/>
    <p:sldId id="505" r:id="rId22"/>
    <p:sldId id="506" r:id="rId23"/>
    <p:sldId id="507" r:id="rId24"/>
    <p:sldId id="508" r:id="rId25"/>
    <p:sldId id="509" r:id="rId26"/>
    <p:sldId id="510" r:id="rId27"/>
    <p:sldId id="511" r:id="rId28"/>
    <p:sldId id="512" r:id="rId29"/>
    <p:sldId id="513" r:id="rId30"/>
    <p:sldId id="514" r:id="rId31"/>
    <p:sldId id="515" r:id="rId32"/>
    <p:sldId id="516" r:id="rId33"/>
    <p:sldId id="517" r:id="rId34"/>
    <p:sldId id="518" r:id="rId35"/>
    <p:sldId id="519" r:id="rId36"/>
    <p:sldId id="520" r:id="rId37"/>
    <p:sldId id="521" r:id="rId38"/>
    <p:sldId id="522" r:id="rId39"/>
    <p:sldId id="523" r:id="rId40"/>
    <p:sldId id="524" r:id="rId41"/>
    <p:sldId id="525" r:id="rId42"/>
    <p:sldId id="526" r:id="rId43"/>
    <p:sldId id="527" r:id="rId44"/>
    <p:sldId id="528" r:id="rId45"/>
    <p:sldId id="529" r:id="rId46"/>
    <p:sldId id="530" r:id="rId47"/>
    <p:sldId id="531" r:id="rId48"/>
    <p:sldId id="532" r:id="rId49"/>
    <p:sldId id="533" r:id="rId50"/>
    <p:sldId id="534" r:id="rId51"/>
    <p:sldId id="535" r:id="rId52"/>
    <p:sldId id="536" r:id="rId53"/>
    <p:sldId id="537" r:id="rId54"/>
    <p:sldId id="538" r:id="rId55"/>
    <p:sldId id="539" r:id="rId56"/>
    <p:sldId id="540" r:id="rId57"/>
    <p:sldId id="541" r:id="rId58"/>
    <p:sldId id="542" r:id="rId59"/>
    <p:sldId id="543" r:id="rId60"/>
    <p:sldId id="544" r:id="rId61"/>
    <p:sldId id="545" r:id="rId62"/>
    <p:sldId id="546" r:id="rId63"/>
    <p:sldId id="547" r:id="rId64"/>
    <p:sldId id="548" r:id="rId65"/>
    <p:sldId id="549" r:id="rId66"/>
    <p:sldId id="550" r:id="rId67"/>
    <p:sldId id="551" r:id="rId68"/>
    <p:sldId id="552" r:id="rId69"/>
    <p:sldId id="324" r:id="rId70"/>
    <p:sldId id="325" r:id="rId71"/>
    <p:sldId id="326" r:id="rId72"/>
    <p:sldId id="327" r:id="rId73"/>
    <p:sldId id="328" r:id="rId74"/>
    <p:sldId id="329" r:id="rId75"/>
    <p:sldId id="330" r:id="rId76"/>
    <p:sldId id="331" r:id="rId77"/>
    <p:sldId id="332" r:id="rId78"/>
    <p:sldId id="333" r:id="rId79"/>
    <p:sldId id="334" r:id="rId80"/>
    <p:sldId id="335" r:id="rId81"/>
    <p:sldId id="336" r:id="rId82"/>
    <p:sldId id="337" r:id="rId83"/>
    <p:sldId id="338" r:id="rId84"/>
    <p:sldId id="339" r:id="rId85"/>
    <p:sldId id="340" r:id="rId86"/>
    <p:sldId id="341" r:id="rId87"/>
    <p:sldId id="342" r:id="rId88"/>
    <p:sldId id="343" r:id="rId89"/>
    <p:sldId id="344" r:id="rId90"/>
    <p:sldId id="345" r:id="rId91"/>
    <p:sldId id="346" r:id="rId92"/>
    <p:sldId id="347" r:id="rId93"/>
    <p:sldId id="348" r:id="rId94"/>
    <p:sldId id="349" r:id="rId95"/>
    <p:sldId id="350" r:id="rId96"/>
    <p:sldId id="351" r:id="rId97"/>
    <p:sldId id="352" r:id="rId98"/>
    <p:sldId id="553" r:id="rId99"/>
    <p:sldId id="354" r:id="rId100"/>
    <p:sldId id="355" r:id="rId101"/>
    <p:sldId id="356" r:id="rId102"/>
    <p:sldId id="357" r:id="rId103"/>
    <p:sldId id="358" r:id="rId104"/>
    <p:sldId id="359" r:id="rId105"/>
    <p:sldId id="360" r:id="rId106"/>
    <p:sldId id="361" r:id="rId107"/>
    <p:sldId id="362" r:id="rId108"/>
    <p:sldId id="363" r:id="rId109"/>
    <p:sldId id="364" r:id="rId110"/>
    <p:sldId id="365" r:id="rId111"/>
    <p:sldId id="366" r:id="rId112"/>
    <p:sldId id="367" r:id="rId113"/>
    <p:sldId id="368" r:id="rId114"/>
    <p:sldId id="369" r:id="rId115"/>
    <p:sldId id="370" r:id="rId116"/>
    <p:sldId id="371" r:id="rId117"/>
    <p:sldId id="372" r:id="rId118"/>
    <p:sldId id="373" r:id="rId119"/>
    <p:sldId id="374" r:id="rId120"/>
    <p:sldId id="375" r:id="rId121"/>
    <p:sldId id="376" r:id="rId122"/>
    <p:sldId id="377" r:id="rId123"/>
    <p:sldId id="378" r:id="rId124"/>
    <p:sldId id="379" r:id="rId125"/>
    <p:sldId id="554" r:id="rId126"/>
    <p:sldId id="555" r:id="rId127"/>
    <p:sldId id="382" r:id="rId128"/>
    <p:sldId id="383" r:id="rId129"/>
    <p:sldId id="384" r:id="rId130"/>
    <p:sldId id="385" r:id="rId131"/>
    <p:sldId id="386" r:id="rId132"/>
    <p:sldId id="387" r:id="rId133"/>
    <p:sldId id="388" r:id="rId134"/>
    <p:sldId id="389" r:id="rId135"/>
    <p:sldId id="390" r:id="rId136"/>
    <p:sldId id="391" r:id="rId137"/>
    <p:sldId id="392" r:id="rId138"/>
    <p:sldId id="393" r:id="rId139"/>
    <p:sldId id="394" r:id="rId140"/>
    <p:sldId id="395" r:id="rId141"/>
    <p:sldId id="396" r:id="rId142"/>
    <p:sldId id="397" r:id="rId143"/>
    <p:sldId id="398" r:id="rId144"/>
    <p:sldId id="399" r:id="rId145"/>
    <p:sldId id="400" r:id="rId146"/>
    <p:sldId id="401" r:id="rId147"/>
    <p:sldId id="402" r:id="rId148"/>
    <p:sldId id="403" r:id="rId149"/>
    <p:sldId id="404" r:id="rId150"/>
    <p:sldId id="405" r:id="rId151"/>
    <p:sldId id="406" r:id="rId152"/>
    <p:sldId id="407" r:id="rId153"/>
    <p:sldId id="408" r:id="rId154"/>
    <p:sldId id="409" r:id="rId155"/>
    <p:sldId id="410" r:id="rId156"/>
    <p:sldId id="411" r:id="rId157"/>
    <p:sldId id="412" r:id="rId158"/>
    <p:sldId id="413" r:id="rId159"/>
    <p:sldId id="414" r:id="rId160"/>
    <p:sldId id="415" r:id="rId161"/>
    <p:sldId id="416" r:id="rId162"/>
    <p:sldId id="417" r:id="rId163"/>
    <p:sldId id="418" r:id="rId164"/>
    <p:sldId id="419" r:id="rId165"/>
    <p:sldId id="420" r:id="rId166"/>
    <p:sldId id="421" r:id="rId167"/>
    <p:sldId id="422" r:id="rId168"/>
    <p:sldId id="423" r:id="rId169"/>
    <p:sldId id="424" r:id="rId170"/>
    <p:sldId id="425" r:id="rId171"/>
    <p:sldId id="556" r:id="rId172"/>
    <p:sldId id="427" r:id="rId173"/>
    <p:sldId id="428" r:id="rId174"/>
    <p:sldId id="429" r:id="rId175"/>
    <p:sldId id="557" r:id="rId176"/>
    <p:sldId id="430" r:id="rId177"/>
    <p:sldId id="431" r:id="rId178"/>
    <p:sldId id="432" r:id="rId179"/>
    <p:sldId id="434" r:id="rId180"/>
    <p:sldId id="435" r:id="rId181"/>
    <p:sldId id="436" r:id="rId182"/>
    <p:sldId id="438" r:id="rId183"/>
    <p:sldId id="558" r:id="rId184"/>
    <p:sldId id="559" r:id="rId185"/>
    <p:sldId id="440" r:id="rId186"/>
    <p:sldId id="441" r:id="rId187"/>
    <p:sldId id="442" r:id="rId188"/>
    <p:sldId id="443" r:id="rId189"/>
    <p:sldId id="444" r:id="rId190"/>
    <p:sldId id="445" r:id="rId191"/>
    <p:sldId id="446" r:id="rId192"/>
    <p:sldId id="447" r:id="rId193"/>
    <p:sldId id="448" r:id="rId194"/>
    <p:sldId id="449" r:id="rId195"/>
    <p:sldId id="450" r:id="rId196"/>
    <p:sldId id="451" r:id="rId197"/>
    <p:sldId id="452" r:id="rId198"/>
    <p:sldId id="453" r:id="rId199"/>
    <p:sldId id="454" r:id="rId200"/>
    <p:sldId id="560" r:id="rId201"/>
    <p:sldId id="561" r:id="rId202"/>
    <p:sldId id="457" r:id="rId203"/>
    <p:sldId id="458" r:id="rId204"/>
    <p:sldId id="459" r:id="rId205"/>
    <p:sldId id="460" r:id="rId206"/>
    <p:sldId id="461" r:id="rId207"/>
    <p:sldId id="462" r:id="rId208"/>
    <p:sldId id="562" r:id="rId209"/>
    <p:sldId id="463" r:id="rId210"/>
    <p:sldId id="464" r:id="rId211"/>
    <p:sldId id="465" r:id="rId212"/>
    <p:sldId id="466" r:id="rId213"/>
    <p:sldId id="468" r:id="rId214"/>
    <p:sldId id="469" r:id="rId215"/>
    <p:sldId id="470" r:id="rId216"/>
    <p:sldId id="471" r:id="rId217"/>
    <p:sldId id="563" r:id="rId218"/>
    <p:sldId id="473" r:id="rId219"/>
    <p:sldId id="474" r:id="rId220"/>
    <p:sldId id="475" r:id="rId221"/>
    <p:sldId id="564" r:id="rId222"/>
    <p:sldId id="477" r:id="rId223"/>
    <p:sldId id="565" r:id="rId224"/>
    <p:sldId id="479" r:id="rId225"/>
    <p:sldId id="566" r:id="rId226"/>
    <p:sldId id="481" r:id="rId227"/>
    <p:sldId id="567" r:id="rId228"/>
    <p:sldId id="483" r:id="rId229"/>
    <p:sldId id="568" r:id="rId230"/>
    <p:sldId id="569" r:id="rId231"/>
    <p:sldId id="570" r:id="rId232"/>
    <p:sldId id="487" r:id="rId233"/>
    <p:sldId id="571" r:id="rId234"/>
    <p:sldId id="489" r:id="rId235"/>
    <p:sldId id="490" r:id="rId236"/>
    <p:sldId id="491" r:id="rId237"/>
  </p:sldIdLst>
  <p:sldSz cx="9144000" cy="6858000" type="screen4x3"/>
  <p:notesSz cx="9144000" cy="6858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192" userDrawn="1">
          <p15:clr>
            <a:srgbClr val="A4A3A4"/>
          </p15:clr>
        </p15:guide>
        <p15:guide id="2" pos="4896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F7E7E"/>
    <a:srgbClr val="F69545"/>
    <a:srgbClr val="AAC56C"/>
    <a:srgbClr val="FAA757"/>
    <a:srgbClr val="418FA2"/>
    <a:srgbClr val="4E81BC"/>
    <a:srgbClr val="6094C9"/>
    <a:srgbClr val="83984F"/>
    <a:srgbClr val="C1803F"/>
    <a:srgbClr val="CD665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50" autoAdjust="0"/>
    <p:restoredTop sz="95439" autoAdjust="0"/>
  </p:normalViewPr>
  <p:slideViewPr>
    <p:cSldViewPr snapToGrid="0">
      <p:cViewPr>
        <p:scale>
          <a:sx n="75" d="100"/>
          <a:sy n="75" d="100"/>
        </p:scale>
        <p:origin x="-2064" y="-408"/>
      </p:cViewPr>
      <p:guideLst>
        <p:guide orient="horz" pos="192"/>
        <p:guide pos="4896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25" d="100"/>
        <a:sy n="125" d="100"/>
      </p:scale>
      <p:origin x="0" y="-126216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106" Type="http://schemas.openxmlformats.org/officeDocument/2006/relationships/slide" Target="slides/slide105.xml"/><Relationship Id="rId107" Type="http://schemas.openxmlformats.org/officeDocument/2006/relationships/slide" Target="slides/slide106.xml"/><Relationship Id="rId108" Type="http://schemas.openxmlformats.org/officeDocument/2006/relationships/slide" Target="slides/slide107.xml"/><Relationship Id="rId109" Type="http://schemas.openxmlformats.org/officeDocument/2006/relationships/slide" Target="slides/slide108.xml"/><Relationship Id="rId70" Type="http://schemas.openxmlformats.org/officeDocument/2006/relationships/slide" Target="slides/slide69.xml"/><Relationship Id="rId71" Type="http://schemas.openxmlformats.org/officeDocument/2006/relationships/slide" Target="slides/slide70.xml"/><Relationship Id="rId72" Type="http://schemas.openxmlformats.org/officeDocument/2006/relationships/slide" Target="slides/slide71.xml"/><Relationship Id="rId73" Type="http://schemas.openxmlformats.org/officeDocument/2006/relationships/slide" Target="slides/slide72.xml"/><Relationship Id="rId74" Type="http://schemas.openxmlformats.org/officeDocument/2006/relationships/slide" Target="slides/slide73.xml"/><Relationship Id="rId75" Type="http://schemas.openxmlformats.org/officeDocument/2006/relationships/slide" Target="slides/slide74.xml"/><Relationship Id="rId76" Type="http://schemas.openxmlformats.org/officeDocument/2006/relationships/slide" Target="slides/slide75.xml"/><Relationship Id="rId77" Type="http://schemas.openxmlformats.org/officeDocument/2006/relationships/slide" Target="slides/slide76.xml"/><Relationship Id="rId78" Type="http://schemas.openxmlformats.org/officeDocument/2006/relationships/slide" Target="slides/slide77.xml"/><Relationship Id="rId79" Type="http://schemas.openxmlformats.org/officeDocument/2006/relationships/slide" Target="slides/slide78.xml"/><Relationship Id="rId170" Type="http://schemas.openxmlformats.org/officeDocument/2006/relationships/slide" Target="slides/slide169.xml"/><Relationship Id="rId171" Type="http://schemas.openxmlformats.org/officeDocument/2006/relationships/slide" Target="slides/slide170.xml"/><Relationship Id="rId172" Type="http://schemas.openxmlformats.org/officeDocument/2006/relationships/slide" Target="slides/slide171.xml"/><Relationship Id="rId173" Type="http://schemas.openxmlformats.org/officeDocument/2006/relationships/slide" Target="slides/slide172.xml"/><Relationship Id="rId174" Type="http://schemas.openxmlformats.org/officeDocument/2006/relationships/slide" Target="slides/slide173.xml"/><Relationship Id="rId175" Type="http://schemas.openxmlformats.org/officeDocument/2006/relationships/slide" Target="slides/slide174.xml"/><Relationship Id="rId176" Type="http://schemas.openxmlformats.org/officeDocument/2006/relationships/slide" Target="slides/slide175.xml"/><Relationship Id="rId177" Type="http://schemas.openxmlformats.org/officeDocument/2006/relationships/slide" Target="slides/slide176.xml"/><Relationship Id="rId178" Type="http://schemas.openxmlformats.org/officeDocument/2006/relationships/slide" Target="slides/slide177.xml"/><Relationship Id="rId179" Type="http://schemas.openxmlformats.org/officeDocument/2006/relationships/slide" Target="slides/slide178.xml"/><Relationship Id="rId10" Type="http://schemas.openxmlformats.org/officeDocument/2006/relationships/slide" Target="slides/slide9.xml"/><Relationship Id="rId11" Type="http://schemas.openxmlformats.org/officeDocument/2006/relationships/slide" Target="slides/slide10.xml"/><Relationship Id="rId12" Type="http://schemas.openxmlformats.org/officeDocument/2006/relationships/slide" Target="slides/slide11.xml"/><Relationship Id="rId13" Type="http://schemas.openxmlformats.org/officeDocument/2006/relationships/slide" Target="slides/slide12.xml"/><Relationship Id="rId14" Type="http://schemas.openxmlformats.org/officeDocument/2006/relationships/slide" Target="slides/slide13.xml"/><Relationship Id="rId15" Type="http://schemas.openxmlformats.org/officeDocument/2006/relationships/slide" Target="slides/slide14.xml"/><Relationship Id="rId16" Type="http://schemas.openxmlformats.org/officeDocument/2006/relationships/slide" Target="slides/slide15.xml"/><Relationship Id="rId17" Type="http://schemas.openxmlformats.org/officeDocument/2006/relationships/slide" Target="slides/slide16.xml"/><Relationship Id="rId18" Type="http://schemas.openxmlformats.org/officeDocument/2006/relationships/slide" Target="slides/slide17.xml"/><Relationship Id="rId19" Type="http://schemas.openxmlformats.org/officeDocument/2006/relationships/slide" Target="slides/slide18.xml"/><Relationship Id="rId110" Type="http://schemas.openxmlformats.org/officeDocument/2006/relationships/slide" Target="slides/slide109.xml"/><Relationship Id="rId111" Type="http://schemas.openxmlformats.org/officeDocument/2006/relationships/slide" Target="slides/slide110.xml"/><Relationship Id="rId112" Type="http://schemas.openxmlformats.org/officeDocument/2006/relationships/slide" Target="slides/slide111.xml"/><Relationship Id="rId113" Type="http://schemas.openxmlformats.org/officeDocument/2006/relationships/slide" Target="slides/slide112.xml"/><Relationship Id="rId114" Type="http://schemas.openxmlformats.org/officeDocument/2006/relationships/slide" Target="slides/slide113.xml"/><Relationship Id="rId115" Type="http://schemas.openxmlformats.org/officeDocument/2006/relationships/slide" Target="slides/slide114.xml"/><Relationship Id="rId116" Type="http://schemas.openxmlformats.org/officeDocument/2006/relationships/slide" Target="slides/slide115.xml"/><Relationship Id="rId117" Type="http://schemas.openxmlformats.org/officeDocument/2006/relationships/slide" Target="slides/slide116.xml"/><Relationship Id="rId118" Type="http://schemas.openxmlformats.org/officeDocument/2006/relationships/slide" Target="slides/slide117.xml"/><Relationship Id="rId119" Type="http://schemas.openxmlformats.org/officeDocument/2006/relationships/slide" Target="slides/slide118.xml"/><Relationship Id="rId200" Type="http://schemas.openxmlformats.org/officeDocument/2006/relationships/slide" Target="slides/slide199.xml"/><Relationship Id="rId201" Type="http://schemas.openxmlformats.org/officeDocument/2006/relationships/slide" Target="slides/slide200.xml"/><Relationship Id="rId202" Type="http://schemas.openxmlformats.org/officeDocument/2006/relationships/slide" Target="slides/slide201.xml"/><Relationship Id="rId203" Type="http://schemas.openxmlformats.org/officeDocument/2006/relationships/slide" Target="slides/slide202.xml"/><Relationship Id="rId204" Type="http://schemas.openxmlformats.org/officeDocument/2006/relationships/slide" Target="slides/slide203.xml"/><Relationship Id="rId205" Type="http://schemas.openxmlformats.org/officeDocument/2006/relationships/slide" Target="slides/slide204.xml"/><Relationship Id="rId206" Type="http://schemas.openxmlformats.org/officeDocument/2006/relationships/slide" Target="slides/slide205.xml"/><Relationship Id="rId207" Type="http://schemas.openxmlformats.org/officeDocument/2006/relationships/slide" Target="slides/slide206.xml"/><Relationship Id="rId208" Type="http://schemas.openxmlformats.org/officeDocument/2006/relationships/slide" Target="slides/slide207.xml"/><Relationship Id="rId209" Type="http://schemas.openxmlformats.org/officeDocument/2006/relationships/slide" Target="slides/slide208.xml"/><Relationship Id="rId1" Type="http://schemas.openxmlformats.org/officeDocument/2006/relationships/slideMaster" Target="slideMasters/slideMaster1.xml"/><Relationship Id="rId2" Type="http://schemas.openxmlformats.org/officeDocument/2006/relationships/slide" Target="slides/slide1.xml"/><Relationship Id="rId3" Type="http://schemas.openxmlformats.org/officeDocument/2006/relationships/slide" Target="slides/slide2.xml"/><Relationship Id="rId4" Type="http://schemas.openxmlformats.org/officeDocument/2006/relationships/slide" Target="slides/slide3.xml"/><Relationship Id="rId5" Type="http://schemas.openxmlformats.org/officeDocument/2006/relationships/slide" Target="slides/slide4.xml"/><Relationship Id="rId6" Type="http://schemas.openxmlformats.org/officeDocument/2006/relationships/slide" Target="slides/slide5.xml"/><Relationship Id="rId7" Type="http://schemas.openxmlformats.org/officeDocument/2006/relationships/slide" Target="slides/slide6.xml"/><Relationship Id="rId8" Type="http://schemas.openxmlformats.org/officeDocument/2006/relationships/slide" Target="slides/slide7.xml"/><Relationship Id="rId9" Type="http://schemas.openxmlformats.org/officeDocument/2006/relationships/slide" Target="slides/slide8.xml"/><Relationship Id="rId80" Type="http://schemas.openxmlformats.org/officeDocument/2006/relationships/slide" Target="slides/slide79.xml"/><Relationship Id="rId81" Type="http://schemas.openxmlformats.org/officeDocument/2006/relationships/slide" Target="slides/slide80.xml"/><Relationship Id="rId82" Type="http://schemas.openxmlformats.org/officeDocument/2006/relationships/slide" Target="slides/slide81.xml"/><Relationship Id="rId83" Type="http://schemas.openxmlformats.org/officeDocument/2006/relationships/slide" Target="slides/slide82.xml"/><Relationship Id="rId84" Type="http://schemas.openxmlformats.org/officeDocument/2006/relationships/slide" Target="slides/slide83.xml"/><Relationship Id="rId85" Type="http://schemas.openxmlformats.org/officeDocument/2006/relationships/slide" Target="slides/slide84.xml"/><Relationship Id="rId86" Type="http://schemas.openxmlformats.org/officeDocument/2006/relationships/slide" Target="slides/slide85.xml"/><Relationship Id="rId87" Type="http://schemas.openxmlformats.org/officeDocument/2006/relationships/slide" Target="slides/slide86.xml"/><Relationship Id="rId88" Type="http://schemas.openxmlformats.org/officeDocument/2006/relationships/slide" Target="slides/slide87.xml"/><Relationship Id="rId89" Type="http://schemas.openxmlformats.org/officeDocument/2006/relationships/slide" Target="slides/slide88.xml"/><Relationship Id="rId180" Type="http://schemas.openxmlformats.org/officeDocument/2006/relationships/slide" Target="slides/slide179.xml"/><Relationship Id="rId181" Type="http://schemas.openxmlformats.org/officeDocument/2006/relationships/slide" Target="slides/slide180.xml"/><Relationship Id="rId182" Type="http://schemas.openxmlformats.org/officeDocument/2006/relationships/slide" Target="slides/slide181.xml"/><Relationship Id="rId183" Type="http://schemas.openxmlformats.org/officeDocument/2006/relationships/slide" Target="slides/slide182.xml"/><Relationship Id="rId184" Type="http://schemas.openxmlformats.org/officeDocument/2006/relationships/slide" Target="slides/slide183.xml"/><Relationship Id="rId185" Type="http://schemas.openxmlformats.org/officeDocument/2006/relationships/slide" Target="slides/slide184.xml"/><Relationship Id="rId186" Type="http://schemas.openxmlformats.org/officeDocument/2006/relationships/slide" Target="slides/slide185.xml"/><Relationship Id="rId187" Type="http://schemas.openxmlformats.org/officeDocument/2006/relationships/slide" Target="slides/slide186.xml"/><Relationship Id="rId188" Type="http://schemas.openxmlformats.org/officeDocument/2006/relationships/slide" Target="slides/slide187.xml"/><Relationship Id="rId189" Type="http://schemas.openxmlformats.org/officeDocument/2006/relationships/slide" Target="slides/slide188.xml"/><Relationship Id="rId20" Type="http://schemas.openxmlformats.org/officeDocument/2006/relationships/slide" Target="slides/slide19.xml"/><Relationship Id="rId21" Type="http://schemas.openxmlformats.org/officeDocument/2006/relationships/slide" Target="slides/slide20.xml"/><Relationship Id="rId22" Type="http://schemas.openxmlformats.org/officeDocument/2006/relationships/slide" Target="slides/slide21.xml"/><Relationship Id="rId23" Type="http://schemas.openxmlformats.org/officeDocument/2006/relationships/slide" Target="slides/slide22.xml"/><Relationship Id="rId24" Type="http://schemas.openxmlformats.org/officeDocument/2006/relationships/slide" Target="slides/slide23.xml"/><Relationship Id="rId25" Type="http://schemas.openxmlformats.org/officeDocument/2006/relationships/slide" Target="slides/slide24.xml"/><Relationship Id="rId26" Type="http://schemas.openxmlformats.org/officeDocument/2006/relationships/slide" Target="slides/slide25.xml"/><Relationship Id="rId27" Type="http://schemas.openxmlformats.org/officeDocument/2006/relationships/slide" Target="slides/slide26.xml"/><Relationship Id="rId28" Type="http://schemas.openxmlformats.org/officeDocument/2006/relationships/slide" Target="slides/slide27.xml"/><Relationship Id="rId29" Type="http://schemas.openxmlformats.org/officeDocument/2006/relationships/slide" Target="slides/slide28.xml"/><Relationship Id="rId120" Type="http://schemas.openxmlformats.org/officeDocument/2006/relationships/slide" Target="slides/slide119.xml"/><Relationship Id="rId121" Type="http://schemas.openxmlformats.org/officeDocument/2006/relationships/slide" Target="slides/slide120.xml"/><Relationship Id="rId122" Type="http://schemas.openxmlformats.org/officeDocument/2006/relationships/slide" Target="slides/slide121.xml"/><Relationship Id="rId123" Type="http://schemas.openxmlformats.org/officeDocument/2006/relationships/slide" Target="slides/slide122.xml"/><Relationship Id="rId124" Type="http://schemas.openxmlformats.org/officeDocument/2006/relationships/slide" Target="slides/slide123.xml"/><Relationship Id="rId125" Type="http://schemas.openxmlformats.org/officeDocument/2006/relationships/slide" Target="slides/slide124.xml"/><Relationship Id="rId126" Type="http://schemas.openxmlformats.org/officeDocument/2006/relationships/slide" Target="slides/slide125.xml"/><Relationship Id="rId127" Type="http://schemas.openxmlformats.org/officeDocument/2006/relationships/slide" Target="slides/slide126.xml"/><Relationship Id="rId128" Type="http://schemas.openxmlformats.org/officeDocument/2006/relationships/slide" Target="slides/slide127.xml"/><Relationship Id="rId129" Type="http://schemas.openxmlformats.org/officeDocument/2006/relationships/slide" Target="slides/slide128.xml"/><Relationship Id="rId210" Type="http://schemas.openxmlformats.org/officeDocument/2006/relationships/slide" Target="slides/slide209.xml"/><Relationship Id="rId211" Type="http://schemas.openxmlformats.org/officeDocument/2006/relationships/slide" Target="slides/slide210.xml"/><Relationship Id="rId212" Type="http://schemas.openxmlformats.org/officeDocument/2006/relationships/slide" Target="slides/slide211.xml"/><Relationship Id="rId213" Type="http://schemas.openxmlformats.org/officeDocument/2006/relationships/slide" Target="slides/slide212.xml"/><Relationship Id="rId214" Type="http://schemas.openxmlformats.org/officeDocument/2006/relationships/slide" Target="slides/slide213.xml"/><Relationship Id="rId215" Type="http://schemas.openxmlformats.org/officeDocument/2006/relationships/slide" Target="slides/slide214.xml"/><Relationship Id="rId216" Type="http://schemas.openxmlformats.org/officeDocument/2006/relationships/slide" Target="slides/slide215.xml"/><Relationship Id="rId217" Type="http://schemas.openxmlformats.org/officeDocument/2006/relationships/slide" Target="slides/slide216.xml"/><Relationship Id="rId218" Type="http://schemas.openxmlformats.org/officeDocument/2006/relationships/slide" Target="slides/slide217.xml"/><Relationship Id="rId219" Type="http://schemas.openxmlformats.org/officeDocument/2006/relationships/slide" Target="slides/slide218.xml"/><Relationship Id="rId90" Type="http://schemas.openxmlformats.org/officeDocument/2006/relationships/slide" Target="slides/slide89.xml"/><Relationship Id="rId91" Type="http://schemas.openxmlformats.org/officeDocument/2006/relationships/slide" Target="slides/slide90.xml"/><Relationship Id="rId92" Type="http://schemas.openxmlformats.org/officeDocument/2006/relationships/slide" Target="slides/slide91.xml"/><Relationship Id="rId93" Type="http://schemas.openxmlformats.org/officeDocument/2006/relationships/slide" Target="slides/slide92.xml"/><Relationship Id="rId94" Type="http://schemas.openxmlformats.org/officeDocument/2006/relationships/slide" Target="slides/slide93.xml"/><Relationship Id="rId95" Type="http://schemas.openxmlformats.org/officeDocument/2006/relationships/slide" Target="slides/slide94.xml"/><Relationship Id="rId96" Type="http://schemas.openxmlformats.org/officeDocument/2006/relationships/slide" Target="slides/slide95.xml"/><Relationship Id="rId97" Type="http://schemas.openxmlformats.org/officeDocument/2006/relationships/slide" Target="slides/slide96.xml"/><Relationship Id="rId98" Type="http://schemas.openxmlformats.org/officeDocument/2006/relationships/slide" Target="slides/slide97.xml"/><Relationship Id="rId99" Type="http://schemas.openxmlformats.org/officeDocument/2006/relationships/slide" Target="slides/slide98.xml"/><Relationship Id="rId190" Type="http://schemas.openxmlformats.org/officeDocument/2006/relationships/slide" Target="slides/slide189.xml"/><Relationship Id="rId191" Type="http://schemas.openxmlformats.org/officeDocument/2006/relationships/slide" Target="slides/slide190.xml"/><Relationship Id="rId192" Type="http://schemas.openxmlformats.org/officeDocument/2006/relationships/slide" Target="slides/slide191.xml"/><Relationship Id="rId193" Type="http://schemas.openxmlformats.org/officeDocument/2006/relationships/slide" Target="slides/slide192.xml"/><Relationship Id="rId194" Type="http://schemas.openxmlformats.org/officeDocument/2006/relationships/slide" Target="slides/slide193.xml"/><Relationship Id="rId195" Type="http://schemas.openxmlformats.org/officeDocument/2006/relationships/slide" Target="slides/slide194.xml"/><Relationship Id="rId196" Type="http://schemas.openxmlformats.org/officeDocument/2006/relationships/slide" Target="slides/slide195.xml"/><Relationship Id="rId197" Type="http://schemas.openxmlformats.org/officeDocument/2006/relationships/slide" Target="slides/slide196.xml"/><Relationship Id="rId198" Type="http://schemas.openxmlformats.org/officeDocument/2006/relationships/slide" Target="slides/slide197.xml"/><Relationship Id="rId199" Type="http://schemas.openxmlformats.org/officeDocument/2006/relationships/slide" Target="slides/slide198.xml"/><Relationship Id="rId30" Type="http://schemas.openxmlformats.org/officeDocument/2006/relationships/slide" Target="slides/slide29.xml"/><Relationship Id="rId31" Type="http://schemas.openxmlformats.org/officeDocument/2006/relationships/slide" Target="slides/slide30.xml"/><Relationship Id="rId32" Type="http://schemas.openxmlformats.org/officeDocument/2006/relationships/slide" Target="slides/slide31.xml"/><Relationship Id="rId33" Type="http://schemas.openxmlformats.org/officeDocument/2006/relationships/slide" Target="slides/slide32.xml"/><Relationship Id="rId34" Type="http://schemas.openxmlformats.org/officeDocument/2006/relationships/slide" Target="slides/slide33.xml"/><Relationship Id="rId35" Type="http://schemas.openxmlformats.org/officeDocument/2006/relationships/slide" Target="slides/slide34.xml"/><Relationship Id="rId36" Type="http://schemas.openxmlformats.org/officeDocument/2006/relationships/slide" Target="slides/slide35.xml"/><Relationship Id="rId37" Type="http://schemas.openxmlformats.org/officeDocument/2006/relationships/slide" Target="slides/slide36.xml"/><Relationship Id="rId38" Type="http://schemas.openxmlformats.org/officeDocument/2006/relationships/slide" Target="slides/slide37.xml"/><Relationship Id="rId39" Type="http://schemas.openxmlformats.org/officeDocument/2006/relationships/slide" Target="slides/slide38.xml"/><Relationship Id="rId130" Type="http://schemas.openxmlformats.org/officeDocument/2006/relationships/slide" Target="slides/slide129.xml"/><Relationship Id="rId131" Type="http://schemas.openxmlformats.org/officeDocument/2006/relationships/slide" Target="slides/slide130.xml"/><Relationship Id="rId132" Type="http://schemas.openxmlformats.org/officeDocument/2006/relationships/slide" Target="slides/slide131.xml"/><Relationship Id="rId133" Type="http://schemas.openxmlformats.org/officeDocument/2006/relationships/slide" Target="slides/slide132.xml"/><Relationship Id="rId220" Type="http://schemas.openxmlformats.org/officeDocument/2006/relationships/slide" Target="slides/slide219.xml"/><Relationship Id="rId221" Type="http://schemas.openxmlformats.org/officeDocument/2006/relationships/slide" Target="slides/slide220.xml"/><Relationship Id="rId222" Type="http://schemas.openxmlformats.org/officeDocument/2006/relationships/slide" Target="slides/slide221.xml"/><Relationship Id="rId223" Type="http://schemas.openxmlformats.org/officeDocument/2006/relationships/slide" Target="slides/slide222.xml"/><Relationship Id="rId224" Type="http://schemas.openxmlformats.org/officeDocument/2006/relationships/slide" Target="slides/slide223.xml"/><Relationship Id="rId225" Type="http://schemas.openxmlformats.org/officeDocument/2006/relationships/slide" Target="slides/slide224.xml"/><Relationship Id="rId226" Type="http://schemas.openxmlformats.org/officeDocument/2006/relationships/slide" Target="slides/slide225.xml"/><Relationship Id="rId227" Type="http://schemas.openxmlformats.org/officeDocument/2006/relationships/slide" Target="slides/slide226.xml"/><Relationship Id="rId228" Type="http://schemas.openxmlformats.org/officeDocument/2006/relationships/slide" Target="slides/slide227.xml"/><Relationship Id="rId229" Type="http://schemas.openxmlformats.org/officeDocument/2006/relationships/slide" Target="slides/slide228.xml"/><Relationship Id="rId134" Type="http://schemas.openxmlformats.org/officeDocument/2006/relationships/slide" Target="slides/slide133.xml"/><Relationship Id="rId135" Type="http://schemas.openxmlformats.org/officeDocument/2006/relationships/slide" Target="slides/slide134.xml"/><Relationship Id="rId136" Type="http://schemas.openxmlformats.org/officeDocument/2006/relationships/slide" Target="slides/slide135.xml"/><Relationship Id="rId137" Type="http://schemas.openxmlformats.org/officeDocument/2006/relationships/slide" Target="slides/slide136.xml"/><Relationship Id="rId138" Type="http://schemas.openxmlformats.org/officeDocument/2006/relationships/slide" Target="slides/slide137.xml"/><Relationship Id="rId139" Type="http://schemas.openxmlformats.org/officeDocument/2006/relationships/slide" Target="slides/slide138.xml"/><Relationship Id="rId40" Type="http://schemas.openxmlformats.org/officeDocument/2006/relationships/slide" Target="slides/slide39.xml"/><Relationship Id="rId41" Type="http://schemas.openxmlformats.org/officeDocument/2006/relationships/slide" Target="slides/slide40.xml"/><Relationship Id="rId42" Type="http://schemas.openxmlformats.org/officeDocument/2006/relationships/slide" Target="slides/slide41.xml"/><Relationship Id="rId43" Type="http://schemas.openxmlformats.org/officeDocument/2006/relationships/slide" Target="slides/slide42.xml"/><Relationship Id="rId44" Type="http://schemas.openxmlformats.org/officeDocument/2006/relationships/slide" Target="slides/slide43.xml"/><Relationship Id="rId45" Type="http://schemas.openxmlformats.org/officeDocument/2006/relationships/slide" Target="slides/slide44.xml"/><Relationship Id="rId46" Type="http://schemas.openxmlformats.org/officeDocument/2006/relationships/slide" Target="slides/slide45.xml"/><Relationship Id="rId47" Type="http://schemas.openxmlformats.org/officeDocument/2006/relationships/slide" Target="slides/slide46.xml"/><Relationship Id="rId48" Type="http://schemas.openxmlformats.org/officeDocument/2006/relationships/slide" Target="slides/slide47.xml"/><Relationship Id="rId49" Type="http://schemas.openxmlformats.org/officeDocument/2006/relationships/slide" Target="slides/slide48.xml"/><Relationship Id="rId140" Type="http://schemas.openxmlformats.org/officeDocument/2006/relationships/slide" Target="slides/slide139.xml"/><Relationship Id="rId141" Type="http://schemas.openxmlformats.org/officeDocument/2006/relationships/slide" Target="slides/slide140.xml"/><Relationship Id="rId142" Type="http://schemas.openxmlformats.org/officeDocument/2006/relationships/slide" Target="slides/slide141.xml"/><Relationship Id="rId143" Type="http://schemas.openxmlformats.org/officeDocument/2006/relationships/slide" Target="slides/slide142.xml"/><Relationship Id="rId144" Type="http://schemas.openxmlformats.org/officeDocument/2006/relationships/slide" Target="slides/slide143.xml"/><Relationship Id="rId145" Type="http://schemas.openxmlformats.org/officeDocument/2006/relationships/slide" Target="slides/slide144.xml"/><Relationship Id="rId146" Type="http://schemas.openxmlformats.org/officeDocument/2006/relationships/slide" Target="slides/slide145.xml"/><Relationship Id="rId147" Type="http://schemas.openxmlformats.org/officeDocument/2006/relationships/slide" Target="slides/slide146.xml"/><Relationship Id="rId148" Type="http://schemas.openxmlformats.org/officeDocument/2006/relationships/slide" Target="slides/slide147.xml"/><Relationship Id="rId149" Type="http://schemas.openxmlformats.org/officeDocument/2006/relationships/slide" Target="slides/slide148.xml"/><Relationship Id="rId230" Type="http://schemas.openxmlformats.org/officeDocument/2006/relationships/slide" Target="slides/slide229.xml"/><Relationship Id="rId231" Type="http://schemas.openxmlformats.org/officeDocument/2006/relationships/slide" Target="slides/slide230.xml"/><Relationship Id="rId232" Type="http://schemas.openxmlformats.org/officeDocument/2006/relationships/slide" Target="slides/slide231.xml"/><Relationship Id="rId233" Type="http://schemas.openxmlformats.org/officeDocument/2006/relationships/slide" Target="slides/slide232.xml"/><Relationship Id="rId234" Type="http://schemas.openxmlformats.org/officeDocument/2006/relationships/slide" Target="slides/slide233.xml"/><Relationship Id="rId235" Type="http://schemas.openxmlformats.org/officeDocument/2006/relationships/slide" Target="slides/slide234.xml"/><Relationship Id="rId236" Type="http://schemas.openxmlformats.org/officeDocument/2006/relationships/slide" Target="slides/slide235.xml"/><Relationship Id="rId237" Type="http://schemas.openxmlformats.org/officeDocument/2006/relationships/slide" Target="slides/slide236.xml"/><Relationship Id="rId238" Type="http://schemas.openxmlformats.org/officeDocument/2006/relationships/printerSettings" Target="printerSettings/printerSettings1.bin"/><Relationship Id="rId239" Type="http://schemas.openxmlformats.org/officeDocument/2006/relationships/presProps" Target="presProps.xml"/><Relationship Id="rId50" Type="http://schemas.openxmlformats.org/officeDocument/2006/relationships/slide" Target="slides/slide49.xml"/><Relationship Id="rId51" Type="http://schemas.openxmlformats.org/officeDocument/2006/relationships/slide" Target="slides/slide50.xml"/><Relationship Id="rId52" Type="http://schemas.openxmlformats.org/officeDocument/2006/relationships/slide" Target="slides/slide51.xml"/><Relationship Id="rId53" Type="http://schemas.openxmlformats.org/officeDocument/2006/relationships/slide" Target="slides/slide52.xml"/><Relationship Id="rId54" Type="http://schemas.openxmlformats.org/officeDocument/2006/relationships/slide" Target="slides/slide53.xml"/><Relationship Id="rId55" Type="http://schemas.openxmlformats.org/officeDocument/2006/relationships/slide" Target="slides/slide54.xml"/><Relationship Id="rId56" Type="http://schemas.openxmlformats.org/officeDocument/2006/relationships/slide" Target="slides/slide55.xml"/><Relationship Id="rId57" Type="http://schemas.openxmlformats.org/officeDocument/2006/relationships/slide" Target="slides/slide56.xml"/><Relationship Id="rId58" Type="http://schemas.openxmlformats.org/officeDocument/2006/relationships/slide" Target="slides/slide57.xml"/><Relationship Id="rId59" Type="http://schemas.openxmlformats.org/officeDocument/2006/relationships/slide" Target="slides/slide58.xml"/><Relationship Id="rId150" Type="http://schemas.openxmlformats.org/officeDocument/2006/relationships/slide" Target="slides/slide149.xml"/><Relationship Id="rId151" Type="http://schemas.openxmlformats.org/officeDocument/2006/relationships/slide" Target="slides/slide150.xml"/><Relationship Id="rId152" Type="http://schemas.openxmlformats.org/officeDocument/2006/relationships/slide" Target="slides/slide151.xml"/><Relationship Id="rId153" Type="http://schemas.openxmlformats.org/officeDocument/2006/relationships/slide" Target="slides/slide152.xml"/><Relationship Id="rId154" Type="http://schemas.openxmlformats.org/officeDocument/2006/relationships/slide" Target="slides/slide153.xml"/><Relationship Id="rId155" Type="http://schemas.openxmlformats.org/officeDocument/2006/relationships/slide" Target="slides/slide154.xml"/><Relationship Id="rId156" Type="http://schemas.openxmlformats.org/officeDocument/2006/relationships/slide" Target="slides/slide155.xml"/><Relationship Id="rId157" Type="http://schemas.openxmlformats.org/officeDocument/2006/relationships/slide" Target="slides/slide156.xml"/><Relationship Id="rId158" Type="http://schemas.openxmlformats.org/officeDocument/2006/relationships/slide" Target="slides/slide157.xml"/><Relationship Id="rId159" Type="http://schemas.openxmlformats.org/officeDocument/2006/relationships/slide" Target="slides/slide158.xml"/><Relationship Id="rId240" Type="http://schemas.openxmlformats.org/officeDocument/2006/relationships/viewProps" Target="viewProps.xml"/><Relationship Id="rId241" Type="http://schemas.openxmlformats.org/officeDocument/2006/relationships/theme" Target="theme/theme1.xml"/><Relationship Id="rId242" Type="http://schemas.openxmlformats.org/officeDocument/2006/relationships/tableStyles" Target="tableStyles.xml"/><Relationship Id="rId60" Type="http://schemas.openxmlformats.org/officeDocument/2006/relationships/slide" Target="slides/slide59.xml"/><Relationship Id="rId61" Type="http://schemas.openxmlformats.org/officeDocument/2006/relationships/slide" Target="slides/slide60.xml"/><Relationship Id="rId62" Type="http://schemas.openxmlformats.org/officeDocument/2006/relationships/slide" Target="slides/slide61.xml"/><Relationship Id="rId63" Type="http://schemas.openxmlformats.org/officeDocument/2006/relationships/slide" Target="slides/slide62.xml"/><Relationship Id="rId64" Type="http://schemas.openxmlformats.org/officeDocument/2006/relationships/slide" Target="slides/slide63.xml"/><Relationship Id="rId65" Type="http://schemas.openxmlformats.org/officeDocument/2006/relationships/slide" Target="slides/slide64.xml"/><Relationship Id="rId66" Type="http://schemas.openxmlformats.org/officeDocument/2006/relationships/slide" Target="slides/slide65.xml"/><Relationship Id="rId67" Type="http://schemas.openxmlformats.org/officeDocument/2006/relationships/slide" Target="slides/slide66.xml"/><Relationship Id="rId68" Type="http://schemas.openxmlformats.org/officeDocument/2006/relationships/slide" Target="slides/slide67.xml"/><Relationship Id="rId69" Type="http://schemas.openxmlformats.org/officeDocument/2006/relationships/slide" Target="slides/slide68.xml"/><Relationship Id="rId160" Type="http://schemas.openxmlformats.org/officeDocument/2006/relationships/slide" Target="slides/slide159.xml"/><Relationship Id="rId161" Type="http://schemas.openxmlformats.org/officeDocument/2006/relationships/slide" Target="slides/slide160.xml"/><Relationship Id="rId162" Type="http://schemas.openxmlformats.org/officeDocument/2006/relationships/slide" Target="slides/slide161.xml"/><Relationship Id="rId163" Type="http://schemas.openxmlformats.org/officeDocument/2006/relationships/slide" Target="slides/slide162.xml"/><Relationship Id="rId164" Type="http://schemas.openxmlformats.org/officeDocument/2006/relationships/slide" Target="slides/slide163.xml"/><Relationship Id="rId165" Type="http://schemas.openxmlformats.org/officeDocument/2006/relationships/slide" Target="slides/slide164.xml"/><Relationship Id="rId166" Type="http://schemas.openxmlformats.org/officeDocument/2006/relationships/slide" Target="slides/slide165.xml"/><Relationship Id="rId167" Type="http://schemas.openxmlformats.org/officeDocument/2006/relationships/slide" Target="slides/slide166.xml"/><Relationship Id="rId168" Type="http://schemas.openxmlformats.org/officeDocument/2006/relationships/slide" Target="slides/slide167.xml"/><Relationship Id="rId169" Type="http://schemas.openxmlformats.org/officeDocument/2006/relationships/slide" Target="slides/slide168.xml"/><Relationship Id="rId100" Type="http://schemas.openxmlformats.org/officeDocument/2006/relationships/slide" Target="slides/slide99.xml"/><Relationship Id="rId101" Type="http://schemas.openxmlformats.org/officeDocument/2006/relationships/slide" Target="slides/slide100.xml"/><Relationship Id="rId102" Type="http://schemas.openxmlformats.org/officeDocument/2006/relationships/slide" Target="slides/slide101.xml"/><Relationship Id="rId103" Type="http://schemas.openxmlformats.org/officeDocument/2006/relationships/slide" Target="slides/slide102.xml"/><Relationship Id="rId104" Type="http://schemas.openxmlformats.org/officeDocument/2006/relationships/slide" Target="slides/slide103.xml"/><Relationship Id="rId105" Type="http://schemas.openxmlformats.org/officeDocument/2006/relationships/slide" Target="slides/slide104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1.vml"/><Relationship Id="rId4" Type="http://schemas.openxmlformats.org/officeDocument/2006/relationships/tags" Target="../tags/tag1.xml"/><Relationship Id="rId5" Type="http://schemas.openxmlformats.org/officeDocument/2006/relationships/oleObject" Target="../embeddings/oleObject1.bin"/><Relationship Id="rId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2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05526040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07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image" Target="../media/image2.png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image" Target="../media/image2.png"/></Relationships>
</file>

<file path=ppt/slides/_rels/slide1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4" Type="http://schemas.openxmlformats.org/officeDocument/2006/relationships/oleObject" Target="../embeddings/oleObject2.bin"/><Relationship Id="rId5" Type="http://schemas.openxmlformats.org/officeDocument/2006/relationships/image" Target="../media/image1.emf"/><Relationship Id="rId1" Type="http://schemas.openxmlformats.org/officeDocument/2006/relationships/vmlDrawing" Target="../drawings/vmlDrawing2.vml"/><Relationship Id="rId2" Type="http://schemas.openxmlformats.org/officeDocument/2006/relationships/tags" Target="../tags/tag2.xml"/></Relationships>
</file>

<file path=ppt/slides/_rels/slide1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2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4" Type="http://schemas.openxmlformats.org/officeDocument/2006/relationships/oleObject" Target="../embeddings/oleObject3.bin"/><Relationship Id="rId5" Type="http://schemas.openxmlformats.org/officeDocument/2006/relationships/image" Target="../media/image1.emf"/><Relationship Id="rId1" Type="http://schemas.openxmlformats.org/officeDocument/2006/relationships/vmlDrawing" Target="../drawings/vmlDrawing3.vml"/><Relationship Id="rId2" Type="http://schemas.openxmlformats.org/officeDocument/2006/relationships/tags" Target="../tags/tag3.xml"/></Relationships>
</file>

<file path=ppt/slides/_rels/slide1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image" Target="../media/image3.png"/></Relationships>
</file>

<file path=ppt/slides/_rels/slide1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image" Target="../media/image2.png"/></Relationships>
</file>

<file path=ppt/slides/_rels/slide1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image" Target="../media/image2.png"/></Relationships>
</file>

<file path=ppt/slides/_rels/slide1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2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4" Type="http://schemas.openxmlformats.org/officeDocument/2006/relationships/oleObject" Target="../embeddings/oleObject4.bin"/><Relationship Id="rId5" Type="http://schemas.openxmlformats.org/officeDocument/2006/relationships/image" Target="../media/image1.emf"/><Relationship Id="rId1" Type="http://schemas.openxmlformats.org/officeDocument/2006/relationships/vmlDrawing" Target="../drawings/vmlDrawing4.vml"/><Relationship Id="rId2" Type="http://schemas.openxmlformats.org/officeDocument/2006/relationships/tags" Target="../tags/tag4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3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4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4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4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4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4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4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4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4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4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5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5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5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5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5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5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5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5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5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5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6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6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6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6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6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6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6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6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6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6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7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7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image" Target="../media/image2.png"/></Relationships>
</file>

<file path=ppt/slides/_rels/slide17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4" Type="http://schemas.openxmlformats.org/officeDocument/2006/relationships/oleObject" Target="../embeddings/oleObject5.bin"/><Relationship Id="rId5" Type="http://schemas.openxmlformats.org/officeDocument/2006/relationships/image" Target="../media/image1.emf"/><Relationship Id="rId1" Type="http://schemas.openxmlformats.org/officeDocument/2006/relationships/vmlDrawing" Target="../drawings/vmlDrawing5.vml"/><Relationship Id="rId2" Type="http://schemas.openxmlformats.org/officeDocument/2006/relationships/tags" Target="../tags/tag5.xml"/></Relationships>
</file>

<file path=ppt/slides/_rels/slide17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4" Type="http://schemas.openxmlformats.org/officeDocument/2006/relationships/oleObject" Target="../embeddings/oleObject6.bin"/><Relationship Id="rId5" Type="http://schemas.openxmlformats.org/officeDocument/2006/relationships/image" Target="../media/image1.emf"/><Relationship Id="rId1" Type="http://schemas.openxmlformats.org/officeDocument/2006/relationships/vmlDrawing" Target="../drawings/vmlDrawing6.vml"/><Relationship Id="rId2" Type="http://schemas.openxmlformats.org/officeDocument/2006/relationships/tags" Target="../tags/tag6.xml"/></Relationships>
</file>

<file path=ppt/slides/_rels/slide17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7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7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7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7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7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8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8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8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8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8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8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8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8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8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8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9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9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9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9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9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9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9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9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9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9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0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0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image" Target="../media/image2.png"/></Relationships>
</file>

<file path=ppt/slides/_rels/slide20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0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0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4" Type="http://schemas.openxmlformats.org/officeDocument/2006/relationships/oleObject" Target="../embeddings/oleObject7.bin"/><Relationship Id="rId5" Type="http://schemas.openxmlformats.org/officeDocument/2006/relationships/image" Target="../media/image1.emf"/><Relationship Id="rId1" Type="http://schemas.openxmlformats.org/officeDocument/2006/relationships/vmlDrawing" Target="../drawings/vmlDrawing7.vml"/><Relationship Id="rId2" Type="http://schemas.openxmlformats.org/officeDocument/2006/relationships/tags" Target="../tags/tag7.xml"/></Relationships>
</file>

<file path=ppt/slides/_rels/slide20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0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0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4" Type="http://schemas.openxmlformats.org/officeDocument/2006/relationships/oleObject" Target="../embeddings/oleObject8.bin"/><Relationship Id="rId5" Type="http://schemas.openxmlformats.org/officeDocument/2006/relationships/image" Target="../media/image1.emf"/><Relationship Id="rId1" Type="http://schemas.openxmlformats.org/officeDocument/2006/relationships/vmlDrawing" Target="../drawings/vmlDrawing8.vml"/><Relationship Id="rId2" Type="http://schemas.openxmlformats.org/officeDocument/2006/relationships/tags" Target="../tags/tag8.xml"/></Relationships>
</file>

<file path=ppt/slides/_rels/slide20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4" Type="http://schemas.openxmlformats.org/officeDocument/2006/relationships/oleObject" Target="../embeddings/oleObject9.bin"/><Relationship Id="rId5" Type="http://schemas.openxmlformats.org/officeDocument/2006/relationships/image" Target="../media/image1.emf"/><Relationship Id="rId1" Type="http://schemas.openxmlformats.org/officeDocument/2006/relationships/vmlDrawing" Target="../drawings/vmlDrawing9.vml"/><Relationship Id="rId2" Type="http://schemas.openxmlformats.org/officeDocument/2006/relationships/tags" Target="../tags/tag9.xml"/></Relationships>
</file>

<file path=ppt/slides/_rels/slide20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image" Target="../media/image2.png"/></Relationships>
</file>

<file path=ppt/slides/_rels/slide218.xml.rels><?xml version="1.0" encoding="UTF-8" standalone="yes"?>
<Relationships xmlns="http://schemas.openxmlformats.org/package/2006/relationships"><Relationship Id="rId9" Type="http://schemas.openxmlformats.org/officeDocument/2006/relationships/image" Target="../media/image7.png"/><Relationship Id="rId20" Type="http://schemas.openxmlformats.org/officeDocument/2006/relationships/image" Target="../media/image18.png"/><Relationship Id="rId21" Type="http://schemas.openxmlformats.org/officeDocument/2006/relationships/image" Target="../media/image19.png"/><Relationship Id="rId22" Type="http://schemas.openxmlformats.org/officeDocument/2006/relationships/image" Target="../media/image20.png"/><Relationship Id="rId23" Type="http://schemas.openxmlformats.org/officeDocument/2006/relationships/image" Target="../media/image21.png"/><Relationship Id="rId24" Type="http://schemas.openxmlformats.org/officeDocument/2006/relationships/image" Target="../media/image22.png"/><Relationship Id="rId25" Type="http://schemas.openxmlformats.org/officeDocument/2006/relationships/image" Target="../media/image23.png"/><Relationship Id="rId26" Type="http://schemas.openxmlformats.org/officeDocument/2006/relationships/image" Target="../media/image24.png"/><Relationship Id="rId27" Type="http://schemas.openxmlformats.org/officeDocument/2006/relationships/image" Target="../media/image25.png"/><Relationship Id="rId28" Type="http://schemas.openxmlformats.org/officeDocument/2006/relationships/image" Target="../media/image26.png"/><Relationship Id="rId10" Type="http://schemas.openxmlformats.org/officeDocument/2006/relationships/image" Target="../media/image8.png"/><Relationship Id="rId11" Type="http://schemas.openxmlformats.org/officeDocument/2006/relationships/image" Target="../media/image9.png"/><Relationship Id="rId12" Type="http://schemas.openxmlformats.org/officeDocument/2006/relationships/image" Target="../media/image10.png"/><Relationship Id="rId13" Type="http://schemas.openxmlformats.org/officeDocument/2006/relationships/image" Target="../media/image11.png"/><Relationship Id="rId14" Type="http://schemas.openxmlformats.org/officeDocument/2006/relationships/image" Target="../media/image12.png"/><Relationship Id="rId15" Type="http://schemas.openxmlformats.org/officeDocument/2006/relationships/image" Target="../media/image13.png"/><Relationship Id="rId16" Type="http://schemas.openxmlformats.org/officeDocument/2006/relationships/image" Target="../media/image14.png"/><Relationship Id="rId17" Type="http://schemas.openxmlformats.org/officeDocument/2006/relationships/image" Target="../media/image15.png"/><Relationship Id="rId18" Type="http://schemas.openxmlformats.org/officeDocument/2006/relationships/image" Target="../media/image16.png"/><Relationship Id="rId19" Type="http://schemas.openxmlformats.org/officeDocument/2006/relationships/image" Target="../media/image17.png"/><Relationship Id="rId1" Type="http://schemas.openxmlformats.org/officeDocument/2006/relationships/vmlDrawing" Target="../drawings/vmlDrawing10.vml"/><Relationship Id="rId2" Type="http://schemas.openxmlformats.org/officeDocument/2006/relationships/tags" Target="../tags/tag10.xml"/><Relationship Id="rId3" Type="http://schemas.openxmlformats.org/officeDocument/2006/relationships/slideLayout" Target="../slideLayouts/slideLayout1.xml"/><Relationship Id="rId4" Type="http://schemas.openxmlformats.org/officeDocument/2006/relationships/oleObject" Target="../embeddings/oleObject10.bin"/><Relationship Id="rId5" Type="http://schemas.openxmlformats.org/officeDocument/2006/relationships/image" Target="../media/image1.emf"/><Relationship Id="rId6" Type="http://schemas.openxmlformats.org/officeDocument/2006/relationships/image" Target="../media/image4.png"/><Relationship Id="rId7" Type="http://schemas.openxmlformats.org/officeDocument/2006/relationships/image" Target="../media/image5.png"/><Relationship Id="rId8" Type="http://schemas.openxmlformats.org/officeDocument/2006/relationships/image" Target="../media/image6.png"/></Relationships>
</file>

<file path=ppt/slides/_rels/slide2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21.xml.rels><?xml version="1.0" encoding="UTF-8" standalone="yes"?>
<Relationships xmlns="http://schemas.openxmlformats.org/package/2006/relationships"><Relationship Id="rId9" Type="http://schemas.openxmlformats.org/officeDocument/2006/relationships/image" Target="../media/image7.png"/><Relationship Id="rId20" Type="http://schemas.openxmlformats.org/officeDocument/2006/relationships/image" Target="../media/image18.png"/><Relationship Id="rId21" Type="http://schemas.openxmlformats.org/officeDocument/2006/relationships/image" Target="../media/image19.png"/><Relationship Id="rId22" Type="http://schemas.openxmlformats.org/officeDocument/2006/relationships/image" Target="../media/image20.png"/><Relationship Id="rId23" Type="http://schemas.openxmlformats.org/officeDocument/2006/relationships/image" Target="../media/image21.png"/><Relationship Id="rId24" Type="http://schemas.openxmlformats.org/officeDocument/2006/relationships/image" Target="../media/image22.png"/><Relationship Id="rId25" Type="http://schemas.openxmlformats.org/officeDocument/2006/relationships/image" Target="../media/image23.png"/><Relationship Id="rId26" Type="http://schemas.openxmlformats.org/officeDocument/2006/relationships/image" Target="../media/image24.png"/><Relationship Id="rId27" Type="http://schemas.openxmlformats.org/officeDocument/2006/relationships/image" Target="../media/image25.png"/><Relationship Id="rId28" Type="http://schemas.openxmlformats.org/officeDocument/2006/relationships/image" Target="../media/image26.png"/><Relationship Id="rId10" Type="http://schemas.openxmlformats.org/officeDocument/2006/relationships/image" Target="../media/image8.png"/><Relationship Id="rId11" Type="http://schemas.openxmlformats.org/officeDocument/2006/relationships/image" Target="../media/image9.png"/><Relationship Id="rId12" Type="http://schemas.openxmlformats.org/officeDocument/2006/relationships/image" Target="../media/image10.png"/><Relationship Id="rId13" Type="http://schemas.openxmlformats.org/officeDocument/2006/relationships/image" Target="../media/image11.png"/><Relationship Id="rId14" Type="http://schemas.openxmlformats.org/officeDocument/2006/relationships/image" Target="../media/image12.png"/><Relationship Id="rId15" Type="http://schemas.openxmlformats.org/officeDocument/2006/relationships/image" Target="../media/image13.png"/><Relationship Id="rId16" Type="http://schemas.openxmlformats.org/officeDocument/2006/relationships/image" Target="../media/image14.png"/><Relationship Id="rId17" Type="http://schemas.openxmlformats.org/officeDocument/2006/relationships/image" Target="../media/image15.png"/><Relationship Id="rId18" Type="http://schemas.openxmlformats.org/officeDocument/2006/relationships/image" Target="../media/image16.png"/><Relationship Id="rId19" Type="http://schemas.openxmlformats.org/officeDocument/2006/relationships/image" Target="../media/image17.png"/><Relationship Id="rId1" Type="http://schemas.openxmlformats.org/officeDocument/2006/relationships/vmlDrawing" Target="../drawings/vmlDrawing11.vml"/><Relationship Id="rId2" Type="http://schemas.openxmlformats.org/officeDocument/2006/relationships/tags" Target="../tags/tag11.xml"/><Relationship Id="rId3" Type="http://schemas.openxmlformats.org/officeDocument/2006/relationships/slideLayout" Target="../slideLayouts/slideLayout1.xml"/><Relationship Id="rId4" Type="http://schemas.openxmlformats.org/officeDocument/2006/relationships/oleObject" Target="../embeddings/oleObject11.bin"/><Relationship Id="rId5" Type="http://schemas.openxmlformats.org/officeDocument/2006/relationships/image" Target="../media/image1.emf"/><Relationship Id="rId6" Type="http://schemas.openxmlformats.org/officeDocument/2006/relationships/image" Target="../media/image4.png"/><Relationship Id="rId7" Type="http://schemas.openxmlformats.org/officeDocument/2006/relationships/image" Target="../media/image5.png"/><Relationship Id="rId8" Type="http://schemas.openxmlformats.org/officeDocument/2006/relationships/image" Target="../media/image6.png"/></Relationships>
</file>

<file path=ppt/slides/_rels/slide2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23.xml.rels><?xml version="1.0" encoding="UTF-8" standalone="yes"?>
<Relationships xmlns="http://schemas.openxmlformats.org/package/2006/relationships"><Relationship Id="rId9" Type="http://schemas.openxmlformats.org/officeDocument/2006/relationships/image" Target="../media/image7.png"/><Relationship Id="rId20" Type="http://schemas.openxmlformats.org/officeDocument/2006/relationships/image" Target="../media/image18.png"/><Relationship Id="rId21" Type="http://schemas.openxmlformats.org/officeDocument/2006/relationships/image" Target="../media/image19.png"/><Relationship Id="rId22" Type="http://schemas.openxmlformats.org/officeDocument/2006/relationships/image" Target="../media/image20.png"/><Relationship Id="rId23" Type="http://schemas.openxmlformats.org/officeDocument/2006/relationships/image" Target="../media/image21.png"/><Relationship Id="rId24" Type="http://schemas.openxmlformats.org/officeDocument/2006/relationships/image" Target="../media/image22.png"/><Relationship Id="rId25" Type="http://schemas.openxmlformats.org/officeDocument/2006/relationships/image" Target="../media/image23.png"/><Relationship Id="rId26" Type="http://schemas.openxmlformats.org/officeDocument/2006/relationships/image" Target="../media/image24.png"/><Relationship Id="rId27" Type="http://schemas.openxmlformats.org/officeDocument/2006/relationships/image" Target="../media/image25.png"/><Relationship Id="rId28" Type="http://schemas.openxmlformats.org/officeDocument/2006/relationships/image" Target="../media/image26.png"/><Relationship Id="rId10" Type="http://schemas.openxmlformats.org/officeDocument/2006/relationships/image" Target="../media/image8.png"/><Relationship Id="rId11" Type="http://schemas.openxmlformats.org/officeDocument/2006/relationships/image" Target="../media/image9.png"/><Relationship Id="rId12" Type="http://schemas.openxmlformats.org/officeDocument/2006/relationships/image" Target="../media/image10.png"/><Relationship Id="rId13" Type="http://schemas.openxmlformats.org/officeDocument/2006/relationships/image" Target="../media/image11.png"/><Relationship Id="rId14" Type="http://schemas.openxmlformats.org/officeDocument/2006/relationships/image" Target="../media/image12.png"/><Relationship Id="rId15" Type="http://schemas.openxmlformats.org/officeDocument/2006/relationships/image" Target="../media/image13.png"/><Relationship Id="rId16" Type="http://schemas.openxmlformats.org/officeDocument/2006/relationships/image" Target="../media/image14.png"/><Relationship Id="rId17" Type="http://schemas.openxmlformats.org/officeDocument/2006/relationships/image" Target="../media/image15.png"/><Relationship Id="rId18" Type="http://schemas.openxmlformats.org/officeDocument/2006/relationships/image" Target="../media/image16.png"/><Relationship Id="rId19" Type="http://schemas.openxmlformats.org/officeDocument/2006/relationships/image" Target="../media/image17.png"/><Relationship Id="rId1" Type="http://schemas.openxmlformats.org/officeDocument/2006/relationships/vmlDrawing" Target="../drawings/vmlDrawing12.vml"/><Relationship Id="rId2" Type="http://schemas.openxmlformats.org/officeDocument/2006/relationships/tags" Target="../tags/tag12.xml"/><Relationship Id="rId3" Type="http://schemas.openxmlformats.org/officeDocument/2006/relationships/slideLayout" Target="../slideLayouts/slideLayout1.xml"/><Relationship Id="rId4" Type="http://schemas.openxmlformats.org/officeDocument/2006/relationships/oleObject" Target="../embeddings/oleObject12.bin"/><Relationship Id="rId5" Type="http://schemas.openxmlformats.org/officeDocument/2006/relationships/image" Target="../media/image1.emf"/><Relationship Id="rId6" Type="http://schemas.openxmlformats.org/officeDocument/2006/relationships/image" Target="../media/image4.png"/><Relationship Id="rId7" Type="http://schemas.openxmlformats.org/officeDocument/2006/relationships/image" Target="../media/image5.png"/><Relationship Id="rId8" Type="http://schemas.openxmlformats.org/officeDocument/2006/relationships/image" Target="../media/image6.png"/></Relationships>
</file>

<file path=ppt/slides/_rels/slide2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25.xml.rels><?xml version="1.0" encoding="UTF-8" standalone="yes"?>
<Relationships xmlns="http://schemas.openxmlformats.org/package/2006/relationships"><Relationship Id="rId9" Type="http://schemas.openxmlformats.org/officeDocument/2006/relationships/image" Target="../media/image7.png"/><Relationship Id="rId20" Type="http://schemas.openxmlformats.org/officeDocument/2006/relationships/image" Target="../media/image18.png"/><Relationship Id="rId21" Type="http://schemas.openxmlformats.org/officeDocument/2006/relationships/image" Target="../media/image19.png"/><Relationship Id="rId22" Type="http://schemas.openxmlformats.org/officeDocument/2006/relationships/image" Target="../media/image20.png"/><Relationship Id="rId23" Type="http://schemas.openxmlformats.org/officeDocument/2006/relationships/image" Target="../media/image21.png"/><Relationship Id="rId24" Type="http://schemas.openxmlformats.org/officeDocument/2006/relationships/image" Target="../media/image22.png"/><Relationship Id="rId25" Type="http://schemas.openxmlformats.org/officeDocument/2006/relationships/image" Target="../media/image23.png"/><Relationship Id="rId26" Type="http://schemas.openxmlformats.org/officeDocument/2006/relationships/image" Target="../media/image24.png"/><Relationship Id="rId27" Type="http://schemas.openxmlformats.org/officeDocument/2006/relationships/image" Target="../media/image25.png"/><Relationship Id="rId28" Type="http://schemas.openxmlformats.org/officeDocument/2006/relationships/image" Target="../media/image26.png"/><Relationship Id="rId10" Type="http://schemas.openxmlformats.org/officeDocument/2006/relationships/image" Target="../media/image8.png"/><Relationship Id="rId11" Type="http://schemas.openxmlformats.org/officeDocument/2006/relationships/image" Target="../media/image9.png"/><Relationship Id="rId12" Type="http://schemas.openxmlformats.org/officeDocument/2006/relationships/image" Target="../media/image10.png"/><Relationship Id="rId13" Type="http://schemas.openxmlformats.org/officeDocument/2006/relationships/image" Target="../media/image11.png"/><Relationship Id="rId14" Type="http://schemas.openxmlformats.org/officeDocument/2006/relationships/image" Target="../media/image12.png"/><Relationship Id="rId15" Type="http://schemas.openxmlformats.org/officeDocument/2006/relationships/image" Target="../media/image13.png"/><Relationship Id="rId16" Type="http://schemas.openxmlformats.org/officeDocument/2006/relationships/image" Target="../media/image14.png"/><Relationship Id="rId17" Type="http://schemas.openxmlformats.org/officeDocument/2006/relationships/image" Target="../media/image15.png"/><Relationship Id="rId18" Type="http://schemas.openxmlformats.org/officeDocument/2006/relationships/image" Target="../media/image16.png"/><Relationship Id="rId19" Type="http://schemas.openxmlformats.org/officeDocument/2006/relationships/image" Target="../media/image17.png"/><Relationship Id="rId1" Type="http://schemas.openxmlformats.org/officeDocument/2006/relationships/vmlDrawing" Target="../drawings/vmlDrawing13.vml"/><Relationship Id="rId2" Type="http://schemas.openxmlformats.org/officeDocument/2006/relationships/tags" Target="../tags/tag13.xml"/><Relationship Id="rId3" Type="http://schemas.openxmlformats.org/officeDocument/2006/relationships/slideLayout" Target="../slideLayouts/slideLayout1.xml"/><Relationship Id="rId4" Type="http://schemas.openxmlformats.org/officeDocument/2006/relationships/oleObject" Target="../embeddings/oleObject13.bin"/><Relationship Id="rId5" Type="http://schemas.openxmlformats.org/officeDocument/2006/relationships/image" Target="../media/image1.emf"/><Relationship Id="rId6" Type="http://schemas.openxmlformats.org/officeDocument/2006/relationships/image" Target="../media/image4.png"/><Relationship Id="rId7" Type="http://schemas.openxmlformats.org/officeDocument/2006/relationships/image" Target="../media/image5.png"/><Relationship Id="rId8" Type="http://schemas.openxmlformats.org/officeDocument/2006/relationships/image" Target="../media/image6.png"/></Relationships>
</file>

<file path=ppt/slides/_rels/slide2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27.xml.rels><?xml version="1.0" encoding="UTF-8" standalone="yes"?>
<Relationships xmlns="http://schemas.openxmlformats.org/package/2006/relationships"><Relationship Id="rId9" Type="http://schemas.openxmlformats.org/officeDocument/2006/relationships/image" Target="../media/image7.png"/><Relationship Id="rId20" Type="http://schemas.openxmlformats.org/officeDocument/2006/relationships/image" Target="../media/image18.png"/><Relationship Id="rId21" Type="http://schemas.openxmlformats.org/officeDocument/2006/relationships/image" Target="../media/image19.png"/><Relationship Id="rId22" Type="http://schemas.openxmlformats.org/officeDocument/2006/relationships/image" Target="../media/image20.png"/><Relationship Id="rId23" Type="http://schemas.openxmlformats.org/officeDocument/2006/relationships/image" Target="../media/image21.png"/><Relationship Id="rId24" Type="http://schemas.openxmlformats.org/officeDocument/2006/relationships/image" Target="../media/image22.png"/><Relationship Id="rId25" Type="http://schemas.openxmlformats.org/officeDocument/2006/relationships/image" Target="../media/image23.png"/><Relationship Id="rId26" Type="http://schemas.openxmlformats.org/officeDocument/2006/relationships/image" Target="../media/image24.png"/><Relationship Id="rId27" Type="http://schemas.openxmlformats.org/officeDocument/2006/relationships/image" Target="../media/image25.png"/><Relationship Id="rId28" Type="http://schemas.openxmlformats.org/officeDocument/2006/relationships/image" Target="../media/image26.png"/><Relationship Id="rId10" Type="http://schemas.openxmlformats.org/officeDocument/2006/relationships/image" Target="../media/image8.png"/><Relationship Id="rId11" Type="http://schemas.openxmlformats.org/officeDocument/2006/relationships/image" Target="../media/image9.png"/><Relationship Id="rId12" Type="http://schemas.openxmlformats.org/officeDocument/2006/relationships/image" Target="../media/image10.png"/><Relationship Id="rId13" Type="http://schemas.openxmlformats.org/officeDocument/2006/relationships/image" Target="../media/image11.png"/><Relationship Id="rId14" Type="http://schemas.openxmlformats.org/officeDocument/2006/relationships/image" Target="../media/image12.png"/><Relationship Id="rId15" Type="http://schemas.openxmlformats.org/officeDocument/2006/relationships/image" Target="../media/image13.png"/><Relationship Id="rId16" Type="http://schemas.openxmlformats.org/officeDocument/2006/relationships/image" Target="../media/image14.png"/><Relationship Id="rId17" Type="http://schemas.openxmlformats.org/officeDocument/2006/relationships/image" Target="../media/image15.png"/><Relationship Id="rId18" Type="http://schemas.openxmlformats.org/officeDocument/2006/relationships/image" Target="../media/image16.png"/><Relationship Id="rId19" Type="http://schemas.openxmlformats.org/officeDocument/2006/relationships/image" Target="../media/image17.png"/><Relationship Id="rId1" Type="http://schemas.openxmlformats.org/officeDocument/2006/relationships/vmlDrawing" Target="../drawings/vmlDrawing14.vml"/><Relationship Id="rId2" Type="http://schemas.openxmlformats.org/officeDocument/2006/relationships/tags" Target="../tags/tag14.xml"/><Relationship Id="rId3" Type="http://schemas.openxmlformats.org/officeDocument/2006/relationships/slideLayout" Target="../slideLayouts/slideLayout1.xml"/><Relationship Id="rId4" Type="http://schemas.openxmlformats.org/officeDocument/2006/relationships/oleObject" Target="../embeddings/oleObject14.bin"/><Relationship Id="rId5" Type="http://schemas.openxmlformats.org/officeDocument/2006/relationships/image" Target="../media/image1.emf"/><Relationship Id="rId6" Type="http://schemas.openxmlformats.org/officeDocument/2006/relationships/image" Target="../media/image4.png"/><Relationship Id="rId7" Type="http://schemas.openxmlformats.org/officeDocument/2006/relationships/image" Target="../media/image5.png"/><Relationship Id="rId8" Type="http://schemas.openxmlformats.org/officeDocument/2006/relationships/image" Target="../media/image6.png"/></Relationships>
</file>

<file path=ppt/slides/_rels/slide2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29.xml.rels><?xml version="1.0" encoding="UTF-8" standalone="yes"?>
<Relationships xmlns="http://schemas.openxmlformats.org/package/2006/relationships"><Relationship Id="rId9" Type="http://schemas.openxmlformats.org/officeDocument/2006/relationships/image" Target="../media/image7.png"/><Relationship Id="rId20" Type="http://schemas.openxmlformats.org/officeDocument/2006/relationships/image" Target="../media/image18.png"/><Relationship Id="rId21" Type="http://schemas.openxmlformats.org/officeDocument/2006/relationships/image" Target="../media/image19.png"/><Relationship Id="rId22" Type="http://schemas.openxmlformats.org/officeDocument/2006/relationships/image" Target="../media/image20.png"/><Relationship Id="rId23" Type="http://schemas.openxmlformats.org/officeDocument/2006/relationships/image" Target="../media/image21.png"/><Relationship Id="rId24" Type="http://schemas.openxmlformats.org/officeDocument/2006/relationships/image" Target="../media/image22.png"/><Relationship Id="rId25" Type="http://schemas.openxmlformats.org/officeDocument/2006/relationships/image" Target="../media/image23.png"/><Relationship Id="rId26" Type="http://schemas.openxmlformats.org/officeDocument/2006/relationships/image" Target="../media/image24.png"/><Relationship Id="rId27" Type="http://schemas.openxmlformats.org/officeDocument/2006/relationships/image" Target="../media/image25.png"/><Relationship Id="rId28" Type="http://schemas.openxmlformats.org/officeDocument/2006/relationships/image" Target="../media/image26.png"/><Relationship Id="rId10" Type="http://schemas.openxmlformats.org/officeDocument/2006/relationships/image" Target="../media/image8.png"/><Relationship Id="rId11" Type="http://schemas.openxmlformats.org/officeDocument/2006/relationships/image" Target="../media/image9.png"/><Relationship Id="rId12" Type="http://schemas.openxmlformats.org/officeDocument/2006/relationships/image" Target="../media/image10.png"/><Relationship Id="rId13" Type="http://schemas.openxmlformats.org/officeDocument/2006/relationships/image" Target="../media/image11.png"/><Relationship Id="rId14" Type="http://schemas.openxmlformats.org/officeDocument/2006/relationships/image" Target="../media/image12.png"/><Relationship Id="rId15" Type="http://schemas.openxmlformats.org/officeDocument/2006/relationships/image" Target="../media/image13.png"/><Relationship Id="rId16" Type="http://schemas.openxmlformats.org/officeDocument/2006/relationships/image" Target="../media/image14.png"/><Relationship Id="rId17" Type="http://schemas.openxmlformats.org/officeDocument/2006/relationships/image" Target="../media/image15.png"/><Relationship Id="rId18" Type="http://schemas.openxmlformats.org/officeDocument/2006/relationships/image" Target="../media/image16.png"/><Relationship Id="rId19" Type="http://schemas.openxmlformats.org/officeDocument/2006/relationships/image" Target="../media/image17.png"/><Relationship Id="rId1" Type="http://schemas.openxmlformats.org/officeDocument/2006/relationships/vmlDrawing" Target="../drawings/vmlDrawing15.vml"/><Relationship Id="rId2" Type="http://schemas.openxmlformats.org/officeDocument/2006/relationships/tags" Target="../tags/tag15.xml"/><Relationship Id="rId3" Type="http://schemas.openxmlformats.org/officeDocument/2006/relationships/slideLayout" Target="../slideLayouts/slideLayout1.xml"/><Relationship Id="rId4" Type="http://schemas.openxmlformats.org/officeDocument/2006/relationships/oleObject" Target="../embeddings/oleObject15.bin"/><Relationship Id="rId5" Type="http://schemas.openxmlformats.org/officeDocument/2006/relationships/image" Target="../media/image1.emf"/><Relationship Id="rId6" Type="http://schemas.openxmlformats.org/officeDocument/2006/relationships/image" Target="../media/image4.png"/><Relationship Id="rId7" Type="http://schemas.openxmlformats.org/officeDocument/2006/relationships/image" Target="../media/image5.png"/><Relationship Id="rId8" Type="http://schemas.openxmlformats.org/officeDocument/2006/relationships/image" Target="../media/image6.png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image" Target="../media/image2.png"/></Relationships>
</file>

<file path=ppt/slides/_rels/slide2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3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4" Type="http://schemas.openxmlformats.org/officeDocument/2006/relationships/oleObject" Target="../embeddings/oleObject16.bin"/><Relationship Id="rId5" Type="http://schemas.openxmlformats.org/officeDocument/2006/relationships/image" Target="../media/image1.emf"/><Relationship Id="rId1" Type="http://schemas.openxmlformats.org/officeDocument/2006/relationships/vmlDrawing" Target="../drawings/vmlDrawing16.vml"/><Relationship Id="rId2" Type="http://schemas.openxmlformats.org/officeDocument/2006/relationships/tags" Target="../tags/tag16.xml"/></Relationships>
</file>

<file path=ppt/slides/_rels/slide2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4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4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4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4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4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4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4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4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4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5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5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5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5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5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5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5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5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5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5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6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6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6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6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6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6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6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6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6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6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7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7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7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7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7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7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7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7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7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7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8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8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8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8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8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8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8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8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8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8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9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9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9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9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9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9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9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9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9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image" Target="../media/image2.png"/></Relationships>
</file>

<file path=ppt/slides/_rels/slide9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ject 3"/>
          <p:cNvSpPr/>
          <p:nvPr/>
        </p:nvSpPr>
        <p:spPr>
          <a:xfrm>
            <a:off x="1041400" y="3691729"/>
            <a:ext cx="7048498" cy="2082538"/>
          </a:xfrm>
          <a:prstGeom prst="rect">
            <a:avLst/>
          </a:prstGeom>
          <a:blipFill>
            <a:blip r:embed="rId2" cstate="print"/>
            <a:srcRect/>
            <a:stretch>
              <a:fillRect b="-45140"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2" name="object 2"/>
          <p:cNvSpPr txBox="1"/>
          <p:nvPr/>
        </p:nvSpPr>
        <p:spPr>
          <a:xfrm>
            <a:off x="940428" y="2743200"/>
            <a:ext cx="7593972" cy="602729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ts val="4715"/>
              </a:lnSpc>
            </a:pPr>
            <a:r>
              <a:rPr sz="6600" baseline="3103" dirty="0" smtClean="0">
                <a:solidFill>
                  <a:srgbClr val="F69545"/>
                </a:solidFill>
                <a:cs typeface="Calibri"/>
              </a:rPr>
              <a:t>Other Clustering </a:t>
            </a:r>
            <a:r>
              <a:rPr sz="4400" dirty="0" smtClean="0">
                <a:solidFill>
                  <a:srgbClr val="F69545"/>
                </a:solidFill>
                <a:cs typeface="Calibri"/>
              </a:rPr>
              <a:t>Algorithms</a:t>
            </a:r>
            <a:endParaRPr sz="4400" dirty="0">
              <a:cs typeface="Calibri"/>
            </a:endParaRPr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0" name="object 80"/>
          <p:cNvSpPr/>
          <p:nvPr/>
        </p:nvSpPr>
        <p:spPr>
          <a:xfrm>
            <a:off x="4414372" y="54871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2" name="object 82"/>
          <p:cNvSpPr/>
          <p:nvPr/>
        </p:nvSpPr>
        <p:spPr>
          <a:xfrm>
            <a:off x="5399747" y="55212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4" name="object 84"/>
          <p:cNvSpPr/>
          <p:nvPr/>
        </p:nvSpPr>
        <p:spPr>
          <a:xfrm>
            <a:off x="6251551" y="55023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2" name="object 72"/>
          <p:cNvSpPr/>
          <p:nvPr/>
        </p:nvSpPr>
        <p:spPr>
          <a:xfrm>
            <a:off x="2668469" y="519520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8" name="object 68"/>
          <p:cNvSpPr/>
          <p:nvPr/>
        </p:nvSpPr>
        <p:spPr>
          <a:xfrm>
            <a:off x="5959366" y="251737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40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80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6" name="object 66"/>
          <p:cNvSpPr/>
          <p:nvPr/>
        </p:nvSpPr>
        <p:spPr>
          <a:xfrm>
            <a:off x="5560113" y="213564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3" name="object 63"/>
          <p:cNvSpPr/>
          <p:nvPr/>
        </p:nvSpPr>
        <p:spPr>
          <a:xfrm>
            <a:off x="5148029" y="1723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1"/>
                </a:moveTo>
                <a:lnTo>
                  <a:pt x="232" y="183108"/>
                </a:lnTo>
                <a:lnTo>
                  <a:pt x="1583" y="198180"/>
                </a:lnTo>
                <a:lnTo>
                  <a:pt x="4094" y="212849"/>
                </a:lnTo>
                <a:lnTo>
                  <a:pt x="7715" y="227058"/>
                </a:lnTo>
                <a:lnTo>
                  <a:pt x="12395" y="240753"/>
                </a:lnTo>
                <a:lnTo>
                  <a:pt x="18082" y="253877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3"/>
                </a:lnTo>
                <a:lnTo>
                  <a:pt x="49876" y="299561"/>
                </a:lnTo>
                <a:lnTo>
                  <a:pt x="59830" y="309002"/>
                </a:lnTo>
                <a:lnTo>
                  <a:pt x="70485" y="317540"/>
                </a:lnTo>
                <a:lnTo>
                  <a:pt x="81788" y="325119"/>
                </a:lnTo>
                <a:lnTo>
                  <a:pt x="93689" y="331685"/>
                </a:lnTo>
                <a:lnTo>
                  <a:pt x="106136" y="337181"/>
                </a:lnTo>
                <a:lnTo>
                  <a:pt x="119079" y="341552"/>
                </a:lnTo>
                <a:lnTo>
                  <a:pt x="132465" y="344743"/>
                </a:lnTo>
                <a:lnTo>
                  <a:pt x="146244" y="346698"/>
                </a:lnTo>
                <a:lnTo>
                  <a:pt x="160365" y="347362"/>
                </a:lnTo>
                <a:lnTo>
                  <a:pt x="169068" y="347111"/>
                </a:lnTo>
                <a:lnTo>
                  <a:pt x="182985" y="345648"/>
                </a:lnTo>
                <a:lnTo>
                  <a:pt x="196529" y="342928"/>
                </a:lnTo>
                <a:lnTo>
                  <a:pt x="209649" y="339006"/>
                </a:lnTo>
                <a:lnTo>
                  <a:pt x="222294" y="333938"/>
                </a:lnTo>
                <a:lnTo>
                  <a:pt x="234411" y="327779"/>
                </a:lnTo>
                <a:lnTo>
                  <a:pt x="245952" y="320585"/>
                </a:lnTo>
                <a:lnTo>
                  <a:pt x="256863" y="312411"/>
                </a:lnTo>
                <a:lnTo>
                  <a:pt x="267094" y="303312"/>
                </a:lnTo>
                <a:lnTo>
                  <a:pt x="276593" y="293344"/>
                </a:lnTo>
                <a:lnTo>
                  <a:pt x="285310" y="282563"/>
                </a:lnTo>
                <a:lnTo>
                  <a:pt x="293193" y="271024"/>
                </a:lnTo>
                <a:lnTo>
                  <a:pt x="300192" y="258782"/>
                </a:lnTo>
                <a:lnTo>
                  <a:pt x="306254" y="245893"/>
                </a:lnTo>
                <a:lnTo>
                  <a:pt x="311328" y="232412"/>
                </a:lnTo>
                <a:lnTo>
                  <a:pt x="315364" y="218395"/>
                </a:lnTo>
                <a:lnTo>
                  <a:pt x="318311" y="203897"/>
                </a:lnTo>
                <a:lnTo>
                  <a:pt x="320116" y="188974"/>
                </a:lnTo>
                <a:lnTo>
                  <a:pt x="320729" y="173681"/>
                </a:lnTo>
                <a:lnTo>
                  <a:pt x="320497" y="164255"/>
                </a:lnTo>
                <a:lnTo>
                  <a:pt x="319146" y="149182"/>
                </a:lnTo>
                <a:lnTo>
                  <a:pt x="316635" y="134513"/>
                </a:lnTo>
                <a:lnTo>
                  <a:pt x="313013" y="120304"/>
                </a:lnTo>
                <a:lnTo>
                  <a:pt x="308334" y="106609"/>
                </a:lnTo>
                <a:lnTo>
                  <a:pt x="302647" y="93485"/>
                </a:lnTo>
                <a:lnTo>
                  <a:pt x="296005" y="80986"/>
                </a:lnTo>
                <a:lnTo>
                  <a:pt x="288457" y="69169"/>
                </a:lnTo>
                <a:lnTo>
                  <a:pt x="280056" y="58089"/>
                </a:lnTo>
                <a:lnTo>
                  <a:pt x="270853" y="47800"/>
                </a:lnTo>
                <a:lnTo>
                  <a:pt x="260899" y="38359"/>
                </a:lnTo>
                <a:lnTo>
                  <a:pt x="250244" y="29822"/>
                </a:lnTo>
                <a:lnTo>
                  <a:pt x="238941" y="22242"/>
                </a:lnTo>
                <a:lnTo>
                  <a:pt x="227040" y="15677"/>
                </a:lnTo>
                <a:lnTo>
                  <a:pt x="214593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1" y="251"/>
                </a:lnTo>
                <a:lnTo>
                  <a:pt x="137744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5" y="13424"/>
                </a:lnTo>
                <a:lnTo>
                  <a:pt x="86317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50"/>
                </a:lnTo>
                <a:lnTo>
                  <a:pt x="44135" y="54017"/>
                </a:lnTo>
                <a:lnTo>
                  <a:pt x="35418" y="64798"/>
                </a:lnTo>
                <a:lnTo>
                  <a:pt x="27535" y="76338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9"/>
                </a:lnTo>
                <a:lnTo>
                  <a:pt x="5364" y="128966"/>
                </a:lnTo>
                <a:lnTo>
                  <a:pt x="2418" y="143464"/>
                </a:lnTo>
                <a:lnTo>
                  <a:pt x="613" y="158388"/>
                </a:lnTo>
                <a:lnTo>
                  <a:pt x="0" y="173681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2" name="object 62"/>
          <p:cNvSpPr/>
          <p:nvPr/>
        </p:nvSpPr>
        <p:spPr>
          <a:xfrm>
            <a:off x="6872003" y="34121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0" name="object 60"/>
          <p:cNvSpPr/>
          <p:nvPr/>
        </p:nvSpPr>
        <p:spPr>
          <a:xfrm>
            <a:off x="5880841" y="502152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8" name="object 58"/>
          <p:cNvSpPr/>
          <p:nvPr/>
        </p:nvSpPr>
        <p:spPr>
          <a:xfrm>
            <a:off x="4326962" y="34938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6" name="object 56"/>
          <p:cNvSpPr/>
          <p:nvPr/>
        </p:nvSpPr>
        <p:spPr>
          <a:xfrm>
            <a:off x="3451263" y="457102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4" name="object 54"/>
          <p:cNvSpPr/>
          <p:nvPr/>
        </p:nvSpPr>
        <p:spPr>
          <a:xfrm>
            <a:off x="7513462" y="204543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2" name="object 52"/>
          <p:cNvSpPr/>
          <p:nvPr/>
        </p:nvSpPr>
        <p:spPr>
          <a:xfrm>
            <a:off x="6553321" y="196196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0" name="object 50"/>
          <p:cNvSpPr/>
          <p:nvPr/>
        </p:nvSpPr>
        <p:spPr>
          <a:xfrm>
            <a:off x="7353097" y="275391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7" name="object 47"/>
          <p:cNvSpPr/>
          <p:nvPr/>
        </p:nvSpPr>
        <p:spPr>
          <a:xfrm>
            <a:off x="4696123" y="412086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232" y="183106"/>
                </a:lnTo>
                <a:lnTo>
                  <a:pt x="1582" y="198179"/>
                </a:lnTo>
                <a:lnTo>
                  <a:pt x="4094" y="212848"/>
                </a:lnTo>
                <a:lnTo>
                  <a:pt x="7715" y="227057"/>
                </a:lnTo>
                <a:lnTo>
                  <a:pt x="12395" y="240752"/>
                </a:lnTo>
                <a:lnTo>
                  <a:pt x="18081" y="253876"/>
                </a:lnTo>
                <a:lnTo>
                  <a:pt x="24724" y="266374"/>
                </a:lnTo>
                <a:lnTo>
                  <a:pt x="32271" y="278192"/>
                </a:lnTo>
                <a:lnTo>
                  <a:pt x="40672" y="289272"/>
                </a:lnTo>
                <a:lnTo>
                  <a:pt x="49876" y="299560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8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7" y="347110"/>
                </a:lnTo>
                <a:lnTo>
                  <a:pt x="182984" y="345647"/>
                </a:lnTo>
                <a:lnTo>
                  <a:pt x="196528" y="342927"/>
                </a:lnTo>
                <a:lnTo>
                  <a:pt x="209648" y="339005"/>
                </a:lnTo>
                <a:lnTo>
                  <a:pt x="222293" y="333937"/>
                </a:lnTo>
                <a:lnTo>
                  <a:pt x="234411" y="327778"/>
                </a:lnTo>
                <a:lnTo>
                  <a:pt x="245951" y="320584"/>
                </a:lnTo>
                <a:lnTo>
                  <a:pt x="256862" y="312410"/>
                </a:lnTo>
                <a:lnTo>
                  <a:pt x="267093" y="303312"/>
                </a:lnTo>
                <a:lnTo>
                  <a:pt x="276593" y="293344"/>
                </a:lnTo>
                <a:lnTo>
                  <a:pt x="285310" y="282563"/>
                </a:lnTo>
                <a:lnTo>
                  <a:pt x="293193" y="271024"/>
                </a:lnTo>
                <a:lnTo>
                  <a:pt x="300191" y="258782"/>
                </a:lnTo>
                <a:lnTo>
                  <a:pt x="306253" y="245893"/>
                </a:lnTo>
                <a:lnTo>
                  <a:pt x="311328" y="232412"/>
                </a:lnTo>
                <a:lnTo>
                  <a:pt x="315364" y="218395"/>
                </a:lnTo>
                <a:lnTo>
                  <a:pt x="318311" y="203897"/>
                </a:lnTo>
                <a:lnTo>
                  <a:pt x="320116" y="188974"/>
                </a:lnTo>
                <a:lnTo>
                  <a:pt x="320729" y="173681"/>
                </a:lnTo>
                <a:lnTo>
                  <a:pt x="320497" y="164255"/>
                </a:lnTo>
                <a:lnTo>
                  <a:pt x="319146" y="149182"/>
                </a:lnTo>
                <a:lnTo>
                  <a:pt x="316635" y="134513"/>
                </a:lnTo>
                <a:lnTo>
                  <a:pt x="313013" y="120304"/>
                </a:lnTo>
                <a:lnTo>
                  <a:pt x="308334" y="106609"/>
                </a:lnTo>
                <a:lnTo>
                  <a:pt x="302647" y="93485"/>
                </a:lnTo>
                <a:lnTo>
                  <a:pt x="296005" y="80986"/>
                </a:lnTo>
                <a:lnTo>
                  <a:pt x="288457" y="69169"/>
                </a:lnTo>
                <a:lnTo>
                  <a:pt x="280056" y="58089"/>
                </a:lnTo>
                <a:lnTo>
                  <a:pt x="270853" y="47800"/>
                </a:lnTo>
                <a:lnTo>
                  <a:pt x="260899" y="38359"/>
                </a:lnTo>
                <a:lnTo>
                  <a:pt x="250244" y="29822"/>
                </a:lnTo>
                <a:lnTo>
                  <a:pt x="238941" y="22242"/>
                </a:lnTo>
                <a:lnTo>
                  <a:pt x="227040" y="15677"/>
                </a:lnTo>
                <a:lnTo>
                  <a:pt x="214593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1" y="251"/>
                </a:lnTo>
                <a:lnTo>
                  <a:pt x="137744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5" y="13424"/>
                </a:lnTo>
                <a:lnTo>
                  <a:pt x="86317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50"/>
                </a:lnTo>
                <a:lnTo>
                  <a:pt x="44135" y="54017"/>
                </a:lnTo>
                <a:lnTo>
                  <a:pt x="35418" y="64798"/>
                </a:lnTo>
                <a:lnTo>
                  <a:pt x="27535" y="76338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9"/>
                </a:lnTo>
                <a:lnTo>
                  <a:pt x="5364" y="128966"/>
                </a:lnTo>
                <a:lnTo>
                  <a:pt x="2418" y="143464"/>
                </a:lnTo>
                <a:lnTo>
                  <a:pt x="613" y="158388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3" name="object 43"/>
          <p:cNvSpPr/>
          <p:nvPr/>
        </p:nvSpPr>
        <p:spPr>
          <a:xfrm>
            <a:off x="4441297" y="46123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6"/>
                </a:lnTo>
                <a:lnTo>
                  <a:pt x="1583" y="198179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6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2"/>
                </a:lnTo>
                <a:lnTo>
                  <a:pt x="49876" y="299561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6"/>
                </a:lnTo>
                <a:lnTo>
                  <a:pt x="196530" y="342926"/>
                </a:lnTo>
                <a:lnTo>
                  <a:pt x="209650" y="339004"/>
                </a:lnTo>
                <a:lnTo>
                  <a:pt x="222295" y="333936"/>
                </a:lnTo>
                <a:lnTo>
                  <a:pt x="234413" y="327778"/>
                </a:lnTo>
                <a:lnTo>
                  <a:pt x="245953" y="320583"/>
                </a:lnTo>
                <a:lnTo>
                  <a:pt x="256864" y="312409"/>
                </a:lnTo>
                <a:lnTo>
                  <a:pt x="267095" y="303311"/>
                </a:lnTo>
                <a:lnTo>
                  <a:pt x="276595" y="293343"/>
                </a:lnTo>
                <a:lnTo>
                  <a:pt x="285312" y="282562"/>
                </a:lnTo>
                <a:lnTo>
                  <a:pt x="293195" y="271023"/>
                </a:lnTo>
                <a:lnTo>
                  <a:pt x="300193" y="258781"/>
                </a:lnTo>
                <a:lnTo>
                  <a:pt x="306255" y="245892"/>
                </a:lnTo>
                <a:lnTo>
                  <a:pt x="311330" y="232411"/>
                </a:lnTo>
                <a:lnTo>
                  <a:pt x="315366" y="218394"/>
                </a:lnTo>
                <a:lnTo>
                  <a:pt x="318312" y="203896"/>
                </a:lnTo>
                <a:lnTo>
                  <a:pt x="320117" y="188973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9" y="93485"/>
                </a:lnTo>
                <a:lnTo>
                  <a:pt x="296006" y="80986"/>
                </a:lnTo>
                <a:lnTo>
                  <a:pt x="288459" y="69169"/>
                </a:lnTo>
                <a:lnTo>
                  <a:pt x="280058" y="58089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4"/>
                </a:lnTo>
                <a:lnTo>
                  <a:pt x="86318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4" name="object 44"/>
          <p:cNvSpPr/>
          <p:nvPr/>
        </p:nvSpPr>
        <p:spPr>
          <a:xfrm>
            <a:off x="4441297" y="46123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ln w="25399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6" name="object 46"/>
          <p:cNvSpPr/>
          <p:nvPr/>
        </p:nvSpPr>
        <p:spPr>
          <a:xfrm>
            <a:off x="4367860" y="4662811"/>
            <a:ext cx="394167" cy="381727"/>
          </a:xfrm>
          <a:custGeom>
            <a:avLst/>
            <a:gdLst/>
            <a:ahLst/>
            <a:cxnLst/>
            <a:rect l="l" t="t" r="r" b="b"/>
            <a:pathLst>
              <a:path w="394167" h="381727">
                <a:moveTo>
                  <a:pt x="0" y="0"/>
                </a:moveTo>
                <a:lnTo>
                  <a:pt x="394167" y="0"/>
                </a:lnTo>
                <a:lnTo>
                  <a:pt x="394167" y="381727"/>
                </a:lnTo>
                <a:lnTo>
                  <a:pt x="0" y="381727"/>
                </a:lnTo>
                <a:lnTo>
                  <a:pt x="0" y="0"/>
                </a:lnTo>
                <a:close/>
              </a:path>
            </a:pathLst>
          </a:custGeom>
          <a:solidFill>
            <a:srgbClr val="AAC56C"/>
          </a:solidFill>
          <a:ln w="57150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2" name="object 42"/>
          <p:cNvSpPr/>
          <p:nvPr/>
        </p:nvSpPr>
        <p:spPr>
          <a:xfrm>
            <a:off x="3130532" y="40499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5" name="object 35"/>
          <p:cNvSpPr/>
          <p:nvPr/>
        </p:nvSpPr>
        <p:spPr>
          <a:xfrm>
            <a:off x="5748103" y="33118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232" y="183106"/>
                </a:lnTo>
                <a:lnTo>
                  <a:pt x="1582" y="198179"/>
                </a:lnTo>
                <a:lnTo>
                  <a:pt x="4094" y="212848"/>
                </a:lnTo>
                <a:lnTo>
                  <a:pt x="7715" y="227057"/>
                </a:lnTo>
                <a:lnTo>
                  <a:pt x="12395" y="240752"/>
                </a:lnTo>
                <a:lnTo>
                  <a:pt x="18081" y="253876"/>
                </a:lnTo>
                <a:lnTo>
                  <a:pt x="24724" y="266374"/>
                </a:lnTo>
                <a:lnTo>
                  <a:pt x="32271" y="278192"/>
                </a:lnTo>
                <a:lnTo>
                  <a:pt x="40672" y="289272"/>
                </a:lnTo>
                <a:lnTo>
                  <a:pt x="49876" y="299560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8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8" y="347110"/>
                </a:lnTo>
                <a:lnTo>
                  <a:pt x="182985" y="345647"/>
                </a:lnTo>
                <a:lnTo>
                  <a:pt x="196530" y="342927"/>
                </a:lnTo>
                <a:lnTo>
                  <a:pt x="209650" y="339005"/>
                </a:lnTo>
                <a:lnTo>
                  <a:pt x="222294" y="333937"/>
                </a:lnTo>
                <a:lnTo>
                  <a:pt x="234412" y="327778"/>
                </a:lnTo>
                <a:lnTo>
                  <a:pt x="245952" y="320584"/>
                </a:lnTo>
                <a:lnTo>
                  <a:pt x="256864" y="312410"/>
                </a:lnTo>
                <a:lnTo>
                  <a:pt x="267095" y="303311"/>
                </a:lnTo>
                <a:lnTo>
                  <a:pt x="276594" y="293344"/>
                </a:lnTo>
                <a:lnTo>
                  <a:pt x="285311" y="282563"/>
                </a:lnTo>
                <a:lnTo>
                  <a:pt x="293195" y="271024"/>
                </a:lnTo>
                <a:lnTo>
                  <a:pt x="300193" y="258782"/>
                </a:lnTo>
                <a:lnTo>
                  <a:pt x="306255" y="245893"/>
                </a:lnTo>
                <a:lnTo>
                  <a:pt x="311330" y="232412"/>
                </a:lnTo>
                <a:lnTo>
                  <a:pt x="315366" y="218395"/>
                </a:lnTo>
                <a:lnTo>
                  <a:pt x="318312" y="203897"/>
                </a:lnTo>
                <a:lnTo>
                  <a:pt x="320117" y="188974"/>
                </a:lnTo>
                <a:lnTo>
                  <a:pt x="320730" y="173681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4" y="120303"/>
                </a:lnTo>
                <a:lnTo>
                  <a:pt x="308335" y="106608"/>
                </a:lnTo>
                <a:lnTo>
                  <a:pt x="302648" y="93484"/>
                </a:lnTo>
                <a:lnTo>
                  <a:pt x="296006" y="80986"/>
                </a:lnTo>
                <a:lnTo>
                  <a:pt x="288458" y="69169"/>
                </a:lnTo>
                <a:lnTo>
                  <a:pt x="280057" y="58088"/>
                </a:lnTo>
                <a:lnTo>
                  <a:pt x="270854" y="47800"/>
                </a:lnTo>
                <a:lnTo>
                  <a:pt x="260899" y="38359"/>
                </a:lnTo>
                <a:lnTo>
                  <a:pt x="250245" y="29821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1" y="251"/>
                </a:lnTo>
                <a:lnTo>
                  <a:pt x="137744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5" y="13424"/>
                </a:lnTo>
                <a:lnTo>
                  <a:pt x="86317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50"/>
                </a:lnTo>
                <a:lnTo>
                  <a:pt x="44135" y="54017"/>
                </a:lnTo>
                <a:lnTo>
                  <a:pt x="35418" y="64798"/>
                </a:lnTo>
                <a:lnTo>
                  <a:pt x="27535" y="76338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9"/>
                </a:lnTo>
                <a:lnTo>
                  <a:pt x="5364" y="128966"/>
                </a:lnTo>
                <a:lnTo>
                  <a:pt x="2418" y="143464"/>
                </a:lnTo>
                <a:lnTo>
                  <a:pt x="613" y="158388"/>
                </a:lnTo>
                <a:lnTo>
                  <a:pt x="0" y="173681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8" name="object 38"/>
          <p:cNvSpPr/>
          <p:nvPr/>
        </p:nvSpPr>
        <p:spPr>
          <a:xfrm>
            <a:off x="5560113" y="25802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0" name="object 40"/>
          <p:cNvSpPr/>
          <p:nvPr/>
        </p:nvSpPr>
        <p:spPr>
          <a:xfrm>
            <a:off x="5421508" y="296447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4" name="object 34"/>
          <p:cNvSpPr/>
          <p:nvPr/>
        </p:nvSpPr>
        <p:spPr>
          <a:xfrm>
            <a:off x="5213120" y="49216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2" name="object 32"/>
          <p:cNvSpPr/>
          <p:nvPr/>
        </p:nvSpPr>
        <p:spPr>
          <a:xfrm>
            <a:off x="7032365" y="221911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0" name="object 30"/>
          <p:cNvSpPr/>
          <p:nvPr/>
        </p:nvSpPr>
        <p:spPr>
          <a:xfrm>
            <a:off x="7385165" y="340218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6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7"/>
                </a:lnTo>
                <a:lnTo>
                  <a:pt x="310251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7" name="object 27"/>
          <p:cNvSpPr/>
          <p:nvPr/>
        </p:nvSpPr>
        <p:spPr>
          <a:xfrm>
            <a:off x="5038354" y="248300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1"/>
                </a:moveTo>
                <a:lnTo>
                  <a:pt x="232" y="183108"/>
                </a:lnTo>
                <a:lnTo>
                  <a:pt x="1583" y="198181"/>
                </a:lnTo>
                <a:lnTo>
                  <a:pt x="4094" y="212849"/>
                </a:lnTo>
                <a:lnTo>
                  <a:pt x="7715" y="227059"/>
                </a:lnTo>
                <a:lnTo>
                  <a:pt x="12395" y="240753"/>
                </a:lnTo>
                <a:lnTo>
                  <a:pt x="18082" y="253878"/>
                </a:lnTo>
                <a:lnTo>
                  <a:pt x="24724" y="266376"/>
                </a:lnTo>
                <a:lnTo>
                  <a:pt x="32272" y="278193"/>
                </a:lnTo>
                <a:lnTo>
                  <a:pt x="40673" y="289273"/>
                </a:lnTo>
                <a:lnTo>
                  <a:pt x="49876" y="299562"/>
                </a:lnTo>
                <a:lnTo>
                  <a:pt x="59830" y="309003"/>
                </a:lnTo>
                <a:lnTo>
                  <a:pt x="70485" y="317540"/>
                </a:lnTo>
                <a:lnTo>
                  <a:pt x="81788" y="325120"/>
                </a:lnTo>
                <a:lnTo>
                  <a:pt x="93689" y="331685"/>
                </a:lnTo>
                <a:lnTo>
                  <a:pt x="106136" y="337181"/>
                </a:lnTo>
                <a:lnTo>
                  <a:pt x="119079" y="341552"/>
                </a:lnTo>
                <a:lnTo>
                  <a:pt x="132465" y="344743"/>
                </a:lnTo>
                <a:lnTo>
                  <a:pt x="146244" y="346698"/>
                </a:lnTo>
                <a:lnTo>
                  <a:pt x="160365" y="347362"/>
                </a:lnTo>
                <a:lnTo>
                  <a:pt x="169068" y="347111"/>
                </a:lnTo>
                <a:lnTo>
                  <a:pt x="182985" y="345648"/>
                </a:lnTo>
                <a:lnTo>
                  <a:pt x="196529" y="342928"/>
                </a:lnTo>
                <a:lnTo>
                  <a:pt x="209649" y="339006"/>
                </a:lnTo>
                <a:lnTo>
                  <a:pt x="222294" y="333938"/>
                </a:lnTo>
                <a:lnTo>
                  <a:pt x="234411" y="327779"/>
                </a:lnTo>
                <a:lnTo>
                  <a:pt x="245952" y="320585"/>
                </a:lnTo>
                <a:lnTo>
                  <a:pt x="256863" y="312411"/>
                </a:lnTo>
                <a:lnTo>
                  <a:pt x="267094" y="303312"/>
                </a:lnTo>
                <a:lnTo>
                  <a:pt x="276593" y="293345"/>
                </a:lnTo>
                <a:lnTo>
                  <a:pt x="285310" y="282564"/>
                </a:lnTo>
                <a:lnTo>
                  <a:pt x="293193" y="271025"/>
                </a:lnTo>
                <a:lnTo>
                  <a:pt x="300192" y="258783"/>
                </a:lnTo>
                <a:lnTo>
                  <a:pt x="306254" y="245894"/>
                </a:lnTo>
                <a:lnTo>
                  <a:pt x="311328" y="232413"/>
                </a:lnTo>
                <a:lnTo>
                  <a:pt x="315364" y="218396"/>
                </a:lnTo>
                <a:lnTo>
                  <a:pt x="318311" y="203898"/>
                </a:lnTo>
                <a:lnTo>
                  <a:pt x="320116" y="188974"/>
                </a:lnTo>
                <a:lnTo>
                  <a:pt x="320729" y="173681"/>
                </a:lnTo>
                <a:lnTo>
                  <a:pt x="320497" y="164255"/>
                </a:lnTo>
                <a:lnTo>
                  <a:pt x="319146" y="149182"/>
                </a:lnTo>
                <a:lnTo>
                  <a:pt x="316635" y="134513"/>
                </a:lnTo>
                <a:lnTo>
                  <a:pt x="313013" y="120304"/>
                </a:lnTo>
                <a:lnTo>
                  <a:pt x="308334" y="106609"/>
                </a:lnTo>
                <a:lnTo>
                  <a:pt x="302647" y="93485"/>
                </a:lnTo>
                <a:lnTo>
                  <a:pt x="296005" y="80986"/>
                </a:lnTo>
                <a:lnTo>
                  <a:pt x="288457" y="69169"/>
                </a:lnTo>
                <a:lnTo>
                  <a:pt x="280056" y="58089"/>
                </a:lnTo>
                <a:lnTo>
                  <a:pt x="270853" y="47800"/>
                </a:lnTo>
                <a:lnTo>
                  <a:pt x="260899" y="38359"/>
                </a:lnTo>
                <a:lnTo>
                  <a:pt x="250244" y="29822"/>
                </a:lnTo>
                <a:lnTo>
                  <a:pt x="238941" y="22242"/>
                </a:lnTo>
                <a:lnTo>
                  <a:pt x="227040" y="15677"/>
                </a:lnTo>
                <a:lnTo>
                  <a:pt x="214593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1" y="251"/>
                </a:lnTo>
                <a:lnTo>
                  <a:pt x="137744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5" y="13424"/>
                </a:lnTo>
                <a:lnTo>
                  <a:pt x="86317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50"/>
                </a:lnTo>
                <a:lnTo>
                  <a:pt x="44135" y="54017"/>
                </a:lnTo>
                <a:lnTo>
                  <a:pt x="35418" y="64798"/>
                </a:lnTo>
                <a:lnTo>
                  <a:pt x="27535" y="76338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9"/>
                </a:lnTo>
                <a:lnTo>
                  <a:pt x="5364" y="128966"/>
                </a:lnTo>
                <a:lnTo>
                  <a:pt x="2418" y="143464"/>
                </a:lnTo>
                <a:lnTo>
                  <a:pt x="613" y="158388"/>
                </a:lnTo>
                <a:lnTo>
                  <a:pt x="0" y="173681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5" name="object 25"/>
          <p:cNvSpPr/>
          <p:nvPr/>
        </p:nvSpPr>
        <p:spPr>
          <a:xfrm>
            <a:off x="7192732" y="159327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6"/>
                </a:lnTo>
                <a:lnTo>
                  <a:pt x="1583" y="198179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6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2"/>
                </a:lnTo>
                <a:lnTo>
                  <a:pt x="49876" y="299561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6"/>
                </a:lnTo>
                <a:lnTo>
                  <a:pt x="196530" y="342926"/>
                </a:lnTo>
                <a:lnTo>
                  <a:pt x="209650" y="339004"/>
                </a:lnTo>
                <a:lnTo>
                  <a:pt x="222295" y="333936"/>
                </a:lnTo>
                <a:lnTo>
                  <a:pt x="234413" y="327778"/>
                </a:lnTo>
                <a:lnTo>
                  <a:pt x="245953" y="320583"/>
                </a:lnTo>
                <a:lnTo>
                  <a:pt x="256864" y="312409"/>
                </a:lnTo>
                <a:lnTo>
                  <a:pt x="267095" y="303311"/>
                </a:lnTo>
                <a:lnTo>
                  <a:pt x="276595" y="293343"/>
                </a:lnTo>
                <a:lnTo>
                  <a:pt x="285312" y="282562"/>
                </a:lnTo>
                <a:lnTo>
                  <a:pt x="293195" y="271023"/>
                </a:lnTo>
                <a:lnTo>
                  <a:pt x="300193" y="258781"/>
                </a:lnTo>
                <a:lnTo>
                  <a:pt x="306255" y="245892"/>
                </a:lnTo>
                <a:lnTo>
                  <a:pt x="311330" y="232411"/>
                </a:lnTo>
                <a:lnTo>
                  <a:pt x="315366" y="218394"/>
                </a:lnTo>
                <a:lnTo>
                  <a:pt x="318312" y="203896"/>
                </a:lnTo>
                <a:lnTo>
                  <a:pt x="320117" y="188973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9" y="93485"/>
                </a:lnTo>
                <a:lnTo>
                  <a:pt x="296006" y="80986"/>
                </a:lnTo>
                <a:lnTo>
                  <a:pt x="288459" y="69169"/>
                </a:lnTo>
                <a:lnTo>
                  <a:pt x="280058" y="58089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4"/>
                </a:lnTo>
                <a:lnTo>
                  <a:pt x="86318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4" name="object 24"/>
          <p:cNvSpPr/>
          <p:nvPr/>
        </p:nvSpPr>
        <p:spPr>
          <a:xfrm>
            <a:off x="6201572" y="316997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2" name="object 22"/>
          <p:cNvSpPr/>
          <p:nvPr/>
        </p:nvSpPr>
        <p:spPr>
          <a:xfrm>
            <a:off x="4877989" y="532865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0" name="object 20"/>
          <p:cNvSpPr/>
          <p:nvPr/>
        </p:nvSpPr>
        <p:spPr>
          <a:xfrm>
            <a:off x="5581873" y="4521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8" name="object 18"/>
          <p:cNvSpPr/>
          <p:nvPr/>
        </p:nvSpPr>
        <p:spPr>
          <a:xfrm>
            <a:off x="3528670" y="35173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6" name="object 16"/>
          <p:cNvSpPr/>
          <p:nvPr/>
        </p:nvSpPr>
        <p:spPr>
          <a:xfrm>
            <a:off x="3252845" y="520650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" name="object 14"/>
          <p:cNvSpPr/>
          <p:nvPr/>
        </p:nvSpPr>
        <p:spPr>
          <a:xfrm>
            <a:off x="3849401" y="4051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" name="object 12"/>
          <p:cNvSpPr/>
          <p:nvPr/>
        </p:nvSpPr>
        <p:spPr>
          <a:xfrm>
            <a:off x="6713687" y="269105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" name="object 10"/>
          <p:cNvSpPr txBox="1"/>
          <p:nvPr/>
        </p:nvSpPr>
        <p:spPr>
          <a:xfrm>
            <a:off x="2101916" y="369650"/>
            <a:ext cx="6356284" cy="4318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3400"/>
              </a:lnSpc>
              <a:spcBef>
                <a:spcPts val="170"/>
              </a:spcBef>
            </a:pPr>
            <a:r>
              <a:rPr sz="4800" baseline="1706" dirty="0" smtClean="0">
                <a:solidFill>
                  <a:srgbClr val="4E81BC"/>
                </a:solidFill>
                <a:latin typeface="+mj-lt"/>
                <a:cs typeface="Calibri"/>
              </a:rPr>
              <a:t>K‐Means </a:t>
            </a:r>
            <a:r>
              <a:rPr sz="4800" spc="0" baseline="1706" dirty="0" smtClean="0">
                <a:solidFill>
                  <a:srgbClr val="F69545"/>
                </a:solidFill>
                <a:latin typeface="+mj-lt"/>
                <a:cs typeface="Calibri"/>
              </a:rPr>
              <a:t>K=2</a:t>
            </a:r>
            <a:endParaRPr sz="3200" dirty="0">
              <a:latin typeface="+mj-lt"/>
              <a:cs typeface="Calibri"/>
            </a:endParaRPr>
          </a:p>
        </p:txBody>
      </p:sp>
      <p:sp>
        <p:nvSpPr>
          <p:cNvPr id="9" name="object 9"/>
          <p:cNvSpPr txBox="1"/>
          <p:nvPr/>
        </p:nvSpPr>
        <p:spPr>
          <a:xfrm>
            <a:off x="2101916" y="852250"/>
            <a:ext cx="6545347" cy="9144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3454"/>
              </a:lnSpc>
              <a:spcBef>
                <a:spcPts val="172"/>
              </a:spcBef>
            </a:pPr>
            <a:r>
              <a:rPr sz="4800" spc="0" baseline="2560" dirty="0" smtClean="0">
                <a:solidFill>
                  <a:srgbClr val="7F7E7E"/>
                </a:solidFill>
                <a:latin typeface="+mj-lt"/>
                <a:cs typeface="Calibri"/>
              </a:rPr>
              <a:t>Points don’t</a:t>
            </a:r>
            <a:r>
              <a:rPr lang="en-US" sz="4800" spc="0" baseline="2560" dirty="0" smtClean="0">
                <a:solidFill>
                  <a:srgbClr val="7F7E7E"/>
                </a:solidFill>
                <a:latin typeface="+mj-lt"/>
                <a:cs typeface="Calibri"/>
              </a:rPr>
              <a:t> change anymore.</a:t>
            </a:r>
            <a:endParaRPr sz="3200" dirty="0">
              <a:latin typeface="+mj-lt"/>
              <a:cs typeface="Calibri"/>
            </a:endParaRPr>
          </a:p>
          <a:p>
            <a:pPr marL="12700" marR="60960">
              <a:lnSpc>
                <a:spcPts val="3745"/>
              </a:lnSpc>
              <a:spcBef>
                <a:spcPts val="14"/>
              </a:spcBef>
            </a:pPr>
            <a:r>
              <a:rPr sz="3200" spc="0" dirty="0" smtClean="0">
                <a:solidFill>
                  <a:srgbClr val="F69545"/>
                </a:solidFill>
                <a:latin typeface="+mj-lt"/>
                <a:cs typeface="Calibri"/>
              </a:rPr>
              <a:t>Con</a:t>
            </a:r>
            <a:r>
              <a:rPr sz="3200" spc="-4" dirty="0" smtClean="0">
                <a:solidFill>
                  <a:srgbClr val="F69545"/>
                </a:solidFill>
                <a:latin typeface="+mj-lt"/>
                <a:cs typeface="Calibri"/>
              </a:rPr>
              <a:t>v</a:t>
            </a:r>
            <a:r>
              <a:rPr sz="3200" spc="0" dirty="0" smtClean="0">
                <a:solidFill>
                  <a:srgbClr val="F69545"/>
                </a:solidFill>
                <a:latin typeface="+mj-lt"/>
                <a:cs typeface="Calibri"/>
              </a:rPr>
              <a:t>erged!</a:t>
            </a:r>
            <a:endParaRPr sz="3200" dirty="0">
              <a:latin typeface="+mj-lt"/>
              <a:cs typeface="Calibri"/>
            </a:endParaRPr>
          </a:p>
        </p:txBody>
      </p:sp>
      <p:sp>
        <p:nvSpPr>
          <p:cNvPr id="6" name="object 6"/>
          <p:cNvSpPr txBox="1"/>
          <p:nvPr/>
        </p:nvSpPr>
        <p:spPr>
          <a:xfrm>
            <a:off x="1332125" y="3759280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sp>
        <p:nvSpPr>
          <p:cNvPr id="5" name="object 5"/>
          <p:cNvSpPr txBox="1"/>
          <p:nvPr/>
        </p:nvSpPr>
        <p:spPr>
          <a:xfrm>
            <a:off x="5426815" y="6116930"/>
            <a:ext cx="542241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Age</a:t>
            </a:r>
            <a:endParaRPr sz="2400">
              <a:cs typeface="Calibri"/>
            </a:endParaRPr>
          </a:p>
        </p:txBody>
      </p:sp>
      <p:sp>
        <p:nvSpPr>
          <p:cNvPr id="4" name="object 4"/>
          <p:cNvSpPr txBox="1"/>
          <p:nvPr/>
        </p:nvSpPr>
        <p:spPr>
          <a:xfrm>
            <a:off x="2343901" y="1923700"/>
            <a:ext cx="6303362" cy="405467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3" name="object 3"/>
          <p:cNvSpPr txBox="1"/>
          <p:nvPr/>
        </p:nvSpPr>
        <p:spPr>
          <a:xfrm>
            <a:off x="4367860" y="4662811"/>
            <a:ext cx="394167" cy="38172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2" name="object 2"/>
          <p:cNvSpPr txBox="1"/>
          <p:nvPr/>
        </p:nvSpPr>
        <p:spPr>
          <a:xfrm>
            <a:off x="6244216" y="2582755"/>
            <a:ext cx="394167" cy="38172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grpSp>
        <p:nvGrpSpPr>
          <p:cNvPr id="85" name="Group 84"/>
          <p:cNvGrpSpPr/>
          <p:nvPr/>
        </p:nvGrpSpPr>
        <p:grpSpPr>
          <a:xfrm>
            <a:off x="2383438" y="1888930"/>
            <a:ext cx="6303362" cy="4054670"/>
            <a:chOff x="2343901" y="1923700"/>
            <a:chExt cx="6303362" cy="4054670"/>
          </a:xfrm>
        </p:grpSpPr>
        <p:sp>
          <p:nvSpPr>
            <p:cNvPr id="86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87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  <p:sp>
        <p:nvSpPr>
          <p:cNvPr id="49" name="object 74"/>
          <p:cNvSpPr/>
          <p:nvPr/>
        </p:nvSpPr>
        <p:spPr>
          <a:xfrm>
            <a:off x="6255631" y="2582755"/>
            <a:ext cx="394167" cy="381727"/>
          </a:xfrm>
          <a:custGeom>
            <a:avLst/>
            <a:gdLst/>
            <a:ahLst/>
            <a:cxnLst/>
            <a:rect l="l" t="t" r="r" b="b"/>
            <a:pathLst>
              <a:path w="394167" h="381727">
                <a:moveTo>
                  <a:pt x="0" y="0"/>
                </a:moveTo>
                <a:lnTo>
                  <a:pt x="394167" y="0"/>
                </a:lnTo>
                <a:lnTo>
                  <a:pt x="394167" y="381727"/>
                </a:lnTo>
                <a:lnTo>
                  <a:pt x="0" y="381727"/>
                </a:lnTo>
                <a:lnTo>
                  <a:pt x="0" y="0"/>
                </a:lnTo>
                <a:close/>
              </a:path>
            </a:pathLst>
          </a:custGeom>
          <a:solidFill>
            <a:srgbClr val="59BAD1"/>
          </a:solidFill>
          <a:ln w="57150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365865496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0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6" name="object 5"/>
          <p:cNvSpPr txBox="1"/>
          <p:nvPr/>
        </p:nvSpPr>
        <p:spPr>
          <a:xfrm>
            <a:off x="1041016" y="545066"/>
            <a:ext cx="7874384" cy="436017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>
              <a:lnSpc>
                <a:spcPts val="3400"/>
              </a:lnSpc>
              <a:spcBef>
                <a:spcPts val="170"/>
              </a:spcBef>
            </a:pPr>
            <a:r>
              <a:rPr sz="4800" spc="0" baseline="1706" dirty="0" smtClean="0">
                <a:solidFill>
                  <a:srgbClr val="4E81BC"/>
                </a:solidFill>
                <a:latin typeface="+mj-lt"/>
                <a:cs typeface="Calibri"/>
              </a:rPr>
              <a:t>Euclidean Distance</a:t>
            </a:r>
            <a:endParaRPr sz="3200" dirty="0">
              <a:latin typeface="+mj-lt"/>
              <a:cs typeface="Calibri"/>
            </a:endParaRPr>
          </a:p>
        </p:txBody>
      </p:sp>
      <p:sp>
        <p:nvSpPr>
          <p:cNvPr id="78" name="object 82"/>
          <p:cNvSpPr/>
          <p:nvPr/>
        </p:nvSpPr>
        <p:spPr>
          <a:xfrm>
            <a:off x="4414372" y="54871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9" name="object 84"/>
          <p:cNvSpPr/>
          <p:nvPr/>
        </p:nvSpPr>
        <p:spPr>
          <a:xfrm>
            <a:off x="5399747" y="55212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0" name="object 86"/>
          <p:cNvSpPr/>
          <p:nvPr/>
        </p:nvSpPr>
        <p:spPr>
          <a:xfrm>
            <a:off x="6251551" y="55023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1" name="object 74"/>
          <p:cNvSpPr/>
          <p:nvPr/>
        </p:nvSpPr>
        <p:spPr>
          <a:xfrm>
            <a:off x="2668469" y="519520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2" name="object 72"/>
          <p:cNvSpPr/>
          <p:nvPr/>
        </p:nvSpPr>
        <p:spPr>
          <a:xfrm>
            <a:off x="5959366" y="251737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40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80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3" name="object 70"/>
          <p:cNvSpPr/>
          <p:nvPr/>
        </p:nvSpPr>
        <p:spPr>
          <a:xfrm>
            <a:off x="5560113" y="213564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4" name="object 68"/>
          <p:cNvSpPr/>
          <p:nvPr/>
        </p:nvSpPr>
        <p:spPr>
          <a:xfrm>
            <a:off x="5148028" y="1723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5" name="object 66"/>
          <p:cNvSpPr/>
          <p:nvPr/>
        </p:nvSpPr>
        <p:spPr>
          <a:xfrm>
            <a:off x="6872003" y="34121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6" name="object 63"/>
          <p:cNvSpPr/>
          <p:nvPr/>
        </p:nvSpPr>
        <p:spPr>
          <a:xfrm>
            <a:off x="5880842" y="502152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6"/>
                </a:lnTo>
                <a:lnTo>
                  <a:pt x="1583" y="198179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6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2"/>
                </a:lnTo>
                <a:lnTo>
                  <a:pt x="49876" y="299561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6"/>
                </a:lnTo>
                <a:lnTo>
                  <a:pt x="196530" y="342926"/>
                </a:lnTo>
                <a:lnTo>
                  <a:pt x="209650" y="339004"/>
                </a:lnTo>
                <a:lnTo>
                  <a:pt x="222295" y="333936"/>
                </a:lnTo>
                <a:lnTo>
                  <a:pt x="234413" y="327778"/>
                </a:lnTo>
                <a:lnTo>
                  <a:pt x="245953" y="320583"/>
                </a:lnTo>
                <a:lnTo>
                  <a:pt x="256864" y="312409"/>
                </a:lnTo>
                <a:lnTo>
                  <a:pt x="267095" y="303311"/>
                </a:lnTo>
                <a:lnTo>
                  <a:pt x="276595" y="293343"/>
                </a:lnTo>
                <a:lnTo>
                  <a:pt x="285312" y="282562"/>
                </a:lnTo>
                <a:lnTo>
                  <a:pt x="293195" y="271023"/>
                </a:lnTo>
                <a:lnTo>
                  <a:pt x="300193" y="258781"/>
                </a:lnTo>
                <a:lnTo>
                  <a:pt x="306255" y="245892"/>
                </a:lnTo>
                <a:lnTo>
                  <a:pt x="311330" y="232411"/>
                </a:lnTo>
                <a:lnTo>
                  <a:pt x="315366" y="218394"/>
                </a:lnTo>
                <a:lnTo>
                  <a:pt x="318312" y="203896"/>
                </a:lnTo>
                <a:lnTo>
                  <a:pt x="320117" y="188973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9" y="93485"/>
                </a:lnTo>
                <a:lnTo>
                  <a:pt x="296006" y="80986"/>
                </a:lnTo>
                <a:lnTo>
                  <a:pt x="288459" y="69169"/>
                </a:lnTo>
                <a:lnTo>
                  <a:pt x="280058" y="58089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4"/>
                </a:lnTo>
                <a:lnTo>
                  <a:pt x="86318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7" name="object 62"/>
          <p:cNvSpPr/>
          <p:nvPr/>
        </p:nvSpPr>
        <p:spPr>
          <a:xfrm>
            <a:off x="4326962" y="34938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8" name="object 60"/>
          <p:cNvSpPr/>
          <p:nvPr/>
        </p:nvSpPr>
        <p:spPr>
          <a:xfrm>
            <a:off x="3451263" y="457102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9" name="object 58"/>
          <p:cNvSpPr/>
          <p:nvPr/>
        </p:nvSpPr>
        <p:spPr>
          <a:xfrm>
            <a:off x="7513462" y="204543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0" name="object 56"/>
          <p:cNvSpPr/>
          <p:nvPr/>
        </p:nvSpPr>
        <p:spPr>
          <a:xfrm>
            <a:off x="6553321" y="196196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1" name="object 54"/>
          <p:cNvSpPr/>
          <p:nvPr/>
        </p:nvSpPr>
        <p:spPr>
          <a:xfrm>
            <a:off x="7353097" y="275391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2" name="object 52"/>
          <p:cNvSpPr/>
          <p:nvPr/>
        </p:nvSpPr>
        <p:spPr>
          <a:xfrm>
            <a:off x="4696124" y="412086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3" name="object 50"/>
          <p:cNvSpPr/>
          <p:nvPr/>
        </p:nvSpPr>
        <p:spPr>
          <a:xfrm>
            <a:off x="4441297" y="46123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4" name="object 48"/>
          <p:cNvSpPr/>
          <p:nvPr/>
        </p:nvSpPr>
        <p:spPr>
          <a:xfrm>
            <a:off x="3130532" y="40499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5" name="object 42"/>
          <p:cNvSpPr/>
          <p:nvPr/>
        </p:nvSpPr>
        <p:spPr>
          <a:xfrm>
            <a:off x="5748103" y="33118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6" name="object 44"/>
          <p:cNvSpPr/>
          <p:nvPr/>
        </p:nvSpPr>
        <p:spPr>
          <a:xfrm>
            <a:off x="5560113" y="25802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7" name="object 46"/>
          <p:cNvSpPr/>
          <p:nvPr/>
        </p:nvSpPr>
        <p:spPr>
          <a:xfrm>
            <a:off x="5421508" y="296447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8" name="object 40"/>
          <p:cNvSpPr/>
          <p:nvPr/>
        </p:nvSpPr>
        <p:spPr>
          <a:xfrm>
            <a:off x="5213120" y="49216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9" name="object 38"/>
          <p:cNvSpPr/>
          <p:nvPr/>
        </p:nvSpPr>
        <p:spPr>
          <a:xfrm>
            <a:off x="7032365" y="221911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0" name="object 36"/>
          <p:cNvSpPr/>
          <p:nvPr/>
        </p:nvSpPr>
        <p:spPr>
          <a:xfrm>
            <a:off x="7385165" y="340218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6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7"/>
                </a:lnTo>
                <a:lnTo>
                  <a:pt x="310251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1" name="object 34"/>
          <p:cNvSpPr/>
          <p:nvPr/>
        </p:nvSpPr>
        <p:spPr>
          <a:xfrm>
            <a:off x="5038354" y="24830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2" name="object 32"/>
          <p:cNvSpPr/>
          <p:nvPr/>
        </p:nvSpPr>
        <p:spPr>
          <a:xfrm>
            <a:off x="7192732" y="159327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3" name="object 30"/>
          <p:cNvSpPr/>
          <p:nvPr/>
        </p:nvSpPr>
        <p:spPr>
          <a:xfrm>
            <a:off x="6201572" y="316997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4" name="object 28"/>
          <p:cNvSpPr/>
          <p:nvPr/>
        </p:nvSpPr>
        <p:spPr>
          <a:xfrm>
            <a:off x="4877989" y="532865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5" name="object 26"/>
          <p:cNvSpPr/>
          <p:nvPr/>
        </p:nvSpPr>
        <p:spPr>
          <a:xfrm>
            <a:off x="5581873" y="4521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6" name="object 24"/>
          <p:cNvSpPr/>
          <p:nvPr/>
        </p:nvSpPr>
        <p:spPr>
          <a:xfrm>
            <a:off x="3528670" y="35173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7" name="object 22"/>
          <p:cNvSpPr/>
          <p:nvPr/>
        </p:nvSpPr>
        <p:spPr>
          <a:xfrm>
            <a:off x="3252845" y="520650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8" name="object 20"/>
          <p:cNvSpPr/>
          <p:nvPr/>
        </p:nvSpPr>
        <p:spPr>
          <a:xfrm>
            <a:off x="3849401" y="4051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9" name="object 18"/>
          <p:cNvSpPr/>
          <p:nvPr/>
        </p:nvSpPr>
        <p:spPr>
          <a:xfrm>
            <a:off x="6713687" y="269105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0" name="object 6"/>
          <p:cNvSpPr txBox="1"/>
          <p:nvPr/>
        </p:nvSpPr>
        <p:spPr>
          <a:xfrm>
            <a:off x="1332125" y="3759280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sp>
        <p:nvSpPr>
          <p:cNvPr id="111" name="object 5"/>
          <p:cNvSpPr txBox="1"/>
          <p:nvPr/>
        </p:nvSpPr>
        <p:spPr>
          <a:xfrm>
            <a:off x="5426815" y="6116930"/>
            <a:ext cx="542241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Age</a:t>
            </a:r>
            <a:endParaRPr sz="2400">
              <a:cs typeface="Calibri"/>
            </a:endParaRPr>
          </a:p>
        </p:txBody>
      </p:sp>
      <p:grpSp>
        <p:nvGrpSpPr>
          <p:cNvPr id="112" name="Group 111"/>
          <p:cNvGrpSpPr/>
          <p:nvPr/>
        </p:nvGrpSpPr>
        <p:grpSpPr>
          <a:xfrm>
            <a:off x="2383438" y="1888930"/>
            <a:ext cx="6303362" cy="4054670"/>
            <a:chOff x="2343901" y="1923700"/>
            <a:chExt cx="6303362" cy="4054670"/>
          </a:xfrm>
        </p:grpSpPr>
        <p:sp>
          <p:nvSpPr>
            <p:cNvPr id="113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114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0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object 5"/>
          <p:cNvSpPr txBox="1"/>
          <p:nvPr/>
        </p:nvSpPr>
        <p:spPr>
          <a:xfrm>
            <a:off x="1041016" y="545066"/>
            <a:ext cx="7874384" cy="436017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>
              <a:lnSpc>
                <a:spcPts val="3400"/>
              </a:lnSpc>
              <a:spcBef>
                <a:spcPts val="170"/>
              </a:spcBef>
            </a:pPr>
            <a:r>
              <a:rPr sz="4800" spc="0" baseline="1706" dirty="0" smtClean="0">
                <a:solidFill>
                  <a:srgbClr val="4E81BC"/>
                </a:solidFill>
                <a:latin typeface="+mj-lt"/>
                <a:cs typeface="Calibri"/>
              </a:rPr>
              <a:t>Euclidean Distance</a:t>
            </a:r>
            <a:endParaRPr sz="3200" dirty="0">
              <a:latin typeface="+mj-lt"/>
              <a:cs typeface="Calibri"/>
            </a:endParaRPr>
          </a:p>
        </p:txBody>
      </p:sp>
      <p:sp>
        <p:nvSpPr>
          <p:cNvPr id="27" name="object 68"/>
          <p:cNvSpPr/>
          <p:nvPr/>
        </p:nvSpPr>
        <p:spPr>
          <a:xfrm>
            <a:off x="5148028" y="1723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1" name="object 20"/>
          <p:cNvSpPr/>
          <p:nvPr/>
        </p:nvSpPr>
        <p:spPr>
          <a:xfrm>
            <a:off x="3849401" y="4051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3" name="object 6"/>
          <p:cNvSpPr txBox="1"/>
          <p:nvPr/>
        </p:nvSpPr>
        <p:spPr>
          <a:xfrm>
            <a:off x="1332125" y="3759280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sp>
        <p:nvSpPr>
          <p:cNvPr id="54" name="object 5"/>
          <p:cNvSpPr txBox="1"/>
          <p:nvPr/>
        </p:nvSpPr>
        <p:spPr>
          <a:xfrm>
            <a:off x="5426815" y="6116930"/>
            <a:ext cx="542241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Age</a:t>
            </a:r>
            <a:endParaRPr sz="2400">
              <a:cs typeface="Calibri"/>
            </a:endParaRPr>
          </a:p>
        </p:txBody>
      </p:sp>
      <p:grpSp>
        <p:nvGrpSpPr>
          <p:cNvPr id="55" name="Group 54"/>
          <p:cNvGrpSpPr/>
          <p:nvPr/>
        </p:nvGrpSpPr>
        <p:grpSpPr>
          <a:xfrm>
            <a:off x="2383438" y="1888930"/>
            <a:ext cx="6303362" cy="4054670"/>
            <a:chOff x="2343901" y="1923700"/>
            <a:chExt cx="6303362" cy="4054670"/>
          </a:xfrm>
        </p:grpSpPr>
        <p:sp>
          <p:nvSpPr>
            <p:cNvPr id="56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57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  <p:sp>
        <p:nvSpPr>
          <p:cNvPr id="58" name="object 70"/>
          <p:cNvSpPr/>
          <p:nvPr/>
        </p:nvSpPr>
        <p:spPr>
          <a:xfrm>
            <a:off x="4114800" y="2070585"/>
            <a:ext cx="1143000" cy="1980711"/>
          </a:xfrm>
          <a:custGeom>
            <a:avLst/>
            <a:gdLst/>
            <a:ahLst/>
            <a:cxnLst/>
            <a:rect l="l" t="t" r="r" b="b"/>
            <a:pathLst>
              <a:path w="226787" h="185432">
                <a:moveTo>
                  <a:pt x="226787" y="0"/>
                </a:moveTo>
                <a:lnTo>
                  <a:pt x="0" y="185432"/>
                </a:lnTo>
              </a:path>
            </a:pathLst>
          </a:custGeom>
          <a:ln w="38099">
            <a:solidFill>
              <a:srgbClr val="6094C9"/>
            </a:solidFill>
            <a:headEnd type="arrow"/>
            <a:tailEnd type="arrow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0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object 5"/>
          <p:cNvSpPr txBox="1"/>
          <p:nvPr/>
        </p:nvSpPr>
        <p:spPr>
          <a:xfrm>
            <a:off x="1041016" y="545066"/>
            <a:ext cx="7874384" cy="436017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>
              <a:lnSpc>
                <a:spcPts val="3400"/>
              </a:lnSpc>
              <a:spcBef>
                <a:spcPts val="170"/>
              </a:spcBef>
            </a:pPr>
            <a:r>
              <a:rPr sz="4800" spc="0" baseline="1706" dirty="0" smtClean="0">
                <a:solidFill>
                  <a:srgbClr val="4E81BC"/>
                </a:solidFill>
                <a:latin typeface="+mj-lt"/>
                <a:cs typeface="Calibri"/>
              </a:rPr>
              <a:t>Euclidean Distance</a:t>
            </a:r>
            <a:endParaRPr sz="3200" dirty="0">
              <a:latin typeface="+mj-lt"/>
              <a:cs typeface="Calibri"/>
            </a:endParaRPr>
          </a:p>
        </p:txBody>
      </p:sp>
      <p:sp>
        <p:nvSpPr>
          <p:cNvPr id="29" name="object 68"/>
          <p:cNvSpPr/>
          <p:nvPr/>
        </p:nvSpPr>
        <p:spPr>
          <a:xfrm>
            <a:off x="5148028" y="1723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0" name="object 20"/>
          <p:cNvSpPr/>
          <p:nvPr/>
        </p:nvSpPr>
        <p:spPr>
          <a:xfrm>
            <a:off x="3849401" y="4051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1" name="object 6"/>
          <p:cNvSpPr txBox="1"/>
          <p:nvPr/>
        </p:nvSpPr>
        <p:spPr>
          <a:xfrm>
            <a:off x="1332125" y="3759280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sp>
        <p:nvSpPr>
          <p:cNvPr id="32" name="object 5"/>
          <p:cNvSpPr txBox="1"/>
          <p:nvPr/>
        </p:nvSpPr>
        <p:spPr>
          <a:xfrm>
            <a:off x="5426815" y="6116930"/>
            <a:ext cx="542241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Age</a:t>
            </a:r>
            <a:endParaRPr sz="2400">
              <a:cs typeface="Calibri"/>
            </a:endParaRPr>
          </a:p>
        </p:txBody>
      </p:sp>
      <p:grpSp>
        <p:nvGrpSpPr>
          <p:cNvPr id="33" name="Group 32"/>
          <p:cNvGrpSpPr/>
          <p:nvPr/>
        </p:nvGrpSpPr>
        <p:grpSpPr>
          <a:xfrm>
            <a:off x="2383438" y="1888930"/>
            <a:ext cx="6303362" cy="4054670"/>
            <a:chOff x="2343901" y="1923700"/>
            <a:chExt cx="6303362" cy="4054670"/>
          </a:xfrm>
        </p:grpSpPr>
        <p:sp>
          <p:nvSpPr>
            <p:cNvPr id="34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35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  <p:sp>
        <p:nvSpPr>
          <p:cNvPr id="36" name="object 70"/>
          <p:cNvSpPr/>
          <p:nvPr/>
        </p:nvSpPr>
        <p:spPr>
          <a:xfrm>
            <a:off x="4114800" y="2070585"/>
            <a:ext cx="1143000" cy="1980711"/>
          </a:xfrm>
          <a:custGeom>
            <a:avLst/>
            <a:gdLst/>
            <a:ahLst/>
            <a:cxnLst/>
            <a:rect l="l" t="t" r="r" b="b"/>
            <a:pathLst>
              <a:path w="226787" h="185432">
                <a:moveTo>
                  <a:pt x="226787" y="0"/>
                </a:moveTo>
                <a:lnTo>
                  <a:pt x="0" y="185432"/>
                </a:lnTo>
              </a:path>
            </a:pathLst>
          </a:custGeom>
          <a:ln w="38099">
            <a:solidFill>
              <a:srgbClr val="6094C9"/>
            </a:solidFill>
            <a:headEnd type="arrow"/>
            <a:tailEnd type="arrow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7" name="object 5"/>
          <p:cNvSpPr txBox="1"/>
          <p:nvPr/>
        </p:nvSpPr>
        <p:spPr>
          <a:xfrm>
            <a:off x="5573662" y="2967915"/>
            <a:ext cx="1208138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lang="en-US" sz="3600" spc="0" baseline="2275" dirty="0" smtClean="0">
                <a:solidFill>
                  <a:srgbClr val="7F7E7E"/>
                </a:solidFill>
                <a:cs typeface="Calibri"/>
              </a:rPr>
              <a:t>∆ Income</a:t>
            </a:r>
            <a:endParaRPr sz="2400" dirty="0">
              <a:cs typeface="Calibri"/>
            </a:endParaRPr>
          </a:p>
        </p:txBody>
      </p:sp>
      <p:sp>
        <p:nvSpPr>
          <p:cNvPr id="45" name="object 5"/>
          <p:cNvSpPr txBox="1"/>
          <p:nvPr/>
        </p:nvSpPr>
        <p:spPr>
          <a:xfrm>
            <a:off x="4157672" y="2895840"/>
            <a:ext cx="405211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 algn="r">
              <a:lnSpc>
                <a:spcPts val="2600"/>
              </a:lnSpc>
              <a:spcBef>
                <a:spcPts val="130"/>
              </a:spcBef>
            </a:pPr>
            <a:r>
              <a:rPr lang="en-US" sz="3600" spc="0" baseline="2275" dirty="0" smtClean="0">
                <a:solidFill>
                  <a:srgbClr val="7F7E7E"/>
                </a:solidFill>
                <a:cs typeface="Calibri"/>
              </a:rPr>
              <a:t>d</a:t>
            </a:r>
            <a:endParaRPr sz="2400" dirty="0">
              <a:cs typeface="Calibri"/>
            </a:endParaRPr>
          </a:p>
        </p:txBody>
      </p:sp>
      <p:cxnSp>
        <p:nvCxnSpPr>
          <p:cNvPr id="46" name="Straight Connector 45"/>
          <p:cNvCxnSpPr/>
          <p:nvPr/>
        </p:nvCxnSpPr>
        <p:spPr>
          <a:xfrm>
            <a:off x="5407765" y="2070585"/>
            <a:ext cx="0" cy="2124861"/>
          </a:xfrm>
          <a:prstGeom prst="line">
            <a:avLst/>
          </a:prstGeom>
          <a:ln w="38099">
            <a:solidFill>
              <a:srgbClr val="6094C9"/>
            </a:solidFill>
            <a:headEnd type="arrow"/>
            <a:tailEnd type="arrow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cxnSp>
      <p:cxnSp>
        <p:nvCxnSpPr>
          <p:cNvPr id="47" name="Straight Connector 46"/>
          <p:cNvCxnSpPr/>
          <p:nvPr/>
        </p:nvCxnSpPr>
        <p:spPr>
          <a:xfrm flipH="1">
            <a:off x="4191000" y="4195446"/>
            <a:ext cx="1250093" cy="0"/>
          </a:xfrm>
          <a:prstGeom prst="line">
            <a:avLst/>
          </a:prstGeom>
          <a:ln w="38099">
            <a:solidFill>
              <a:srgbClr val="6094C9"/>
            </a:solidFill>
            <a:headEnd type="arrow"/>
            <a:tailEnd type="arrow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cxnSp>
      <p:sp>
        <p:nvSpPr>
          <p:cNvPr id="48" name="object 5"/>
          <p:cNvSpPr txBox="1"/>
          <p:nvPr/>
        </p:nvSpPr>
        <p:spPr>
          <a:xfrm>
            <a:off x="4404405" y="4398769"/>
            <a:ext cx="776951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lang="en-US" sz="3600" spc="0" baseline="2275" dirty="0" smtClean="0">
                <a:solidFill>
                  <a:srgbClr val="7F7E7E"/>
                </a:solidFill>
                <a:cs typeface="Calibri"/>
              </a:rPr>
              <a:t>∆ </a:t>
            </a:r>
            <a:r>
              <a:rPr lang="en-US" sz="3600" baseline="2275" dirty="0" smtClean="0">
                <a:solidFill>
                  <a:srgbClr val="7F7E7E"/>
                </a:solidFill>
                <a:cs typeface="Calibri"/>
              </a:rPr>
              <a:t>Age</a:t>
            </a:r>
            <a:endParaRPr sz="2400" dirty="0">
              <a:cs typeface="Calibri"/>
            </a:endParaRPr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0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object 5"/>
          <p:cNvSpPr txBox="1"/>
          <p:nvPr/>
        </p:nvSpPr>
        <p:spPr>
          <a:xfrm>
            <a:off x="1041016" y="545066"/>
            <a:ext cx="7874384" cy="489493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 lvl="0">
              <a:lnSpc>
                <a:spcPts val="3400"/>
              </a:lnSpc>
              <a:spcBef>
                <a:spcPts val="170"/>
              </a:spcBef>
            </a:pPr>
            <a:r>
              <a:rPr sz="4800" spc="0" baseline="1706" dirty="0" smtClean="0">
                <a:solidFill>
                  <a:srgbClr val="4E81BC"/>
                </a:solidFill>
                <a:latin typeface="+mj-lt"/>
                <a:cs typeface="Calibri"/>
              </a:rPr>
              <a:t>Euclidean Distance</a:t>
            </a:r>
            <a:r>
              <a:rPr lang="en-US" sz="4800" spc="0" baseline="1706" dirty="0" smtClean="0">
                <a:solidFill>
                  <a:srgbClr val="4E81BC"/>
                </a:solidFill>
                <a:latin typeface="+mj-lt"/>
                <a:cs typeface="Calibri"/>
              </a:rPr>
              <a:t> </a:t>
            </a:r>
            <a:r>
              <a:rPr lang="en-US" sz="4800" baseline="1706" dirty="0">
                <a:solidFill>
                  <a:srgbClr val="7F7E7E"/>
                </a:solidFill>
                <a:latin typeface="+mj-lt"/>
                <a:cs typeface="Calibri"/>
              </a:rPr>
              <a:t>(</a:t>
            </a:r>
            <a:r>
              <a:rPr lang="en-US" sz="4800" baseline="1706" dirty="0" smtClean="0">
                <a:solidFill>
                  <a:srgbClr val="7F7E7E"/>
                </a:solidFill>
                <a:latin typeface="+mj-lt"/>
                <a:cs typeface="Calibri"/>
              </a:rPr>
              <a:t>L2 </a:t>
            </a:r>
            <a:r>
              <a:rPr lang="en-US" sz="4800" baseline="1706" dirty="0" err="1" smtClean="0">
                <a:solidFill>
                  <a:srgbClr val="7F7E7E"/>
                </a:solidFill>
                <a:latin typeface="+mj-lt"/>
                <a:cs typeface="Calibri"/>
              </a:rPr>
              <a:t>dist</a:t>
            </a:r>
            <a:r>
              <a:rPr lang="en-US" sz="4800" baseline="1706" dirty="0" smtClean="0">
                <a:solidFill>
                  <a:srgbClr val="7F7E7E"/>
                </a:solidFill>
                <a:latin typeface="+mj-lt"/>
                <a:cs typeface="Calibri"/>
              </a:rPr>
              <a:t>)</a:t>
            </a:r>
            <a:r>
              <a:rPr lang="en-US" sz="4800" dirty="0" smtClean="0">
                <a:solidFill>
                  <a:srgbClr val="7F7E7E"/>
                </a:solidFill>
                <a:latin typeface="+mj-lt"/>
                <a:cs typeface="Calibri"/>
              </a:rPr>
              <a:t> </a:t>
            </a:r>
            <a:endParaRPr lang="en-US" sz="3200" dirty="0">
              <a:solidFill>
                <a:srgbClr val="7F7E7E"/>
              </a:solidFill>
              <a:latin typeface="+mj-lt"/>
              <a:cs typeface="Calibri"/>
            </a:endParaRPr>
          </a:p>
        </p:txBody>
      </p:sp>
      <p:sp>
        <p:nvSpPr>
          <p:cNvPr id="32" name="object 68"/>
          <p:cNvSpPr/>
          <p:nvPr/>
        </p:nvSpPr>
        <p:spPr>
          <a:xfrm>
            <a:off x="5148028" y="1723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3" name="object 20"/>
          <p:cNvSpPr/>
          <p:nvPr/>
        </p:nvSpPr>
        <p:spPr>
          <a:xfrm>
            <a:off x="3849401" y="4051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4" name="object 6"/>
          <p:cNvSpPr txBox="1"/>
          <p:nvPr/>
        </p:nvSpPr>
        <p:spPr>
          <a:xfrm>
            <a:off x="1332125" y="3759280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sp>
        <p:nvSpPr>
          <p:cNvPr id="35" name="object 5"/>
          <p:cNvSpPr txBox="1"/>
          <p:nvPr/>
        </p:nvSpPr>
        <p:spPr>
          <a:xfrm>
            <a:off x="5426815" y="6116930"/>
            <a:ext cx="542241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Age</a:t>
            </a:r>
            <a:endParaRPr sz="2400">
              <a:cs typeface="Calibri"/>
            </a:endParaRPr>
          </a:p>
        </p:txBody>
      </p:sp>
      <p:grpSp>
        <p:nvGrpSpPr>
          <p:cNvPr id="36" name="Group 35"/>
          <p:cNvGrpSpPr/>
          <p:nvPr/>
        </p:nvGrpSpPr>
        <p:grpSpPr>
          <a:xfrm>
            <a:off x="2383438" y="1888930"/>
            <a:ext cx="6303362" cy="4054670"/>
            <a:chOff x="2343901" y="1923700"/>
            <a:chExt cx="6303362" cy="4054670"/>
          </a:xfrm>
        </p:grpSpPr>
        <p:sp>
          <p:nvSpPr>
            <p:cNvPr id="37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38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  <p:sp>
        <p:nvSpPr>
          <p:cNvPr id="39" name="object 70"/>
          <p:cNvSpPr/>
          <p:nvPr/>
        </p:nvSpPr>
        <p:spPr>
          <a:xfrm>
            <a:off x="4114800" y="2070585"/>
            <a:ext cx="1143000" cy="1980711"/>
          </a:xfrm>
          <a:custGeom>
            <a:avLst/>
            <a:gdLst/>
            <a:ahLst/>
            <a:cxnLst/>
            <a:rect l="l" t="t" r="r" b="b"/>
            <a:pathLst>
              <a:path w="226787" h="185432">
                <a:moveTo>
                  <a:pt x="226787" y="0"/>
                </a:moveTo>
                <a:lnTo>
                  <a:pt x="0" y="185432"/>
                </a:lnTo>
              </a:path>
            </a:pathLst>
          </a:custGeom>
          <a:ln w="38099">
            <a:solidFill>
              <a:srgbClr val="6094C9"/>
            </a:solidFill>
            <a:headEnd type="arrow"/>
            <a:tailEnd type="arrow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0" name="object 5"/>
          <p:cNvSpPr txBox="1"/>
          <p:nvPr/>
        </p:nvSpPr>
        <p:spPr>
          <a:xfrm>
            <a:off x="5573662" y="2967915"/>
            <a:ext cx="1208138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lang="en-US" sz="3600" spc="0" baseline="2275" dirty="0" smtClean="0">
                <a:solidFill>
                  <a:srgbClr val="7F7E7E"/>
                </a:solidFill>
                <a:cs typeface="Calibri"/>
              </a:rPr>
              <a:t>∆ Income</a:t>
            </a:r>
            <a:endParaRPr sz="2400" dirty="0">
              <a:cs typeface="Calibri"/>
            </a:endParaRPr>
          </a:p>
        </p:txBody>
      </p:sp>
      <p:sp>
        <p:nvSpPr>
          <p:cNvPr id="44" name="object 5"/>
          <p:cNvSpPr txBox="1"/>
          <p:nvPr/>
        </p:nvSpPr>
        <p:spPr>
          <a:xfrm>
            <a:off x="4157672" y="2895840"/>
            <a:ext cx="405211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 algn="r">
              <a:lnSpc>
                <a:spcPts val="2600"/>
              </a:lnSpc>
              <a:spcBef>
                <a:spcPts val="130"/>
              </a:spcBef>
            </a:pPr>
            <a:r>
              <a:rPr lang="en-US" sz="3600" spc="0" baseline="2275" dirty="0" smtClean="0">
                <a:solidFill>
                  <a:srgbClr val="7F7E7E"/>
                </a:solidFill>
                <a:cs typeface="Calibri"/>
              </a:rPr>
              <a:t>d</a:t>
            </a:r>
            <a:endParaRPr sz="2400" dirty="0">
              <a:cs typeface="Calibri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3610216" y="5207913"/>
            <a:ext cx="3647345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2800" dirty="0" smtClean="0"/>
              <a:t>d </a:t>
            </a:r>
            <a:r>
              <a:rPr lang="en-US" sz="2800" dirty="0"/>
              <a:t>= (</a:t>
            </a:r>
            <a:r>
              <a:rPr lang="en-US" sz="2800" dirty="0" smtClean="0"/>
              <a:t>∆Age)</a:t>
            </a:r>
            <a:r>
              <a:rPr lang="en-US" sz="2800" baseline="30000" dirty="0" smtClean="0"/>
              <a:t>2</a:t>
            </a:r>
            <a:r>
              <a:rPr lang="en-US" sz="2800" dirty="0" smtClean="0"/>
              <a:t> + </a:t>
            </a:r>
            <a:r>
              <a:rPr lang="en-US" sz="2800" dirty="0"/>
              <a:t>(</a:t>
            </a:r>
            <a:r>
              <a:rPr lang="en-US" sz="2800" dirty="0" smtClean="0"/>
              <a:t>∆Income)</a:t>
            </a:r>
            <a:r>
              <a:rPr lang="en-US" sz="2800" baseline="30000" dirty="0" smtClean="0"/>
              <a:t>2 </a:t>
            </a:r>
            <a:endParaRPr lang="en-US" sz="2800" baseline="30000" dirty="0"/>
          </a:p>
        </p:txBody>
      </p:sp>
      <p:sp>
        <p:nvSpPr>
          <p:cNvPr id="45" name="Freeform 44"/>
          <p:cNvSpPr/>
          <p:nvPr/>
        </p:nvSpPr>
        <p:spPr>
          <a:xfrm>
            <a:off x="3996322" y="5206751"/>
            <a:ext cx="3154680" cy="515869"/>
          </a:xfrm>
          <a:custGeom>
            <a:avLst/>
            <a:gdLst>
              <a:gd name="connsiteX0" fmla="*/ 0 w 3230880"/>
              <a:gd name="connsiteY0" fmla="*/ 403860 h 495300"/>
              <a:gd name="connsiteX1" fmla="*/ 91440 w 3230880"/>
              <a:gd name="connsiteY1" fmla="*/ 495300 h 495300"/>
              <a:gd name="connsiteX2" fmla="*/ 91440 w 3230880"/>
              <a:gd name="connsiteY2" fmla="*/ 0 h 495300"/>
              <a:gd name="connsiteX3" fmla="*/ 3230880 w 3230880"/>
              <a:gd name="connsiteY3" fmla="*/ 0 h 495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30880" h="495300">
                <a:moveTo>
                  <a:pt x="0" y="403860"/>
                </a:moveTo>
                <a:lnTo>
                  <a:pt x="91440" y="495300"/>
                </a:lnTo>
                <a:lnTo>
                  <a:pt x="91440" y="0"/>
                </a:lnTo>
                <a:lnTo>
                  <a:pt x="3230880" y="0"/>
                </a:lnTo>
              </a:path>
            </a:pathLst>
          </a:cu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46" name="Straight Connector 45"/>
          <p:cNvCxnSpPr/>
          <p:nvPr/>
        </p:nvCxnSpPr>
        <p:spPr>
          <a:xfrm>
            <a:off x="5407765" y="2070585"/>
            <a:ext cx="0" cy="2124861"/>
          </a:xfrm>
          <a:prstGeom prst="line">
            <a:avLst/>
          </a:prstGeom>
          <a:ln w="38099">
            <a:solidFill>
              <a:srgbClr val="6094C9"/>
            </a:solidFill>
            <a:headEnd type="arrow"/>
            <a:tailEnd type="arrow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cxnSp>
      <p:cxnSp>
        <p:nvCxnSpPr>
          <p:cNvPr id="47" name="Straight Connector 46"/>
          <p:cNvCxnSpPr/>
          <p:nvPr/>
        </p:nvCxnSpPr>
        <p:spPr>
          <a:xfrm flipH="1">
            <a:off x="4191000" y="4195446"/>
            <a:ext cx="1250093" cy="0"/>
          </a:xfrm>
          <a:prstGeom prst="line">
            <a:avLst/>
          </a:prstGeom>
          <a:ln w="38099">
            <a:solidFill>
              <a:srgbClr val="6094C9"/>
            </a:solidFill>
            <a:headEnd type="arrow"/>
            <a:tailEnd type="arrow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cxnSp>
      <p:sp>
        <p:nvSpPr>
          <p:cNvPr id="48" name="object 5"/>
          <p:cNvSpPr txBox="1"/>
          <p:nvPr/>
        </p:nvSpPr>
        <p:spPr>
          <a:xfrm>
            <a:off x="4404405" y="4398769"/>
            <a:ext cx="776951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lang="en-US" sz="3600" spc="0" baseline="2275" dirty="0" smtClean="0">
                <a:solidFill>
                  <a:srgbClr val="7F7E7E"/>
                </a:solidFill>
                <a:cs typeface="Calibri"/>
              </a:rPr>
              <a:t>∆ </a:t>
            </a:r>
            <a:r>
              <a:rPr lang="en-US" sz="3600" baseline="2275" dirty="0" smtClean="0">
                <a:solidFill>
                  <a:srgbClr val="7F7E7E"/>
                </a:solidFill>
                <a:cs typeface="Calibri"/>
              </a:rPr>
              <a:t>Age</a:t>
            </a:r>
            <a:endParaRPr sz="2400" dirty="0">
              <a:cs typeface="Calibri"/>
            </a:endParaRPr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0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object 5"/>
          <p:cNvSpPr txBox="1"/>
          <p:nvPr/>
        </p:nvSpPr>
        <p:spPr>
          <a:xfrm>
            <a:off x="1041016" y="545066"/>
            <a:ext cx="7874384" cy="489493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 lvl="0">
              <a:lnSpc>
                <a:spcPts val="3400"/>
              </a:lnSpc>
              <a:spcBef>
                <a:spcPts val="170"/>
              </a:spcBef>
            </a:pPr>
            <a:r>
              <a:rPr lang="en-US" sz="4800" spc="0" baseline="1706" dirty="0" smtClean="0">
                <a:solidFill>
                  <a:srgbClr val="4E81BC"/>
                </a:solidFill>
                <a:latin typeface="+mj-lt"/>
                <a:cs typeface="Calibri"/>
              </a:rPr>
              <a:t>Manhattan</a:t>
            </a:r>
            <a:r>
              <a:rPr lang="en-US" sz="4800" spc="0" dirty="0" smtClean="0">
                <a:solidFill>
                  <a:srgbClr val="4E81BC"/>
                </a:solidFill>
                <a:latin typeface="+mj-lt"/>
                <a:cs typeface="Calibri"/>
              </a:rPr>
              <a:t> </a:t>
            </a:r>
            <a:r>
              <a:rPr sz="4800" spc="0" baseline="1706" dirty="0" smtClean="0">
                <a:solidFill>
                  <a:srgbClr val="4E81BC"/>
                </a:solidFill>
                <a:latin typeface="+mj-lt"/>
                <a:cs typeface="Calibri"/>
              </a:rPr>
              <a:t>Distance</a:t>
            </a:r>
            <a:r>
              <a:rPr lang="en-US" sz="4800" spc="0" baseline="1706" dirty="0" smtClean="0">
                <a:solidFill>
                  <a:srgbClr val="4E81BC"/>
                </a:solidFill>
                <a:latin typeface="+mj-lt"/>
                <a:cs typeface="Calibri"/>
              </a:rPr>
              <a:t> </a:t>
            </a:r>
            <a:r>
              <a:rPr lang="en-US" sz="4800" baseline="1706" dirty="0" smtClean="0">
                <a:solidFill>
                  <a:srgbClr val="7F7E7E"/>
                </a:solidFill>
                <a:latin typeface="+mj-lt"/>
                <a:cs typeface="Calibri"/>
              </a:rPr>
              <a:t>(</a:t>
            </a:r>
            <a:r>
              <a:rPr lang="en-US" sz="4800" baseline="1706" dirty="0" err="1">
                <a:solidFill>
                  <a:srgbClr val="7F7E7E"/>
                </a:solidFill>
                <a:latin typeface="+mj-lt"/>
                <a:cs typeface="Calibri"/>
              </a:rPr>
              <a:t>Cityblock</a:t>
            </a:r>
            <a:r>
              <a:rPr lang="en-US" sz="4800" baseline="1706" dirty="0">
                <a:solidFill>
                  <a:srgbClr val="7F7E7E"/>
                </a:solidFill>
                <a:latin typeface="+mj-lt"/>
                <a:cs typeface="Calibri"/>
              </a:rPr>
              <a:t> </a:t>
            </a:r>
            <a:r>
              <a:rPr lang="en-US" sz="4800" baseline="1706" dirty="0" err="1" smtClean="0">
                <a:solidFill>
                  <a:srgbClr val="7F7E7E"/>
                </a:solidFill>
                <a:latin typeface="+mj-lt"/>
                <a:cs typeface="Calibri"/>
              </a:rPr>
              <a:t>dist</a:t>
            </a:r>
            <a:r>
              <a:rPr lang="en-US" sz="4800" baseline="1706" dirty="0" smtClean="0">
                <a:solidFill>
                  <a:srgbClr val="7F7E7E"/>
                </a:solidFill>
                <a:latin typeface="+mj-lt"/>
                <a:cs typeface="Calibri"/>
              </a:rPr>
              <a:t>, L1 </a:t>
            </a:r>
            <a:r>
              <a:rPr lang="en-US" sz="4800" baseline="1706" dirty="0" err="1" smtClean="0">
                <a:solidFill>
                  <a:srgbClr val="7F7E7E"/>
                </a:solidFill>
                <a:latin typeface="+mj-lt"/>
                <a:cs typeface="Calibri"/>
              </a:rPr>
              <a:t>dist</a:t>
            </a:r>
            <a:r>
              <a:rPr lang="en-US" sz="4800" baseline="1706" dirty="0" smtClean="0">
                <a:solidFill>
                  <a:srgbClr val="7F7E7E"/>
                </a:solidFill>
                <a:latin typeface="+mj-lt"/>
                <a:cs typeface="Calibri"/>
              </a:rPr>
              <a:t>)</a:t>
            </a:r>
            <a:r>
              <a:rPr lang="en-US" sz="4800" dirty="0" smtClean="0">
                <a:solidFill>
                  <a:srgbClr val="7F7E7E"/>
                </a:solidFill>
                <a:latin typeface="+mj-lt"/>
                <a:cs typeface="Calibri"/>
              </a:rPr>
              <a:t> </a:t>
            </a:r>
            <a:endParaRPr lang="en-US" sz="3200" dirty="0">
              <a:solidFill>
                <a:srgbClr val="7F7E7E"/>
              </a:solidFill>
              <a:latin typeface="+mj-lt"/>
              <a:cs typeface="Calibri"/>
            </a:endParaRPr>
          </a:p>
        </p:txBody>
      </p:sp>
      <p:sp>
        <p:nvSpPr>
          <p:cNvPr id="30" name="object 68"/>
          <p:cNvSpPr/>
          <p:nvPr/>
        </p:nvSpPr>
        <p:spPr>
          <a:xfrm>
            <a:off x="5148028" y="1723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1" name="object 20"/>
          <p:cNvSpPr/>
          <p:nvPr/>
        </p:nvSpPr>
        <p:spPr>
          <a:xfrm>
            <a:off x="3849401" y="4051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2" name="object 6"/>
          <p:cNvSpPr txBox="1"/>
          <p:nvPr/>
        </p:nvSpPr>
        <p:spPr>
          <a:xfrm>
            <a:off x="1332125" y="3759280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sp>
        <p:nvSpPr>
          <p:cNvPr id="33" name="object 5"/>
          <p:cNvSpPr txBox="1"/>
          <p:nvPr/>
        </p:nvSpPr>
        <p:spPr>
          <a:xfrm>
            <a:off x="5426815" y="6116930"/>
            <a:ext cx="542241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Age</a:t>
            </a:r>
            <a:endParaRPr sz="2400">
              <a:cs typeface="Calibri"/>
            </a:endParaRPr>
          </a:p>
        </p:txBody>
      </p:sp>
      <p:grpSp>
        <p:nvGrpSpPr>
          <p:cNvPr id="34" name="Group 33"/>
          <p:cNvGrpSpPr/>
          <p:nvPr/>
        </p:nvGrpSpPr>
        <p:grpSpPr>
          <a:xfrm>
            <a:off x="2383438" y="1888930"/>
            <a:ext cx="6303362" cy="4054670"/>
            <a:chOff x="2343901" y="1923700"/>
            <a:chExt cx="6303362" cy="4054670"/>
          </a:xfrm>
        </p:grpSpPr>
        <p:sp>
          <p:nvSpPr>
            <p:cNvPr id="35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36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  <p:sp>
        <p:nvSpPr>
          <p:cNvPr id="38" name="object 5"/>
          <p:cNvSpPr txBox="1"/>
          <p:nvPr/>
        </p:nvSpPr>
        <p:spPr>
          <a:xfrm>
            <a:off x="5573662" y="2967915"/>
            <a:ext cx="1208138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lang="en-US" sz="3600" spc="0" baseline="2275" dirty="0" smtClean="0">
                <a:solidFill>
                  <a:srgbClr val="7F7E7E"/>
                </a:solidFill>
                <a:cs typeface="Calibri"/>
              </a:rPr>
              <a:t>∆ Income</a:t>
            </a:r>
            <a:endParaRPr sz="2400" dirty="0">
              <a:cs typeface="Calibri"/>
            </a:endParaRPr>
          </a:p>
        </p:txBody>
      </p:sp>
      <p:cxnSp>
        <p:nvCxnSpPr>
          <p:cNvPr id="39" name="Straight Connector 38"/>
          <p:cNvCxnSpPr/>
          <p:nvPr/>
        </p:nvCxnSpPr>
        <p:spPr>
          <a:xfrm>
            <a:off x="5407765" y="2070585"/>
            <a:ext cx="0" cy="2124861"/>
          </a:xfrm>
          <a:prstGeom prst="line">
            <a:avLst/>
          </a:prstGeom>
          <a:ln w="38099">
            <a:solidFill>
              <a:srgbClr val="6094C9"/>
            </a:solidFill>
            <a:headEnd type="arrow"/>
            <a:tailEnd type="arrow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cxnSp>
      <p:cxnSp>
        <p:nvCxnSpPr>
          <p:cNvPr id="40" name="Straight Connector 39"/>
          <p:cNvCxnSpPr/>
          <p:nvPr/>
        </p:nvCxnSpPr>
        <p:spPr>
          <a:xfrm flipH="1">
            <a:off x="4191000" y="4195446"/>
            <a:ext cx="1250093" cy="0"/>
          </a:xfrm>
          <a:prstGeom prst="line">
            <a:avLst/>
          </a:prstGeom>
          <a:ln w="38099">
            <a:solidFill>
              <a:srgbClr val="6094C9"/>
            </a:solidFill>
            <a:headEnd type="arrow"/>
            <a:tailEnd type="arrow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cxnSp>
      <p:sp>
        <p:nvSpPr>
          <p:cNvPr id="41" name="object 5"/>
          <p:cNvSpPr txBox="1"/>
          <p:nvPr/>
        </p:nvSpPr>
        <p:spPr>
          <a:xfrm>
            <a:off x="4404405" y="4398769"/>
            <a:ext cx="776951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lang="en-US" sz="3600" spc="0" baseline="2275" dirty="0" smtClean="0">
                <a:solidFill>
                  <a:srgbClr val="7F7E7E"/>
                </a:solidFill>
                <a:cs typeface="Calibri"/>
              </a:rPr>
              <a:t>∆ </a:t>
            </a:r>
            <a:r>
              <a:rPr lang="en-US" sz="3600" baseline="2275" dirty="0" smtClean="0">
                <a:solidFill>
                  <a:srgbClr val="7F7E7E"/>
                </a:solidFill>
                <a:cs typeface="Calibri"/>
              </a:rPr>
              <a:t>Age</a:t>
            </a:r>
            <a:endParaRPr sz="2400" dirty="0">
              <a:cs typeface="Calibri"/>
            </a:endParaRPr>
          </a:p>
        </p:txBody>
      </p:sp>
      <p:sp>
        <p:nvSpPr>
          <p:cNvPr id="43" name="TextBox 42"/>
          <p:cNvSpPr txBox="1"/>
          <p:nvPr/>
        </p:nvSpPr>
        <p:spPr>
          <a:xfrm>
            <a:off x="3610216" y="5207913"/>
            <a:ext cx="3578979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2800" dirty="0" smtClean="0"/>
              <a:t>d </a:t>
            </a:r>
            <a:r>
              <a:rPr lang="en-US" sz="2800"/>
              <a:t>= </a:t>
            </a:r>
            <a:r>
              <a:rPr lang="en-US" sz="2800" smtClean="0"/>
              <a:t>|∆Age</a:t>
            </a:r>
            <a:r>
              <a:rPr lang="en-US" sz="2800"/>
              <a:t>|</a:t>
            </a:r>
            <a:r>
              <a:rPr lang="en-US" sz="2800" smtClean="0"/>
              <a:t> </a:t>
            </a:r>
            <a:r>
              <a:rPr lang="en-US" sz="2800" smtClean="0"/>
              <a:t>+ </a:t>
            </a:r>
            <a:r>
              <a:rPr lang="en-US" sz="2800" dirty="0"/>
              <a:t>|</a:t>
            </a:r>
            <a:r>
              <a:rPr lang="en-US" sz="2800" smtClean="0"/>
              <a:t>∆Income</a:t>
            </a:r>
            <a:r>
              <a:rPr lang="en-US" sz="2800"/>
              <a:t>|</a:t>
            </a:r>
            <a:r>
              <a:rPr lang="en-US" sz="2800" baseline="30000" smtClean="0"/>
              <a:t> </a:t>
            </a:r>
            <a:endParaRPr lang="en-US" sz="2800" baseline="30000" dirty="0"/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0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" name="object 5"/>
          <p:cNvSpPr txBox="1"/>
          <p:nvPr/>
        </p:nvSpPr>
        <p:spPr>
          <a:xfrm>
            <a:off x="1041016" y="545066"/>
            <a:ext cx="7874384" cy="436017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 lvl="0">
              <a:lnSpc>
                <a:spcPts val="3400"/>
              </a:lnSpc>
              <a:spcBef>
                <a:spcPts val="170"/>
              </a:spcBef>
            </a:pPr>
            <a:r>
              <a:rPr lang="en-US" sz="4800" spc="0" baseline="1706" dirty="0" smtClean="0">
                <a:solidFill>
                  <a:srgbClr val="4E81BC"/>
                </a:solidFill>
                <a:latin typeface="+mj-lt"/>
                <a:cs typeface="Calibri"/>
              </a:rPr>
              <a:t>Cosine </a:t>
            </a:r>
            <a:r>
              <a:rPr sz="4800" spc="0" baseline="1706" dirty="0" smtClean="0">
                <a:solidFill>
                  <a:srgbClr val="4E81BC"/>
                </a:solidFill>
                <a:latin typeface="+mj-lt"/>
                <a:cs typeface="Calibri"/>
              </a:rPr>
              <a:t>Distance</a:t>
            </a:r>
            <a:r>
              <a:rPr lang="en-US" sz="4800" spc="0" baseline="1706" dirty="0" smtClean="0">
                <a:solidFill>
                  <a:srgbClr val="4E81BC"/>
                </a:solidFill>
                <a:latin typeface="+mj-lt"/>
                <a:cs typeface="Calibri"/>
              </a:rPr>
              <a:t> </a:t>
            </a:r>
            <a:r>
              <a:rPr lang="en-US" sz="4800" baseline="1706" dirty="0" smtClean="0">
                <a:solidFill>
                  <a:srgbClr val="7F7E7E"/>
                </a:solidFill>
                <a:latin typeface="+mj-lt"/>
                <a:cs typeface="Calibri"/>
              </a:rPr>
              <a:t> </a:t>
            </a:r>
            <a:endParaRPr lang="en-US" sz="3200" dirty="0">
              <a:solidFill>
                <a:prstClr val="black"/>
              </a:solidFill>
              <a:latin typeface="+mj-lt"/>
              <a:cs typeface="Calibri"/>
            </a:endParaRPr>
          </a:p>
        </p:txBody>
      </p:sp>
      <p:sp>
        <p:nvSpPr>
          <p:cNvPr id="78" name="object 82"/>
          <p:cNvSpPr/>
          <p:nvPr/>
        </p:nvSpPr>
        <p:spPr>
          <a:xfrm>
            <a:off x="4414372" y="54871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9" name="object 84"/>
          <p:cNvSpPr/>
          <p:nvPr/>
        </p:nvSpPr>
        <p:spPr>
          <a:xfrm>
            <a:off x="5399747" y="55212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0" name="object 86"/>
          <p:cNvSpPr/>
          <p:nvPr/>
        </p:nvSpPr>
        <p:spPr>
          <a:xfrm>
            <a:off x="6251551" y="55023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1" name="object 74"/>
          <p:cNvSpPr/>
          <p:nvPr/>
        </p:nvSpPr>
        <p:spPr>
          <a:xfrm>
            <a:off x="2668469" y="519520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2" name="object 72"/>
          <p:cNvSpPr/>
          <p:nvPr/>
        </p:nvSpPr>
        <p:spPr>
          <a:xfrm>
            <a:off x="5959366" y="251737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40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80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3" name="object 70"/>
          <p:cNvSpPr/>
          <p:nvPr/>
        </p:nvSpPr>
        <p:spPr>
          <a:xfrm>
            <a:off x="5560113" y="213564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4" name="object 68"/>
          <p:cNvSpPr/>
          <p:nvPr/>
        </p:nvSpPr>
        <p:spPr>
          <a:xfrm>
            <a:off x="5148028" y="1723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5" name="object 66"/>
          <p:cNvSpPr/>
          <p:nvPr/>
        </p:nvSpPr>
        <p:spPr>
          <a:xfrm>
            <a:off x="6872003" y="34121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6" name="object 63"/>
          <p:cNvSpPr/>
          <p:nvPr/>
        </p:nvSpPr>
        <p:spPr>
          <a:xfrm>
            <a:off x="5880842" y="502152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6"/>
                </a:lnTo>
                <a:lnTo>
                  <a:pt x="1583" y="198179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6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2"/>
                </a:lnTo>
                <a:lnTo>
                  <a:pt x="49876" y="299561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6"/>
                </a:lnTo>
                <a:lnTo>
                  <a:pt x="196530" y="342926"/>
                </a:lnTo>
                <a:lnTo>
                  <a:pt x="209650" y="339004"/>
                </a:lnTo>
                <a:lnTo>
                  <a:pt x="222295" y="333936"/>
                </a:lnTo>
                <a:lnTo>
                  <a:pt x="234413" y="327778"/>
                </a:lnTo>
                <a:lnTo>
                  <a:pt x="245953" y="320583"/>
                </a:lnTo>
                <a:lnTo>
                  <a:pt x="256864" y="312409"/>
                </a:lnTo>
                <a:lnTo>
                  <a:pt x="267095" y="303311"/>
                </a:lnTo>
                <a:lnTo>
                  <a:pt x="276595" y="293343"/>
                </a:lnTo>
                <a:lnTo>
                  <a:pt x="285312" y="282562"/>
                </a:lnTo>
                <a:lnTo>
                  <a:pt x="293195" y="271023"/>
                </a:lnTo>
                <a:lnTo>
                  <a:pt x="300193" y="258781"/>
                </a:lnTo>
                <a:lnTo>
                  <a:pt x="306255" y="245892"/>
                </a:lnTo>
                <a:lnTo>
                  <a:pt x="311330" y="232411"/>
                </a:lnTo>
                <a:lnTo>
                  <a:pt x="315366" y="218394"/>
                </a:lnTo>
                <a:lnTo>
                  <a:pt x="318312" y="203896"/>
                </a:lnTo>
                <a:lnTo>
                  <a:pt x="320117" y="188973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9" y="93485"/>
                </a:lnTo>
                <a:lnTo>
                  <a:pt x="296006" y="80986"/>
                </a:lnTo>
                <a:lnTo>
                  <a:pt x="288459" y="69169"/>
                </a:lnTo>
                <a:lnTo>
                  <a:pt x="280058" y="58089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4"/>
                </a:lnTo>
                <a:lnTo>
                  <a:pt x="86318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7" name="object 62"/>
          <p:cNvSpPr/>
          <p:nvPr/>
        </p:nvSpPr>
        <p:spPr>
          <a:xfrm>
            <a:off x="4326962" y="34938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8" name="object 60"/>
          <p:cNvSpPr/>
          <p:nvPr/>
        </p:nvSpPr>
        <p:spPr>
          <a:xfrm>
            <a:off x="3451263" y="457102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9" name="object 58"/>
          <p:cNvSpPr/>
          <p:nvPr/>
        </p:nvSpPr>
        <p:spPr>
          <a:xfrm>
            <a:off x="7513462" y="204543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0" name="object 56"/>
          <p:cNvSpPr/>
          <p:nvPr/>
        </p:nvSpPr>
        <p:spPr>
          <a:xfrm>
            <a:off x="6553321" y="196196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1" name="object 54"/>
          <p:cNvSpPr/>
          <p:nvPr/>
        </p:nvSpPr>
        <p:spPr>
          <a:xfrm>
            <a:off x="7353097" y="275391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2" name="object 52"/>
          <p:cNvSpPr/>
          <p:nvPr/>
        </p:nvSpPr>
        <p:spPr>
          <a:xfrm>
            <a:off x="4696124" y="412086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3" name="object 50"/>
          <p:cNvSpPr/>
          <p:nvPr/>
        </p:nvSpPr>
        <p:spPr>
          <a:xfrm>
            <a:off x="4441297" y="46123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4" name="object 48"/>
          <p:cNvSpPr/>
          <p:nvPr/>
        </p:nvSpPr>
        <p:spPr>
          <a:xfrm>
            <a:off x="3130532" y="40499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5" name="object 42"/>
          <p:cNvSpPr/>
          <p:nvPr/>
        </p:nvSpPr>
        <p:spPr>
          <a:xfrm>
            <a:off x="5748103" y="33118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6" name="object 44"/>
          <p:cNvSpPr/>
          <p:nvPr/>
        </p:nvSpPr>
        <p:spPr>
          <a:xfrm>
            <a:off x="5560113" y="25802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7" name="object 46"/>
          <p:cNvSpPr/>
          <p:nvPr/>
        </p:nvSpPr>
        <p:spPr>
          <a:xfrm>
            <a:off x="5421508" y="296447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8" name="object 40"/>
          <p:cNvSpPr/>
          <p:nvPr/>
        </p:nvSpPr>
        <p:spPr>
          <a:xfrm>
            <a:off x="5213120" y="49216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9" name="object 38"/>
          <p:cNvSpPr/>
          <p:nvPr/>
        </p:nvSpPr>
        <p:spPr>
          <a:xfrm>
            <a:off x="7032365" y="221911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0" name="object 36"/>
          <p:cNvSpPr/>
          <p:nvPr/>
        </p:nvSpPr>
        <p:spPr>
          <a:xfrm>
            <a:off x="7385165" y="340218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6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7"/>
                </a:lnTo>
                <a:lnTo>
                  <a:pt x="310251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1" name="object 34"/>
          <p:cNvSpPr/>
          <p:nvPr/>
        </p:nvSpPr>
        <p:spPr>
          <a:xfrm>
            <a:off x="5038354" y="24830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2" name="object 32"/>
          <p:cNvSpPr/>
          <p:nvPr/>
        </p:nvSpPr>
        <p:spPr>
          <a:xfrm>
            <a:off x="7192732" y="159327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3" name="object 30"/>
          <p:cNvSpPr/>
          <p:nvPr/>
        </p:nvSpPr>
        <p:spPr>
          <a:xfrm>
            <a:off x="6201572" y="316997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4" name="object 28"/>
          <p:cNvSpPr/>
          <p:nvPr/>
        </p:nvSpPr>
        <p:spPr>
          <a:xfrm>
            <a:off x="4877989" y="532865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5" name="object 26"/>
          <p:cNvSpPr/>
          <p:nvPr/>
        </p:nvSpPr>
        <p:spPr>
          <a:xfrm>
            <a:off x="5581873" y="4521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6" name="object 24"/>
          <p:cNvSpPr/>
          <p:nvPr/>
        </p:nvSpPr>
        <p:spPr>
          <a:xfrm>
            <a:off x="3528670" y="35173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7" name="object 22"/>
          <p:cNvSpPr/>
          <p:nvPr/>
        </p:nvSpPr>
        <p:spPr>
          <a:xfrm>
            <a:off x="3252845" y="520650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8" name="object 20"/>
          <p:cNvSpPr/>
          <p:nvPr/>
        </p:nvSpPr>
        <p:spPr>
          <a:xfrm>
            <a:off x="3849401" y="4051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9" name="object 18"/>
          <p:cNvSpPr/>
          <p:nvPr/>
        </p:nvSpPr>
        <p:spPr>
          <a:xfrm>
            <a:off x="6713687" y="269105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0" name="object 6"/>
          <p:cNvSpPr txBox="1"/>
          <p:nvPr/>
        </p:nvSpPr>
        <p:spPr>
          <a:xfrm>
            <a:off x="1332125" y="3759280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sp>
        <p:nvSpPr>
          <p:cNvPr id="111" name="object 5"/>
          <p:cNvSpPr txBox="1"/>
          <p:nvPr/>
        </p:nvSpPr>
        <p:spPr>
          <a:xfrm>
            <a:off x="5426815" y="6116930"/>
            <a:ext cx="542241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Age</a:t>
            </a:r>
            <a:endParaRPr sz="2400">
              <a:cs typeface="Calibri"/>
            </a:endParaRPr>
          </a:p>
        </p:txBody>
      </p:sp>
      <p:grpSp>
        <p:nvGrpSpPr>
          <p:cNvPr id="112" name="Group 111"/>
          <p:cNvGrpSpPr/>
          <p:nvPr/>
        </p:nvGrpSpPr>
        <p:grpSpPr>
          <a:xfrm>
            <a:off x="2383438" y="1888930"/>
            <a:ext cx="6303362" cy="4054670"/>
            <a:chOff x="2343901" y="1923700"/>
            <a:chExt cx="6303362" cy="4054670"/>
          </a:xfrm>
        </p:grpSpPr>
        <p:sp>
          <p:nvSpPr>
            <p:cNvPr id="113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114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0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" name="object 5"/>
          <p:cNvSpPr txBox="1"/>
          <p:nvPr/>
        </p:nvSpPr>
        <p:spPr>
          <a:xfrm>
            <a:off x="1041016" y="545066"/>
            <a:ext cx="7874384" cy="436017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 lvl="0">
              <a:lnSpc>
                <a:spcPts val="3400"/>
              </a:lnSpc>
              <a:spcBef>
                <a:spcPts val="170"/>
              </a:spcBef>
            </a:pPr>
            <a:r>
              <a:rPr lang="en-US" sz="4800" spc="0" baseline="1706" dirty="0" smtClean="0">
                <a:solidFill>
                  <a:srgbClr val="4E81BC"/>
                </a:solidFill>
                <a:latin typeface="+mj-lt"/>
                <a:cs typeface="Calibri"/>
              </a:rPr>
              <a:t>Cosine </a:t>
            </a:r>
            <a:r>
              <a:rPr sz="4800" spc="0" baseline="1706" dirty="0" smtClean="0">
                <a:solidFill>
                  <a:srgbClr val="4E81BC"/>
                </a:solidFill>
                <a:latin typeface="+mj-lt"/>
                <a:cs typeface="Calibri"/>
              </a:rPr>
              <a:t>Distance</a:t>
            </a:r>
            <a:r>
              <a:rPr lang="en-US" sz="4800" spc="0" baseline="1706" dirty="0" smtClean="0">
                <a:solidFill>
                  <a:srgbClr val="4E81BC"/>
                </a:solidFill>
                <a:latin typeface="+mj-lt"/>
                <a:cs typeface="Calibri"/>
              </a:rPr>
              <a:t> </a:t>
            </a:r>
            <a:r>
              <a:rPr lang="en-US" sz="4800" baseline="1706" dirty="0" smtClean="0">
                <a:solidFill>
                  <a:srgbClr val="7F7E7E"/>
                </a:solidFill>
                <a:latin typeface="+mj-lt"/>
                <a:cs typeface="Calibri"/>
              </a:rPr>
              <a:t> </a:t>
            </a:r>
            <a:endParaRPr lang="en-US" sz="3200" dirty="0">
              <a:solidFill>
                <a:prstClr val="black"/>
              </a:solidFill>
              <a:latin typeface="+mj-lt"/>
              <a:cs typeface="Calibri"/>
            </a:endParaRPr>
          </a:p>
        </p:txBody>
      </p:sp>
      <p:sp>
        <p:nvSpPr>
          <p:cNvPr id="78" name="object 82"/>
          <p:cNvSpPr/>
          <p:nvPr/>
        </p:nvSpPr>
        <p:spPr>
          <a:xfrm>
            <a:off x="4414372" y="54871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9" name="object 84"/>
          <p:cNvSpPr/>
          <p:nvPr/>
        </p:nvSpPr>
        <p:spPr>
          <a:xfrm>
            <a:off x="5399747" y="55212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0" name="object 86"/>
          <p:cNvSpPr/>
          <p:nvPr/>
        </p:nvSpPr>
        <p:spPr>
          <a:xfrm>
            <a:off x="6251551" y="55023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1" name="object 74"/>
          <p:cNvSpPr/>
          <p:nvPr/>
        </p:nvSpPr>
        <p:spPr>
          <a:xfrm>
            <a:off x="2668469" y="519520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2" name="object 72"/>
          <p:cNvSpPr/>
          <p:nvPr/>
        </p:nvSpPr>
        <p:spPr>
          <a:xfrm>
            <a:off x="5959366" y="251737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40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80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3" name="object 70"/>
          <p:cNvSpPr/>
          <p:nvPr/>
        </p:nvSpPr>
        <p:spPr>
          <a:xfrm>
            <a:off x="5560113" y="213564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4" name="object 68"/>
          <p:cNvSpPr/>
          <p:nvPr/>
        </p:nvSpPr>
        <p:spPr>
          <a:xfrm>
            <a:off x="5148028" y="1723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5" name="object 66"/>
          <p:cNvSpPr/>
          <p:nvPr/>
        </p:nvSpPr>
        <p:spPr>
          <a:xfrm>
            <a:off x="6872003" y="34121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6" name="object 63"/>
          <p:cNvSpPr/>
          <p:nvPr/>
        </p:nvSpPr>
        <p:spPr>
          <a:xfrm>
            <a:off x="5880842" y="502152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6"/>
                </a:lnTo>
                <a:lnTo>
                  <a:pt x="1583" y="198179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6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2"/>
                </a:lnTo>
                <a:lnTo>
                  <a:pt x="49876" y="299561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6"/>
                </a:lnTo>
                <a:lnTo>
                  <a:pt x="196530" y="342926"/>
                </a:lnTo>
                <a:lnTo>
                  <a:pt x="209650" y="339004"/>
                </a:lnTo>
                <a:lnTo>
                  <a:pt x="222295" y="333936"/>
                </a:lnTo>
                <a:lnTo>
                  <a:pt x="234413" y="327778"/>
                </a:lnTo>
                <a:lnTo>
                  <a:pt x="245953" y="320583"/>
                </a:lnTo>
                <a:lnTo>
                  <a:pt x="256864" y="312409"/>
                </a:lnTo>
                <a:lnTo>
                  <a:pt x="267095" y="303311"/>
                </a:lnTo>
                <a:lnTo>
                  <a:pt x="276595" y="293343"/>
                </a:lnTo>
                <a:lnTo>
                  <a:pt x="285312" y="282562"/>
                </a:lnTo>
                <a:lnTo>
                  <a:pt x="293195" y="271023"/>
                </a:lnTo>
                <a:lnTo>
                  <a:pt x="300193" y="258781"/>
                </a:lnTo>
                <a:lnTo>
                  <a:pt x="306255" y="245892"/>
                </a:lnTo>
                <a:lnTo>
                  <a:pt x="311330" y="232411"/>
                </a:lnTo>
                <a:lnTo>
                  <a:pt x="315366" y="218394"/>
                </a:lnTo>
                <a:lnTo>
                  <a:pt x="318312" y="203896"/>
                </a:lnTo>
                <a:lnTo>
                  <a:pt x="320117" y="188973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9" y="93485"/>
                </a:lnTo>
                <a:lnTo>
                  <a:pt x="296006" y="80986"/>
                </a:lnTo>
                <a:lnTo>
                  <a:pt x="288459" y="69169"/>
                </a:lnTo>
                <a:lnTo>
                  <a:pt x="280058" y="58089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4"/>
                </a:lnTo>
                <a:lnTo>
                  <a:pt x="86318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7" name="object 62"/>
          <p:cNvSpPr/>
          <p:nvPr/>
        </p:nvSpPr>
        <p:spPr>
          <a:xfrm>
            <a:off x="4326962" y="34938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8" name="object 60"/>
          <p:cNvSpPr/>
          <p:nvPr/>
        </p:nvSpPr>
        <p:spPr>
          <a:xfrm>
            <a:off x="3451263" y="457102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9" name="object 58"/>
          <p:cNvSpPr/>
          <p:nvPr/>
        </p:nvSpPr>
        <p:spPr>
          <a:xfrm>
            <a:off x="7513462" y="204543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0" name="object 56"/>
          <p:cNvSpPr/>
          <p:nvPr/>
        </p:nvSpPr>
        <p:spPr>
          <a:xfrm>
            <a:off x="6553321" y="196196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1" name="object 54"/>
          <p:cNvSpPr/>
          <p:nvPr/>
        </p:nvSpPr>
        <p:spPr>
          <a:xfrm>
            <a:off x="7353097" y="275391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2" name="object 52"/>
          <p:cNvSpPr/>
          <p:nvPr/>
        </p:nvSpPr>
        <p:spPr>
          <a:xfrm>
            <a:off x="4696124" y="412086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3" name="object 50"/>
          <p:cNvSpPr/>
          <p:nvPr/>
        </p:nvSpPr>
        <p:spPr>
          <a:xfrm>
            <a:off x="4441297" y="46123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4" name="object 48"/>
          <p:cNvSpPr/>
          <p:nvPr/>
        </p:nvSpPr>
        <p:spPr>
          <a:xfrm>
            <a:off x="3130532" y="40499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5" name="object 42"/>
          <p:cNvSpPr/>
          <p:nvPr/>
        </p:nvSpPr>
        <p:spPr>
          <a:xfrm>
            <a:off x="5748103" y="33118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6" name="object 44"/>
          <p:cNvSpPr/>
          <p:nvPr/>
        </p:nvSpPr>
        <p:spPr>
          <a:xfrm>
            <a:off x="5560113" y="25802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7" name="object 46"/>
          <p:cNvSpPr/>
          <p:nvPr/>
        </p:nvSpPr>
        <p:spPr>
          <a:xfrm>
            <a:off x="5421508" y="296447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8" name="object 40"/>
          <p:cNvSpPr/>
          <p:nvPr/>
        </p:nvSpPr>
        <p:spPr>
          <a:xfrm>
            <a:off x="5213120" y="49216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9" name="object 38"/>
          <p:cNvSpPr/>
          <p:nvPr/>
        </p:nvSpPr>
        <p:spPr>
          <a:xfrm>
            <a:off x="7032365" y="221911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0" name="object 36"/>
          <p:cNvSpPr/>
          <p:nvPr/>
        </p:nvSpPr>
        <p:spPr>
          <a:xfrm>
            <a:off x="7385165" y="340218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6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7"/>
                </a:lnTo>
                <a:lnTo>
                  <a:pt x="310251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1" name="object 34"/>
          <p:cNvSpPr/>
          <p:nvPr/>
        </p:nvSpPr>
        <p:spPr>
          <a:xfrm>
            <a:off x="5038354" y="24830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2" name="object 32"/>
          <p:cNvSpPr/>
          <p:nvPr/>
        </p:nvSpPr>
        <p:spPr>
          <a:xfrm>
            <a:off x="7192732" y="159327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3" name="object 30"/>
          <p:cNvSpPr/>
          <p:nvPr/>
        </p:nvSpPr>
        <p:spPr>
          <a:xfrm>
            <a:off x="6201572" y="316997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4" name="object 28"/>
          <p:cNvSpPr/>
          <p:nvPr/>
        </p:nvSpPr>
        <p:spPr>
          <a:xfrm>
            <a:off x="4877989" y="532865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5" name="object 26"/>
          <p:cNvSpPr/>
          <p:nvPr/>
        </p:nvSpPr>
        <p:spPr>
          <a:xfrm>
            <a:off x="5581873" y="4521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6" name="object 24"/>
          <p:cNvSpPr/>
          <p:nvPr/>
        </p:nvSpPr>
        <p:spPr>
          <a:xfrm>
            <a:off x="3528670" y="35173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7" name="object 22"/>
          <p:cNvSpPr/>
          <p:nvPr/>
        </p:nvSpPr>
        <p:spPr>
          <a:xfrm>
            <a:off x="3252845" y="520650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8" name="object 20"/>
          <p:cNvSpPr/>
          <p:nvPr/>
        </p:nvSpPr>
        <p:spPr>
          <a:xfrm>
            <a:off x="3849401" y="4051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9" name="object 18"/>
          <p:cNvSpPr/>
          <p:nvPr/>
        </p:nvSpPr>
        <p:spPr>
          <a:xfrm>
            <a:off x="6713687" y="269105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0" name="object 6"/>
          <p:cNvSpPr txBox="1"/>
          <p:nvPr/>
        </p:nvSpPr>
        <p:spPr>
          <a:xfrm>
            <a:off x="1332125" y="3759280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sp>
        <p:nvSpPr>
          <p:cNvPr id="111" name="object 5"/>
          <p:cNvSpPr txBox="1"/>
          <p:nvPr/>
        </p:nvSpPr>
        <p:spPr>
          <a:xfrm>
            <a:off x="5426815" y="6116930"/>
            <a:ext cx="542241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Age</a:t>
            </a:r>
            <a:endParaRPr sz="2400">
              <a:cs typeface="Calibri"/>
            </a:endParaRPr>
          </a:p>
        </p:txBody>
      </p:sp>
      <p:grpSp>
        <p:nvGrpSpPr>
          <p:cNvPr id="112" name="Group 111"/>
          <p:cNvGrpSpPr/>
          <p:nvPr/>
        </p:nvGrpSpPr>
        <p:grpSpPr>
          <a:xfrm>
            <a:off x="2383438" y="1888930"/>
            <a:ext cx="6303362" cy="4054670"/>
            <a:chOff x="2343901" y="1923700"/>
            <a:chExt cx="6303362" cy="4054670"/>
          </a:xfrm>
        </p:grpSpPr>
        <p:sp>
          <p:nvSpPr>
            <p:cNvPr id="113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114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0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object 5"/>
          <p:cNvSpPr txBox="1"/>
          <p:nvPr/>
        </p:nvSpPr>
        <p:spPr>
          <a:xfrm>
            <a:off x="1041016" y="545066"/>
            <a:ext cx="7874384" cy="436017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 lvl="0">
              <a:lnSpc>
                <a:spcPts val="3400"/>
              </a:lnSpc>
              <a:spcBef>
                <a:spcPts val="170"/>
              </a:spcBef>
            </a:pPr>
            <a:r>
              <a:rPr lang="en-US" sz="4800" spc="0" baseline="1706" dirty="0" smtClean="0">
                <a:solidFill>
                  <a:srgbClr val="4E81BC"/>
                </a:solidFill>
                <a:latin typeface="+mj-lt"/>
                <a:cs typeface="Calibri"/>
              </a:rPr>
              <a:t>Cosine </a:t>
            </a:r>
            <a:r>
              <a:rPr sz="4800" spc="0" baseline="1706" dirty="0" smtClean="0">
                <a:solidFill>
                  <a:srgbClr val="4E81BC"/>
                </a:solidFill>
                <a:latin typeface="+mj-lt"/>
                <a:cs typeface="Calibri"/>
              </a:rPr>
              <a:t>Distance</a:t>
            </a:r>
            <a:r>
              <a:rPr lang="en-US" sz="4800" spc="0" baseline="1706" dirty="0" smtClean="0">
                <a:solidFill>
                  <a:srgbClr val="4E81BC"/>
                </a:solidFill>
                <a:latin typeface="+mj-lt"/>
                <a:cs typeface="Calibri"/>
              </a:rPr>
              <a:t> </a:t>
            </a:r>
            <a:r>
              <a:rPr lang="en-US" sz="4800" baseline="1706" dirty="0" smtClean="0">
                <a:solidFill>
                  <a:srgbClr val="7F7E7E"/>
                </a:solidFill>
                <a:latin typeface="+mj-lt"/>
                <a:cs typeface="Calibri"/>
              </a:rPr>
              <a:t> </a:t>
            </a:r>
            <a:endParaRPr lang="en-US" sz="3200" dirty="0">
              <a:solidFill>
                <a:prstClr val="black"/>
              </a:solidFill>
              <a:latin typeface="+mj-lt"/>
              <a:cs typeface="Calibri"/>
            </a:endParaRPr>
          </a:p>
        </p:txBody>
      </p:sp>
      <p:sp>
        <p:nvSpPr>
          <p:cNvPr id="39" name="object 38"/>
          <p:cNvSpPr/>
          <p:nvPr/>
        </p:nvSpPr>
        <p:spPr>
          <a:xfrm>
            <a:off x="7032365" y="221911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8" name="object 20"/>
          <p:cNvSpPr/>
          <p:nvPr/>
        </p:nvSpPr>
        <p:spPr>
          <a:xfrm>
            <a:off x="3849401" y="4051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0" name="object 6"/>
          <p:cNvSpPr txBox="1"/>
          <p:nvPr/>
        </p:nvSpPr>
        <p:spPr>
          <a:xfrm>
            <a:off x="1332125" y="3759280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sp>
        <p:nvSpPr>
          <p:cNvPr id="51" name="object 5"/>
          <p:cNvSpPr txBox="1"/>
          <p:nvPr/>
        </p:nvSpPr>
        <p:spPr>
          <a:xfrm>
            <a:off x="5426815" y="6116930"/>
            <a:ext cx="542241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Age</a:t>
            </a:r>
            <a:endParaRPr sz="2400">
              <a:cs typeface="Calibri"/>
            </a:endParaRPr>
          </a:p>
        </p:txBody>
      </p:sp>
      <p:grpSp>
        <p:nvGrpSpPr>
          <p:cNvPr id="52" name="Group 51"/>
          <p:cNvGrpSpPr/>
          <p:nvPr/>
        </p:nvGrpSpPr>
        <p:grpSpPr>
          <a:xfrm>
            <a:off x="2383438" y="1888930"/>
            <a:ext cx="6303362" cy="4054670"/>
            <a:chOff x="2343901" y="1923700"/>
            <a:chExt cx="6303362" cy="4054670"/>
          </a:xfrm>
        </p:grpSpPr>
        <p:sp>
          <p:nvSpPr>
            <p:cNvPr id="53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54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0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object 19"/>
          <p:cNvSpPr/>
          <p:nvPr/>
        </p:nvSpPr>
        <p:spPr>
          <a:xfrm>
            <a:off x="2402392" y="4366261"/>
            <a:ext cx="1476702" cy="1577339"/>
          </a:xfrm>
          <a:custGeom>
            <a:avLst/>
            <a:gdLst/>
            <a:ahLst/>
            <a:cxnLst/>
            <a:rect l="l" t="t" r="r" b="b"/>
            <a:pathLst>
              <a:path w="1535193" h="1612109">
                <a:moveTo>
                  <a:pt x="0" y="1612109"/>
                </a:moveTo>
                <a:lnTo>
                  <a:pt x="1535193" y="0"/>
                </a:lnTo>
              </a:path>
            </a:pathLst>
          </a:custGeom>
          <a:ln w="25399">
            <a:solidFill>
              <a:srgbClr val="000000"/>
            </a:solidFill>
            <a:tailEnd type="arrow"/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4" name="object 24"/>
          <p:cNvSpPr/>
          <p:nvPr/>
        </p:nvSpPr>
        <p:spPr>
          <a:xfrm>
            <a:off x="2402393" y="2530120"/>
            <a:ext cx="4656674" cy="3413480"/>
          </a:xfrm>
          <a:custGeom>
            <a:avLst/>
            <a:gdLst/>
            <a:ahLst/>
            <a:cxnLst/>
            <a:rect l="l" t="t" r="r" b="b"/>
            <a:pathLst>
              <a:path w="4715166" h="3448252">
                <a:moveTo>
                  <a:pt x="0" y="3448252"/>
                </a:moveTo>
                <a:lnTo>
                  <a:pt x="4715166" y="0"/>
                </a:lnTo>
              </a:path>
            </a:pathLst>
          </a:custGeom>
          <a:ln w="25399">
            <a:solidFill>
              <a:srgbClr val="000000"/>
            </a:solidFill>
            <a:tailEnd type="arrow"/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8" name="object 5"/>
          <p:cNvSpPr txBox="1"/>
          <p:nvPr/>
        </p:nvSpPr>
        <p:spPr>
          <a:xfrm>
            <a:off x="1041016" y="545066"/>
            <a:ext cx="7874384" cy="436017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 lvl="0">
              <a:lnSpc>
                <a:spcPts val="3400"/>
              </a:lnSpc>
              <a:spcBef>
                <a:spcPts val="170"/>
              </a:spcBef>
            </a:pPr>
            <a:r>
              <a:rPr lang="en-US" sz="4800" spc="0" baseline="1706" dirty="0" smtClean="0">
                <a:solidFill>
                  <a:srgbClr val="4E81BC"/>
                </a:solidFill>
                <a:latin typeface="+mj-lt"/>
                <a:cs typeface="Calibri"/>
              </a:rPr>
              <a:t>Cosine </a:t>
            </a:r>
            <a:r>
              <a:rPr sz="4800" spc="0" baseline="1706" dirty="0" smtClean="0">
                <a:solidFill>
                  <a:srgbClr val="4E81BC"/>
                </a:solidFill>
                <a:latin typeface="+mj-lt"/>
                <a:cs typeface="Calibri"/>
              </a:rPr>
              <a:t>Distance</a:t>
            </a:r>
            <a:r>
              <a:rPr lang="en-US" sz="4800" spc="0" baseline="1706" dirty="0" smtClean="0">
                <a:solidFill>
                  <a:srgbClr val="4E81BC"/>
                </a:solidFill>
                <a:latin typeface="+mj-lt"/>
                <a:cs typeface="Calibri"/>
              </a:rPr>
              <a:t> </a:t>
            </a:r>
            <a:r>
              <a:rPr lang="en-US" sz="4800" baseline="1706" dirty="0" smtClean="0">
                <a:solidFill>
                  <a:srgbClr val="7F7E7E"/>
                </a:solidFill>
                <a:latin typeface="+mj-lt"/>
                <a:cs typeface="Calibri"/>
              </a:rPr>
              <a:t> </a:t>
            </a:r>
            <a:endParaRPr lang="en-US" sz="3200" dirty="0">
              <a:solidFill>
                <a:prstClr val="black"/>
              </a:solidFill>
              <a:latin typeface="+mj-lt"/>
              <a:cs typeface="Calibri"/>
            </a:endParaRPr>
          </a:p>
        </p:txBody>
      </p:sp>
      <p:sp>
        <p:nvSpPr>
          <p:cNvPr id="29" name="object 38"/>
          <p:cNvSpPr/>
          <p:nvPr/>
        </p:nvSpPr>
        <p:spPr>
          <a:xfrm>
            <a:off x="7032365" y="221911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0" name="object 20"/>
          <p:cNvSpPr/>
          <p:nvPr/>
        </p:nvSpPr>
        <p:spPr>
          <a:xfrm>
            <a:off x="3849401" y="4051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1" name="object 6"/>
          <p:cNvSpPr txBox="1"/>
          <p:nvPr/>
        </p:nvSpPr>
        <p:spPr>
          <a:xfrm>
            <a:off x="1332125" y="3759280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sp>
        <p:nvSpPr>
          <p:cNvPr id="32" name="object 5"/>
          <p:cNvSpPr txBox="1"/>
          <p:nvPr/>
        </p:nvSpPr>
        <p:spPr>
          <a:xfrm>
            <a:off x="5426815" y="6116930"/>
            <a:ext cx="542241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Age</a:t>
            </a:r>
            <a:endParaRPr sz="2400">
              <a:cs typeface="Calibri"/>
            </a:endParaRPr>
          </a:p>
        </p:txBody>
      </p:sp>
      <p:grpSp>
        <p:nvGrpSpPr>
          <p:cNvPr id="33" name="Group 32"/>
          <p:cNvGrpSpPr/>
          <p:nvPr/>
        </p:nvGrpSpPr>
        <p:grpSpPr>
          <a:xfrm>
            <a:off x="2383438" y="1888930"/>
            <a:ext cx="6303362" cy="4054670"/>
            <a:chOff x="2343901" y="1923700"/>
            <a:chExt cx="6303362" cy="4054670"/>
          </a:xfrm>
        </p:grpSpPr>
        <p:sp>
          <p:nvSpPr>
            <p:cNvPr id="34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35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  <p:sp>
        <p:nvSpPr>
          <p:cNvPr id="36" name="Freeform 35"/>
          <p:cNvSpPr/>
          <p:nvPr/>
        </p:nvSpPr>
        <p:spPr>
          <a:xfrm>
            <a:off x="2493168" y="4743451"/>
            <a:ext cx="1259681" cy="1121569"/>
          </a:xfrm>
          <a:custGeom>
            <a:avLst/>
            <a:gdLst>
              <a:gd name="connsiteX0" fmla="*/ 0 w 1276350"/>
              <a:gd name="connsiteY0" fmla="*/ 1104900 h 1104900"/>
              <a:gd name="connsiteX1" fmla="*/ 1081088 w 1276350"/>
              <a:gd name="connsiteY1" fmla="*/ 0 h 1104900"/>
              <a:gd name="connsiteX2" fmla="*/ 1276350 w 1276350"/>
              <a:gd name="connsiteY2" fmla="*/ 195262 h 1104900"/>
              <a:gd name="connsiteX3" fmla="*/ 0 w 1276350"/>
              <a:gd name="connsiteY3" fmla="*/ 1104900 h 1104900"/>
              <a:gd name="connsiteX0" fmla="*/ 0 w 1245394"/>
              <a:gd name="connsiteY0" fmla="*/ 1116807 h 1116807"/>
              <a:gd name="connsiteX1" fmla="*/ 1050132 w 1245394"/>
              <a:gd name="connsiteY1" fmla="*/ 0 h 1116807"/>
              <a:gd name="connsiteX2" fmla="*/ 1245394 w 1245394"/>
              <a:gd name="connsiteY2" fmla="*/ 195262 h 1116807"/>
              <a:gd name="connsiteX3" fmla="*/ 0 w 1245394"/>
              <a:gd name="connsiteY3" fmla="*/ 1116807 h 1116807"/>
              <a:gd name="connsiteX0" fmla="*/ 0 w 1245394"/>
              <a:gd name="connsiteY0" fmla="*/ 1116807 h 1116807"/>
              <a:gd name="connsiteX1" fmla="*/ 1050132 w 1245394"/>
              <a:gd name="connsiteY1" fmla="*/ 0 h 1116807"/>
              <a:gd name="connsiteX2" fmla="*/ 1245394 w 1245394"/>
              <a:gd name="connsiteY2" fmla="*/ 195262 h 1116807"/>
              <a:gd name="connsiteX3" fmla="*/ 0 w 1245394"/>
              <a:gd name="connsiteY3" fmla="*/ 1116807 h 1116807"/>
              <a:gd name="connsiteX0" fmla="*/ 0 w 1245394"/>
              <a:gd name="connsiteY0" fmla="*/ 1121569 h 1121569"/>
              <a:gd name="connsiteX1" fmla="*/ 1031082 w 1245394"/>
              <a:gd name="connsiteY1" fmla="*/ 0 h 1121569"/>
              <a:gd name="connsiteX2" fmla="*/ 1245394 w 1245394"/>
              <a:gd name="connsiteY2" fmla="*/ 200024 h 1121569"/>
              <a:gd name="connsiteX3" fmla="*/ 0 w 1245394"/>
              <a:gd name="connsiteY3" fmla="*/ 1121569 h 1121569"/>
              <a:gd name="connsiteX0" fmla="*/ 0 w 1259681"/>
              <a:gd name="connsiteY0" fmla="*/ 1121569 h 1121569"/>
              <a:gd name="connsiteX1" fmla="*/ 1045369 w 1259681"/>
              <a:gd name="connsiteY1" fmla="*/ 0 h 1121569"/>
              <a:gd name="connsiteX2" fmla="*/ 1259681 w 1259681"/>
              <a:gd name="connsiteY2" fmla="*/ 200024 h 1121569"/>
              <a:gd name="connsiteX3" fmla="*/ 0 w 1259681"/>
              <a:gd name="connsiteY3" fmla="*/ 1121569 h 11215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59681" h="1121569">
                <a:moveTo>
                  <a:pt x="0" y="1121569"/>
                </a:moveTo>
                <a:cubicBezTo>
                  <a:pt x="333375" y="739775"/>
                  <a:pt x="695325" y="372269"/>
                  <a:pt x="1045369" y="0"/>
                </a:cubicBezTo>
                <a:lnTo>
                  <a:pt x="1259681" y="200024"/>
                </a:lnTo>
                <a:lnTo>
                  <a:pt x="0" y="1121569"/>
                </a:lnTo>
                <a:close/>
              </a:path>
            </a:pathLst>
          </a:custGeom>
          <a:solidFill>
            <a:schemeClr val="tx2">
              <a:lumMod val="40000"/>
              <a:lumOff val="60000"/>
            </a:schemeClr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0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object 5"/>
          <p:cNvSpPr txBox="1"/>
          <p:nvPr/>
        </p:nvSpPr>
        <p:spPr>
          <a:xfrm>
            <a:off x="1041016" y="545066"/>
            <a:ext cx="7874384" cy="436017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 lvl="0">
              <a:lnSpc>
                <a:spcPts val="3400"/>
              </a:lnSpc>
              <a:spcBef>
                <a:spcPts val="170"/>
              </a:spcBef>
            </a:pPr>
            <a:r>
              <a:rPr lang="en-US" sz="4800" spc="0" baseline="1706" dirty="0" smtClean="0">
                <a:solidFill>
                  <a:srgbClr val="4E81BC"/>
                </a:solidFill>
                <a:latin typeface="+mj-lt"/>
                <a:cs typeface="Calibri"/>
              </a:rPr>
              <a:t>Cosine </a:t>
            </a:r>
            <a:r>
              <a:rPr sz="4800" spc="0" baseline="1706" dirty="0" smtClean="0">
                <a:solidFill>
                  <a:srgbClr val="4E81BC"/>
                </a:solidFill>
                <a:latin typeface="+mj-lt"/>
                <a:cs typeface="Calibri"/>
              </a:rPr>
              <a:t>Distance</a:t>
            </a:r>
            <a:r>
              <a:rPr lang="en-US" sz="4800" spc="0" baseline="1706" dirty="0" smtClean="0">
                <a:solidFill>
                  <a:srgbClr val="4E81BC"/>
                </a:solidFill>
                <a:latin typeface="+mj-lt"/>
                <a:cs typeface="Calibri"/>
              </a:rPr>
              <a:t> </a:t>
            </a:r>
            <a:r>
              <a:rPr lang="en-US" sz="4800" baseline="1706" dirty="0" smtClean="0">
                <a:solidFill>
                  <a:srgbClr val="7F7E7E"/>
                </a:solidFill>
                <a:latin typeface="+mj-lt"/>
                <a:cs typeface="Calibri"/>
              </a:rPr>
              <a:t> </a:t>
            </a:r>
            <a:endParaRPr lang="en-US" sz="3200" dirty="0">
              <a:solidFill>
                <a:prstClr val="black"/>
              </a:solidFill>
              <a:latin typeface="+mj-lt"/>
              <a:cs typeface="Calibri"/>
            </a:endParaRPr>
          </a:p>
        </p:txBody>
      </p:sp>
      <p:sp>
        <p:nvSpPr>
          <p:cNvPr id="29" name="object 19"/>
          <p:cNvSpPr/>
          <p:nvPr/>
        </p:nvSpPr>
        <p:spPr>
          <a:xfrm>
            <a:off x="2402392" y="4366261"/>
            <a:ext cx="1476702" cy="1577339"/>
          </a:xfrm>
          <a:custGeom>
            <a:avLst/>
            <a:gdLst/>
            <a:ahLst/>
            <a:cxnLst/>
            <a:rect l="l" t="t" r="r" b="b"/>
            <a:pathLst>
              <a:path w="1535193" h="1612109">
                <a:moveTo>
                  <a:pt x="0" y="1612109"/>
                </a:moveTo>
                <a:lnTo>
                  <a:pt x="1535193" y="0"/>
                </a:lnTo>
              </a:path>
            </a:pathLst>
          </a:custGeom>
          <a:ln w="25399">
            <a:solidFill>
              <a:srgbClr val="000000"/>
            </a:solidFill>
            <a:tailEnd type="arrow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0" name="object 24"/>
          <p:cNvSpPr/>
          <p:nvPr/>
        </p:nvSpPr>
        <p:spPr>
          <a:xfrm>
            <a:off x="2402392" y="4876800"/>
            <a:ext cx="1476701" cy="1066799"/>
          </a:xfrm>
          <a:custGeom>
            <a:avLst/>
            <a:gdLst/>
            <a:ahLst/>
            <a:cxnLst/>
            <a:rect l="l" t="t" r="r" b="b"/>
            <a:pathLst>
              <a:path w="4715166" h="3448252">
                <a:moveTo>
                  <a:pt x="0" y="3448252"/>
                </a:moveTo>
                <a:lnTo>
                  <a:pt x="4715166" y="0"/>
                </a:lnTo>
              </a:path>
            </a:pathLst>
          </a:custGeom>
          <a:ln w="25399">
            <a:solidFill>
              <a:srgbClr val="000000"/>
            </a:solidFill>
            <a:tailEnd type="arrow"/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1" name="object 38"/>
          <p:cNvSpPr/>
          <p:nvPr/>
        </p:nvSpPr>
        <p:spPr>
          <a:xfrm>
            <a:off x="3843624" y="461516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2" name="object 20"/>
          <p:cNvSpPr/>
          <p:nvPr/>
        </p:nvSpPr>
        <p:spPr>
          <a:xfrm>
            <a:off x="3849401" y="4051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3" name="object 6"/>
          <p:cNvSpPr txBox="1"/>
          <p:nvPr/>
        </p:nvSpPr>
        <p:spPr>
          <a:xfrm>
            <a:off x="1332125" y="3759280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sp>
        <p:nvSpPr>
          <p:cNvPr id="34" name="object 5"/>
          <p:cNvSpPr txBox="1"/>
          <p:nvPr/>
        </p:nvSpPr>
        <p:spPr>
          <a:xfrm>
            <a:off x="5426815" y="6116930"/>
            <a:ext cx="542241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Age</a:t>
            </a:r>
            <a:endParaRPr sz="2400">
              <a:cs typeface="Calibri"/>
            </a:endParaRPr>
          </a:p>
        </p:txBody>
      </p:sp>
      <p:grpSp>
        <p:nvGrpSpPr>
          <p:cNvPr id="35" name="Group 34"/>
          <p:cNvGrpSpPr/>
          <p:nvPr/>
        </p:nvGrpSpPr>
        <p:grpSpPr>
          <a:xfrm>
            <a:off x="2383438" y="1888930"/>
            <a:ext cx="6303362" cy="4054670"/>
            <a:chOff x="2343901" y="1923700"/>
            <a:chExt cx="6303362" cy="4054670"/>
          </a:xfrm>
        </p:grpSpPr>
        <p:sp>
          <p:nvSpPr>
            <p:cNvPr id="36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37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  <p:sp>
        <p:nvSpPr>
          <p:cNvPr id="38" name="Freeform 37"/>
          <p:cNvSpPr/>
          <p:nvPr/>
        </p:nvSpPr>
        <p:spPr>
          <a:xfrm>
            <a:off x="2493168" y="4743451"/>
            <a:ext cx="1259681" cy="1121569"/>
          </a:xfrm>
          <a:custGeom>
            <a:avLst/>
            <a:gdLst>
              <a:gd name="connsiteX0" fmla="*/ 0 w 1276350"/>
              <a:gd name="connsiteY0" fmla="*/ 1104900 h 1104900"/>
              <a:gd name="connsiteX1" fmla="*/ 1081088 w 1276350"/>
              <a:gd name="connsiteY1" fmla="*/ 0 h 1104900"/>
              <a:gd name="connsiteX2" fmla="*/ 1276350 w 1276350"/>
              <a:gd name="connsiteY2" fmla="*/ 195262 h 1104900"/>
              <a:gd name="connsiteX3" fmla="*/ 0 w 1276350"/>
              <a:gd name="connsiteY3" fmla="*/ 1104900 h 1104900"/>
              <a:gd name="connsiteX0" fmla="*/ 0 w 1245394"/>
              <a:gd name="connsiteY0" fmla="*/ 1116807 h 1116807"/>
              <a:gd name="connsiteX1" fmla="*/ 1050132 w 1245394"/>
              <a:gd name="connsiteY1" fmla="*/ 0 h 1116807"/>
              <a:gd name="connsiteX2" fmla="*/ 1245394 w 1245394"/>
              <a:gd name="connsiteY2" fmla="*/ 195262 h 1116807"/>
              <a:gd name="connsiteX3" fmla="*/ 0 w 1245394"/>
              <a:gd name="connsiteY3" fmla="*/ 1116807 h 1116807"/>
              <a:gd name="connsiteX0" fmla="*/ 0 w 1245394"/>
              <a:gd name="connsiteY0" fmla="*/ 1116807 h 1116807"/>
              <a:gd name="connsiteX1" fmla="*/ 1050132 w 1245394"/>
              <a:gd name="connsiteY1" fmla="*/ 0 h 1116807"/>
              <a:gd name="connsiteX2" fmla="*/ 1245394 w 1245394"/>
              <a:gd name="connsiteY2" fmla="*/ 195262 h 1116807"/>
              <a:gd name="connsiteX3" fmla="*/ 0 w 1245394"/>
              <a:gd name="connsiteY3" fmla="*/ 1116807 h 1116807"/>
              <a:gd name="connsiteX0" fmla="*/ 0 w 1245394"/>
              <a:gd name="connsiteY0" fmla="*/ 1121569 h 1121569"/>
              <a:gd name="connsiteX1" fmla="*/ 1031082 w 1245394"/>
              <a:gd name="connsiteY1" fmla="*/ 0 h 1121569"/>
              <a:gd name="connsiteX2" fmla="*/ 1245394 w 1245394"/>
              <a:gd name="connsiteY2" fmla="*/ 200024 h 1121569"/>
              <a:gd name="connsiteX3" fmla="*/ 0 w 1245394"/>
              <a:gd name="connsiteY3" fmla="*/ 1121569 h 1121569"/>
              <a:gd name="connsiteX0" fmla="*/ 0 w 1259681"/>
              <a:gd name="connsiteY0" fmla="*/ 1121569 h 1121569"/>
              <a:gd name="connsiteX1" fmla="*/ 1045369 w 1259681"/>
              <a:gd name="connsiteY1" fmla="*/ 0 h 1121569"/>
              <a:gd name="connsiteX2" fmla="*/ 1259681 w 1259681"/>
              <a:gd name="connsiteY2" fmla="*/ 200024 h 1121569"/>
              <a:gd name="connsiteX3" fmla="*/ 0 w 1259681"/>
              <a:gd name="connsiteY3" fmla="*/ 1121569 h 11215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59681" h="1121569">
                <a:moveTo>
                  <a:pt x="0" y="1121569"/>
                </a:moveTo>
                <a:cubicBezTo>
                  <a:pt x="333375" y="739775"/>
                  <a:pt x="695325" y="372269"/>
                  <a:pt x="1045369" y="0"/>
                </a:cubicBezTo>
                <a:lnTo>
                  <a:pt x="1259681" y="200024"/>
                </a:lnTo>
                <a:lnTo>
                  <a:pt x="0" y="1121569"/>
                </a:lnTo>
                <a:close/>
              </a:path>
            </a:pathLst>
          </a:custGeom>
          <a:solidFill>
            <a:schemeClr val="tx2">
              <a:lumMod val="40000"/>
              <a:lumOff val="60000"/>
            </a:schemeClr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ject 3"/>
          <p:cNvSpPr/>
          <p:nvPr/>
        </p:nvSpPr>
        <p:spPr>
          <a:xfrm>
            <a:off x="1041400" y="3691729"/>
            <a:ext cx="7048498" cy="2234938"/>
          </a:xfrm>
          <a:prstGeom prst="rect">
            <a:avLst/>
          </a:prstGeom>
          <a:blipFill>
            <a:blip r:embed="rId2" cstate="print"/>
            <a:srcRect/>
            <a:stretch>
              <a:fillRect t="1" b="-35244"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" name="object 2"/>
          <p:cNvSpPr txBox="1"/>
          <p:nvPr/>
        </p:nvSpPr>
        <p:spPr>
          <a:xfrm>
            <a:off x="1423582" y="2286000"/>
            <a:ext cx="6501218" cy="1205458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257544" marR="299390" algn="ctr">
              <a:lnSpc>
                <a:spcPts val="4715"/>
              </a:lnSpc>
              <a:spcBef>
                <a:spcPts val="235"/>
              </a:spcBef>
            </a:pPr>
            <a:r>
              <a:rPr sz="6600" spc="0" baseline="3103" dirty="0" smtClean="0">
                <a:solidFill>
                  <a:srgbClr val="F69545"/>
                </a:solidFill>
                <a:latin typeface="+mj-lt"/>
                <a:cs typeface="Calibri"/>
              </a:rPr>
              <a:t>Hierarchical</a:t>
            </a:r>
            <a:r>
              <a:rPr lang="en-US" sz="6600" spc="0" baseline="3103" dirty="0" smtClean="0">
                <a:solidFill>
                  <a:srgbClr val="F69545"/>
                </a:solidFill>
                <a:latin typeface="+mj-lt"/>
                <a:cs typeface="Calibri"/>
              </a:rPr>
              <a:t> </a:t>
            </a:r>
            <a:r>
              <a:rPr lang="en-US" sz="6600" baseline="1861" dirty="0">
                <a:solidFill>
                  <a:srgbClr val="F69545"/>
                </a:solidFill>
                <a:latin typeface="+mj-lt"/>
                <a:cs typeface="Calibri"/>
              </a:rPr>
              <a:t>Agglomerative </a:t>
            </a:r>
            <a:r>
              <a:rPr sz="4400" spc="0" dirty="0" smtClean="0">
                <a:solidFill>
                  <a:srgbClr val="F69545"/>
                </a:solidFill>
                <a:latin typeface="+mj-lt"/>
                <a:cs typeface="Calibri"/>
              </a:rPr>
              <a:t>Clustering</a:t>
            </a:r>
            <a:endParaRPr sz="4400" dirty="0">
              <a:latin typeface="+mj-lt"/>
              <a:cs typeface="Calibri"/>
            </a:endParaRPr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" name="object 5"/>
          <p:cNvSpPr txBox="1"/>
          <p:nvPr/>
        </p:nvSpPr>
        <p:spPr>
          <a:xfrm>
            <a:off x="1041016" y="545066"/>
            <a:ext cx="7874384" cy="436017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 lvl="0">
              <a:lnSpc>
                <a:spcPts val="3400"/>
              </a:lnSpc>
              <a:spcBef>
                <a:spcPts val="170"/>
              </a:spcBef>
            </a:pPr>
            <a:r>
              <a:rPr lang="en-US" sz="4800" spc="0" baseline="1706" dirty="0" smtClean="0">
                <a:solidFill>
                  <a:srgbClr val="4E81BC"/>
                </a:solidFill>
                <a:latin typeface="+mj-lt"/>
                <a:cs typeface="Calibri"/>
              </a:rPr>
              <a:t>Cosine </a:t>
            </a:r>
            <a:r>
              <a:rPr sz="4800" spc="0" baseline="1706" dirty="0" smtClean="0">
                <a:solidFill>
                  <a:srgbClr val="4E81BC"/>
                </a:solidFill>
                <a:latin typeface="+mj-lt"/>
                <a:cs typeface="Calibri"/>
              </a:rPr>
              <a:t>Distance</a:t>
            </a:r>
            <a:r>
              <a:rPr lang="en-US" sz="4800" spc="0" baseline="1706" dirty="0" smtClean="0">
                <a:solidFill>
                  <a:srgbClr val="4E81BC"/>
                </a:solidFill>
                <a:latin typeface="+mj-lt"/>
                <a:cs typeface="Calibri"/>
              </a:rPr>
              <a:t> </a:t>
            </a:r>
            <a:r>
              <a:rPr lang="en-US" sz="4800" baseline="1706" dirty="0" smtClean="0">
                <a:solidFill>
                  <a:srgbClr val="7F7E7E"/>
                </a:solidFill>
                <a:latin typeface="+mj-lt"/>
                <a:cs typeface="Calibri"/>
              </a:rPr>
              <a:t> </a:t>
            </a:r>
            <a:endParaRPr lang="en-US" sz="3200" dirty="0">
              <a:solidFill>
                <a:prstClr val="black"/>
              </a:solidFill>
              <a:latin typeface="+mj-lt"/>
              <a:cs typeface="Calibri"/>
            </a:endParaRPr>
          </a:p>
        </p:txBody>
      </p:sp>
      <p:sp>
        <p:nvSpPr>
          <p:cNvPr id="78" name="object 82"/>
          <p:cNvSpPr/>
          <p:nvPr/>
        </p:nvSpPr>
        <p:spPr>
          <a:xfrm>
            <a:off x="4414372" y="54871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9" name="object 84"/>
          <p:cNvSpPr/>
          <p:nvPr/>
        </p:nvSpPr>
        <p:spPr>
          <a:xfrm>
            <a:off x="5399747" y="55212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0" name="object 86"/>
          <p:cNvSpPr/>
          <p:nvPr/>
        </p:nvSpPr>
        <p:spPr>
          <a:xfrm>
            <a:off x="6251551" y="55023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1" name="object 74"/>
          <p:cNvSpPr/>
          <p:nvPr/>
        </p:nvSpPr>
        <p:spPr>
          <a:xfrm>
            <a:off x="2668469" y="519520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2" name="object 72"/>
          <p:cNvSpPr/>
          <p:nvPr/>
        </p:nvSpPr>
        <p:spPr>
          <a:xfrm>
            <a:off x="5959366" y="251737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40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80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3" name="object 70"/>
          <p:cNvSpPr/>
          <p:nvPr/>
        </p:nvSpPr>
        <p:spPr>
          <a:xfrm>
            <a:off x="5560113" y="213564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4" name="object 68"/>
          <p:cNvSpPr/>
          <p:nvPr/>
        </p:nvSpPr>
        <p:spPr>
          <a:xfrm>
            <a:off x="5148028" y="1723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5" name="object 66"/>
          <p:cNvSpPr/>
          <p:nvPr/>
        </p:nvSpPr>
        <p:spPr>
          <a:xfrm>
            <a:off x="6872003" y="34121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6" name="object 63"/>
          <p:cNvSpPr/>
          <p:nvPr/>
        </p:nvSpPr>
        <p:spPr>
          <a:xfrm>
            <a:off x="5880842" y="502152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6"/>
                </a:lnTo>
                <a:lnTo>
                  <a:pt x="1583" y="198179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6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2"/>
                </a:lnTo>
                <a:lnTo>
                  <a:pt x="49876" y="299561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6"/>
                </a:lnTo>
                <a:lnTo>
                  <a:pt x="196530" y="342926"/>
                </a:lnTo>
                <a:lnTo>
                  <a:pt x="209650" y="339004"/>
                </a:lnTo>
                <a:lnTo>
                  <a:pt x="222295" y="333936"/>
                </a:lnTo>
                <a:lnTo>
                  <a:pt x="234413" y="327778"/>
                </a:lnTo>
                <a:lnTo>
                  <a:pt x="245953" y="320583"/>
                </a:lnTo>
                <a:lnTo>
                  <a:pt x="256864" y="312409"/>
                </a:lnTo>
                <a:lnTo>
                  <a:pt x="267095" y="303311"/>
                </a:lnTo>
                <a:lnTo>
                  <a:pt x="276595" y="293343"/>
                </a:lnTo>
                <a:lnTo>
                  <a:pt x="285312" y="282562"/>
                </a:lnTo>
                <a:lnTo>
                  <a:pt x="293195" y="271023"/>
                </a:lnTo>
                <a:lnTo>
                  <a:pt x="300193" y="258781"/>
                </a:lnTo>
                <a:lnTo>
                  <a:pt x="306255" y="245892"/>
                </a:lnTo>
                <a:lnTo>
                  <a:pt x="311330" y="232411"/>
                </a:lnTo>
                <a:lnTo>
                  <a:pt x="315366" y="218394"/>
                </a:lnTo>
                <a:lnTo>
                  <a:pt x="318312" y="203896"/>
                </a:lnTo>
                <a:lnTo>
                  <a:pt x="320117" y="188973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9" y="93485"/>
                </a:lnTo>
                <a:lnTo>
                  <a:pt x="296006" y="80986"/>
                </a:lnTo>
                <a:lnTo>
                  <a:pt x="288459" y="69169"/>
                </a:lnTo>
                <a:lnTo>
                  <a:pt x="280058" y="58089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4"/>
                </a:lnTo>
                <a:lnTo>
                  <a:pt x="86318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7" name="object 62"/>
          <p:cNvSpPr/>
          <p:nvPr/>
        </p:nvSpPr>
        <p:spPr>
          <a:xfrm>
            <a:off x="4326962" y="34938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8" name="object 60"/>
          <p:cNvSpPr/>
          <p:nvPr/>
        </p:nvSpPr>
        <p:spPr>
          <a:xfrm>
            <a:off x="3451263" y="457102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9" name="object 58"/>
          <p:cNvSpPr/>
          <p:nvPr/>
        </p:nvSpPr>
        <p:spPr>
          <a:xfrm>
            <a:off x="7513462" y="204543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0" name="object 56"/>
          <p:cNvSpPr/>
          <p:nvPr/>
        </p:nvSpPr>
        <p:spPr>
          <a:xfrm>
            <a:off x="6553321" y="196196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1" name="object 54"/>
          <p:cNvSpPr/>
          <p:nvPr/>
        </p:nvSpPr>
        <p:spPr>
          <a:xfrm>
            <a:off x="7353097" y="275391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2" name="object 52"/>
          <p:cNvSpPr/>
          <p:nvPr/>
        </p:nvSpPr>
        <p:spPr>
          <a:xfrm>
            <a:off x="4696124" y="412086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3" name="object 50"/>
          <p:cNvSpPr/>
          <p:nvPr/>
        </p:nvSpPr>
        <p:spPr>
          <a:xfrm>
            <a:off x="4441297" y="46123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4" name="object 48"/>
          <p:cNvSpPr/>
          <p:nvPr/>
        </p:nvSpPr>
        <p:spPr>
          <a:xfrm>
            <a:off x="3130532" y="40499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5" name="object 42"/>
          <p:cNvSpPr/>
          <p:nvPr/>
        </p:nvSpPr>
        <p:spPr>
          <a:xfrm>
            <a:off x="5748103" y="33118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6" name="object 44"/>
          <p:cNvSpPr/>
          <p:nvPr/>
        </p:nvSpPr>
        <p:spPr>
          <a:xfrm>
            <a:off x="5560113" y="25802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7" name="object 46"/>
          <p:cNvSpPr/>
          <p:nvPr/>
        </p:nvSpPr>
        <p:spPr>
          <a:xfrm>
            <a:off x="5421508" y="296447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8" name="object 40"/>
          <p:cNvSpPr/>
          <p:nvPr/>
        </p:nvSpPr>
        <p:spPr>
          <a:xfrm>
            <a:off x="5213120" y="49216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9" name="object 38"/>
          <p:cNvSpPr/>
          <p:nvPr/>
        </p:nvSpPr>
        <p:spPr>
          <a:xfrm>
            <a:off x="7032365" y="221911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0" name="object 36"/>
          <p:cNvSpPr/>
          <p:nvPr/>
        </p:nvSpPr>
        <p:spPr>
          <a:xfrm>
            <a:off x="7385165" y="340218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6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7"/>
                </a:lnTo>
                <a:lnTo>
                  <a:pt x="310251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1" name="object 34"/>
          <p:cNvSpPr/>
          <p:nvPr/>
        </p:nvSpPr>
        <p:spPr>
          <a:xfrm>
            <a:off x="5038354" y="24830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2" name="object 32"/>
          <p:cNvSpPr/>
          <p:nvPr/>
        </p:nvSpPr>
        <p:spPr>
          <a:xfrm>
            <a:off x="7192732" y="159327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3" name="object 30"/>
          <p:cNvSpPr/>
          <p:nvPr/>
        </p:nvSpPr>
        <p:spPr>
          <a:xfrm>
            <a:off x="6201572" y="316997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4" name="object 28"/>
          <p:cNvSpPr/>
          <p:nvPr/>
        </p:nvSpPr>
        <p:spPr>
          <a:xfrm>
            <a:off x="4877989" y="532865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5" name="object 26"/>
          <p:cNvSpPr/>
          <p:nvPr/>
        </p:nvSpPr>
        <p:spPr>
          <a:xfrm>
            <a:off x="5581873" y="4521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6" name="object 24"/>
          <p:cNvSpPr/>
          <p:nvPr/>
        </p:nvSpPr>
        <p:spPr>
          <a:xfrm>
            <a:off x="3528670" y="35173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7" name="object 22"/>
          <p:cNvSpPr/>
          <p:nvPr/>
        </p:nvSpPr>
        <p:spPr>
          <a:xfrm>
            <a:off x="3252845" y="520650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8" name="object 20"/>
          <p:cNvSpPr/>
          <p:nvPr/>
        </p:nvSpPr>
        <p:spPr>
          <a:xfrm>
            <a:off x="3849401" y="4051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9" name="object 18"/>
          <p:cNvSpPr/>
          <p:nvPr/>
        </p:nvSpPr>
        <p:spPr>
          <a:xfrm>
            <a:off x="6713687" y="269105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0" name="object 6"/>
          <p:cNvSpPr txBox="1"/>
          <p:nvPr/>
        </p:nvSpPr>
        <p:spPr>
          <a:xfrm>
            <a:off x="1332125" y="3759280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sp>
        <p:nvSpPr>
          <p:cNvPr id="111" name="object 5"/>
          <p:cNvSpPr txBox="1"/>
          <p:nvPr/>
        </p:nvSpPr>
        <p:spPr>
          <a:xfrm>
            <a:off x="5426815" y="6116930"/>
            <a:ext cx="542241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Age</a:t>
            </a:r>
            <a:endParaRPr sz="2400">
              <a:cs typeface="Calibri"/>
            </a:endParaRPr>
          </a:p>
        </p:txBody>
      </p:sp>
      <p:grpSp>
        <p:nvGrpSpPr>
          <p:cNvPr id="112" name="Group 111"/>
          <p:cNvGrpSpPr/>
          <p:nvPr/>
        </p:nvGrpSpPr>
        <p:grpSpPr>
          <a:xfrm>
            <a:off x="2383438" y="1888930"/>
            <a:ext cx="6303362" cy="4054670"/>
            <a:chOff x="2343901" y="1923700"/>
            <a:chExt cx="6303362" cy="4054670"/>
          </a:xfrm>
        </p:grpSpPr>
        <p:sp>
          <p:nvSpPr>
            <p:cNvPr id="113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114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object 5"/>
          <p:cNvSpPr txBox="1"/>
          <p:nvPr/>
        </p:nvSpPr>
        <p:spPr>
          <a:xfrm>
            <a:off x="1041016" y="545066"/>
            <a:ext cx="7874384" cy="436017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 lvl="0">
              <a:lnSpc>
                <a:spcPts val="3400"/>
              </a:lnSpc>
              <a:spcBef>
                <a:spcPts val="170"/>
              </a:spcBef>
            </a:pPr>
            <a:r>
              <a:rPr lang="en-US" sz="4800" spc="0" baseline="1706" dirty="0" smtClean="0">
                <a:solidFill>
                  <a:srgbClr val="4E81BC"/>
                </a:solidFill>
                <a:latin typeface="+mj-lt"/>
                <a:cs typeface="Calibri"/>
              </a:rPr>
              <a:t>Cosine </a:t>
            </a:r>
            <a:r>
              <a:rPr sz="4800" spc="0" baseline="1706" dirty="0" smtClean="0">
                <a:solidFill>
                  <a:srgbClr val="4E81BC"/>
                </a:solidFill>
                <a:latin typeface="+mj-lt"/>
                <a:cs typeface="Calibri"/>
              </a:rPr>
              <a:t>Distance</a:t>
            </a:r>
            <a:r>
              <a:rPr lang="en-US" sz="4800" spc="0" baseline="1706" dirty="0" smtClean="0">
                <a:solidFill>
                  <a:srgbClr val="4E81BC"/>
                </a:solidFill>
                <a:latin typeface="+mj-lt"/>
                <a:cs typeface="Calibri"/>
              </a:rPr>
              <a:t> </a:t>
            </a:r>
            <a:r>
              <a:rPr lang="en-US" sz="4800" baseline="1706" dirty="0" smtClean="0">
                <a:solidFill>
                  <a:srgbClr val="7F7E7E"/>
                </a:solidFill>
                <a:latin typeface="+mj-lt"/>
                <a:cs typeface="Calibri"/>
              </a:rPr>
              <a:t> </a:t>
            </a:r>
            <a:endParaRPr lang="en-US" sz="3200" dirty="0">
              <a:solidFill>
                <a:prstClr val="black"/>
              </a:solidFill>
              <a:latin typeface="+mj-lt"/>
              <a:cs typeface="Calibri"/>
            </a:endParaRPr>
          </a:p>
        </p:txBody>
      </p:sp>
      <p:sp>
        <p:nvSpPr>
          <p:cNvPr id="19" name="object 84"/>
          <p:cNvSpPr/>
          <p:nvPr/>
        </p:nvSpPr>
        <p:spPr>
          <a:xfrm>
            <a:off x="5399747" y="55212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8" name="object 20"/>
          <p:cNvSpPr/>
          <p:nvPr/>
        </p:nvSpPr>
        <p:spPr>
          <a:xfrm>
            <a:off x="3849401" y="4051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0" name="object 6"/>
          <p:cNvSpPr txBox="1"/>
          <p:nvPr/>
        </p:nvSpPr>
        <p:spPr>
          <a:xfrm>
            <a:off x="1332125" y="3759280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sp>
        <p:nvSpPr>
          <p:cNvPr id="51" name="object 5"/>
          <p:cNvSpPr txBox="1"/>
          <p:nvPr/>
        </p:nvSpPr>
        <p:spPr>
          <a:xfrm>
            <a:off x="5426815" y="6116930"/>
            <a:ext cx="542241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Age</a:t>
            </a:r>
            <a:endParaRPr sz="2400">
              <a:cs typeface="Calibri"/>
            </a:endParaRPr>
          </a:p>
        </p:txBody>
      </p:sp>
      <p:grpSp>
        <p:nvGrpSpPr>
          <p:cNvPr id="52" name="Group 51"/>
          <p:cNvGrpSpPr/>
          <p:nvPr/>
        </p:nvGrpSpPr>
        <p:grpSpPr>
          <a:xfrm>
            <a:off x="2383438" y="1888930"/>
            <a:ext cx="6303362" cy="4054670"/>
            <a:chOff x="2343901" y="1923700"/>
            <a:chExt cx="6303362" cy="4054670"/>
          </a:xfrm>
        </p:grpSpPr>
        <p:sp>
          <p:nvSpPr>
            <p:cNvPr id="53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54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9808854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3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Freeform 34"/>
          <p:cNvSpPr/>
          <p:nvPr/>
        </p:nvSpPr>
        <p:spPr>
          <a:xfrm>
            <a:off x="2446165" y="4784613"/>
            <a:ext cx="2023771" cy="1139243"/>
          </a:xfrm>
          <a:custGeom>
            <a:avLst/>
            <a:gdLst>
              <a:gd name="connsiteX0" fmla="*/ 0 w 1276350"/>
              <a:gd name="connsiteY0" fmla="*/ 1104900 h 1104900"/>
              <a:gd name="connsiteX1" fmla="*/ 1081088 w 1276350"/>
              <a:gd name="connsiteY1" fmla="*/ 0 h 1104900"/>
              <a:gd name="connsiteX2" fmla="*/ 1276350 w 1276350"/>
              <a:gd name="connsiteY2" fmla="*/ 195262 h 1104900"/>
              <a:gd name="connsiteX3" fmla="*/ 0 w 1276350"/>
              <a:gd name="connsiteY3" fmla="*/ 1104900 h 1104900"/>
              <a:gd name="connsiteX0" fmla="*/ 0 w 1245394"/>
              <a:gd name="connsiteY0" fmla="*/ 1116807 h 1116807"/>
              <a:gd name="connsiteX1" fmla="*/ 1050132 w 1245394"/>
              <a:gd name="connsiteY1" fmla="*/ 0 h 1116807"/>
              <a:gd name="connsiteX2" fmla="*/ 1245394 w 1245394"/>
              <a:gd name="connsiteY2" fmla="*/ 195262 h 1116807"/>
              <a:gd name="connsiteX3" fmla="*/ 0 w 1245394"/>
              <a:gd name="connsiteY3" fmla="*/ 1116807 h 1116807"/>
              <a:gd name="connsiteX0" fmla="*/ 0 w 1245394"/>
              <a:gd name="connsiteY0" fmla="*/ 1116807 h 1116807"/>
              <a:gd name="connsiteX1" fmla="*/ 1050132 w 1245394"/>
              <a:gd name="connsiteY1" fmla="*/ 0 h 1116807"/>
              <a:gd name="connsiteX2" fmla="*/ 1245394 w 1245394"/>
              <a:gd name="connsiteY2" fmla="*/ 195262 h 1116807"/>
              <a:gd name="connsiteX3" fmla="*/ 0 w 1245394"/>
              <a:gd name="connsiteY3" fmla="*/ 1116807 h 1116807"/>
              <a:gd name="connsiteX0" fmla="*/ 0 w 1245394"/>
              <a:gd name="connsiteY0" fmla="*/ 1121569 h 1121569"/>
              <a:gd name="connsiteX1" fmla="*/ 1031082 w 1245394"/>
              <a:gd name="connsiteY1" fmla="*/ 0 h 1121569"/>
              <a:gd name="connsiteX2" fmla="*/ 1245394 w 1245394"/>
              <a:gd name="connsiteY2" fmla="*/ 200024 h 1121569"/>
              <a:gd name="connsiteX3" fmla="*/ 0 w 1245394"/>
              <a:gd name="connsiteY3" fmla="*/ 1121569 h 1121569"/>
              <a:gd name="connsiteX0" fmla="*/ 0 w 1259681"/>
              <a:gd name="connsiteY0" fmla="*/ 1121569 h 1121569"/>
              <a:gd name="connsiteX1" fmla="*/ 1045369 w 1259681"/>
              <a:gd name="connsiteY1" fmla="*/ 0 h 1121569"/>
              <a:gd name="connsiteX2" fmla="*/ 1259681 w 1259681"/>
              <a:gd name="connsiteY2" fmla="*/ 200024 h 1121569"/>
              <a:gd name="connsiteX3" fmla="*/ 0 w 1259681"/>
              <a:gd name="connsiteY3" fmla="*/ 1121569 h 1121569"/>
              <a:gd name="connsiteX0" fmla="*/ 0 w 1983581"/>
              <a:gd name="connsiteY0" fmla="*/ 1121569 h 1121569"/>
              <a:gd name="connsiteX1" fmla="*/ 1045369 w 1983581"/>
              <a:gd name="connsiteY1" fmla="*/ 0 h 1121569"/>
              <a:gd name="connsiteX2" fmla="*/ 1983581 w 1983581"/>
              <a:gd name="connsiteY2" fmla="*/ 946784 h 1121569"/>
              <a:gd name="connsiteX3" fmla="*/ 0 w 1983581"/>
              <a:gd name="connsiteY3" fmla="*/ 1121569 h 1121569"/>
              <a:gd name="connsiteX0" fmla="*/ 0 w 1983581"/>
              <a:gd name="connsiteY0" fmla="*/ 1121569 h 1121569"/>
              <a:gd name="connsiteX1" fmla="*/ 1045369 w 1983581"/>
              <a:gd name="connsiteY1" fmla="*/ 0 h 1121569"/>
              <a:gd name="connsiteX2" fmla="*/ 1983581 w 1983581"/>
              <a:gd name="connsiteY2" fmla="*/ 946784 h 1121569"/>
              <a:gd name="connsiteX3" fmla="*/ 0 w 1983581"/>
              <a:gd name="connsiteY3" fmla="*/ 1121569 h 1121569"/>
              <a:gd name="connsiteX0" fmla="*/ 9220 w 1992801"/>
              <a:gd name="connsiteY0" fmla="*/ 1121569 h 1169304"/>
              <a:gd name="connsiteX1" fmla="*/ 1054589 w 1992801"/>
              <a:gd name="connsiteY1" fmla="*/ 0 h 1169304"/>
              <a:gd name="connsiteX2" fmla="*/ 1992801 w 1992801"/>
              <a:gd name="connsiteY2" fmla="*/ 946784 h 1169304"/>
              <a:gd name="connsiteX3" fmla="*/ 625672 w 1992801"/>
              <a:gd name="connsiteY3" fmla="*/ 960868 h 1169304"/>
              <a:gd name="connsiteX4" fmla="*/ 9220 w 1992801"/>
              <a:gd name="connsiteY4" fmla="*/ 1121569 h 1169304"/>
              <a:gd name="connsiteX0" fmla="*/ 8752 w 1992333"/>
              <a:gd name="connsiteY0" fmla="*/ 1121569 h 1180202"/>
              <a:gd name="connsiteX1" fmla="*/ 1054121 w 1992333"/>
              <a:gd name="connsiteY1" fmla="*/ 0 h 1180202"/>
              <a:gd name="connsiteX2" fmla="*/ 1992333 w 1992333"/>
              <a:gd name="connsiteY2" fmla="*/ 946784 h 1180202"/>
              <a:gd name="connsiteX3" fmla="*/ 648064 w 1992333"/>
              <a:gd name="connsiteY3" fmla="*/ 1037068 h 1180202"/>
              <a:gd name="connsiteX4" fmla="*/ 8752 w 1992333"/>
              <a:gd name="connsiteY4" fmla="*/ 1121569 h 1180202"/>
              <a:gd name="connsiteX0" fmla="*/ 8752 w 1992333"/>
              <a:gd name="connsiteY0" fmla="*/ 1121569 h 1180202"/>
              <a:gd name="connsiteX1" fmla="*/ 1054121 w 1992333"/>
              <a:gd name="connsiteY1" fmla="*/ 0 h 1180202"/>
              <a:gd name="connsiteX2" fmla="*/ 1992333 w 1992333"/>
              <a:gd name="connsiteY2" fmla="*/ 946784 h 1180202"/>
              <a:gd name="connsiteX3" fmla="*/ 648064 w 1992333"/>
              <a:gd name="connsiteY3" fmla="*/ 1037068 h 1180202"/>
              <a:gd name="connsiteX4" fmla="*/ 8752 w 1992333"/>
              <a:gd name="connsiteY4" fmla="*/ 1121569 h 1180202"/>
              <a:gd name="connsiteX0" fmla="*/ 8616 w 1992197"/>
              <a:gd name="connsiteY0" fmla="*/ 1121569 h 1188102"/>
              <a:gd name="connsiteX1" fmla="*/ 1053985 w 1992197"/>
              <a:gd name="connsiteY1" fmla="*/ 0 h 1188102"/>
              <a:gd name="connsiteX2" fmla="*/ 1992197 w 1992197"/>
              <a:gd name="connsiteY2" fmla="*/ 946784 h 1188102"/>
              <a:gd name="connsiteX3" fmla="*/ 647928 w 1992197"/>
              <a:gd name="connsiteY3" fmla="*/ 1037068 h 1188102"/>
              <a:gd name="connsiteX4" fmla="*/ 8616 w 1992197"/>
              <a:gd name="connsiteY4" fmla="*/ 1121569 h 1188102"/>
              <a:gd name="connsiteX0" fmla="*/ 7950 w 1991531"/>
              <a:gd name="connsiteY0" fmla="*/ 1121569 h 1195393"/>
              <a:gd name="connsiteX1" fmla="*/ 1053319 w 1991531"/>
              <a:gd name="connsiteY1" fmla="*/ 0 h 1195393"/>
              <a:gd name="connsiteX2" fmla="*/ 1991531 w 1991531"/>
              <a:gd name="connsiteY2" fmla="*/ 946784 h 1195393"/>
              <a:gd name="connsiteX3" fmla="*/ 685362 w 1991531"/>
              <a:gd name="connsiteY3" fmla="*/ 1067548 h 1195393"/>
              <a:gd name="connsiteX4" fmla="*/ 7950 w 1991531"/>
              <a:gd name="connsiteY4" fmla="*/ 1121569 h 1195393"/>
              <a:gd name="connsiteX0" fmla="*/ 8881 w 1992462"/>
              <a:gd name="connsiteY0" fmla="*/ 1121569 h 1186057"/>
              <a:gd name="connsiteX1" fmla="*/ 1054250 w 1992462"/>
              <a:gd name="connsiteY1" fmla="*/ 0 h 1186057"/>
              <a:gd name="connsiteX2" fmla="*/ 1992462 w 1992462"/>
              <a:gd name="connsiteY2" fmla="*/ 946784 h 1186057"/>
              <a:gd name="connsiteX3" fmla="*/ 686293 w 1992462"/>
              <a:gd name="connsiteY3" fmla="*/ 1067548 h 1186057"/>
              <a:gd name="connsiteX4" fmla="*/ 8881 w 1992462"/>
              <a:gd name="connsiteY4" fmla="*/ 1121569 h 1186057"/>
              <a:gd name="connsiteX0" fmla="*/ 93745 w 2077326"/>
              <a:gd name="connsiteY0" fmla="*/ 1121569 h 1284116"/>
              <a:gd name="connsiteX1" fmla="*/ 1139114 w 2077326"/>
              <a:gd name="connsiteY1" fmla="*/ 0 h 1284116"/>
              <a:gd name="connsiteX2" fmla="*/ 2077326 w 2077326"/>
              <a:gd name="connsiteY2" fmla="*/ 946784 h 1284116"/>
              <a:gd name="connsiteX3" fmla="*/ 771157 w 2077326"/>
              <a:gd name="connsiteY3" fmla="*/ 1067548 h 1284116"/>
              <a:gd name="connsiteX4" fmla="*/ 93745 w 2077326"/>
              <a:gd name="connsiteY4" fmla="*/ 1121569 h 1284116"/>
              <a:gd name="connsiteX0" fmla="*/ 6393 w 1989974"/>
              <a:gd name="connsiteY0" fmla="*/ 1121569 h 1162981"/>
              <a:gd name="connsiteX1" fmla="*/ 1051762 w 1989974"/>
              <a:gd name="connsiteY1" fmla="*/ 0 h 1162981"/>
              <a:gd name="connsiteX2" fmla="*/ 1989974 w 1989974"/>
              <a:gd name="connsiteY2" fmla="*/ 946784 h 1162981"/>
              <a:gd name="connsiteX3" fmla="*/ 683805 w 1989974"/>
              <a:gd name="connsiteY3" fmla="*/ 1067548 h 1162981"/>
              <a:gd name="connsiteX4" fmla="*/ 6393 w 1989974"/>
              <a:gd name="connsiteY4" fmla="*/ 1121569 h 1162981"/>
              <a:gd name="connsiteX0" fmla="*/ 623 w 1984204"/>
              <a:gd name="connsiteY0" fmla="*/ 1121569 h 1140081"/>
              <a:gd name="connsiteX1" fmla="*/ 1045992 w 1984204"/>
              <a:gd name="connsiteY1" fmla="*/ 0 h 1140081"/>
              <a:gd name="connsiteX2" fmla="*/ 1984204 w 1984204"/>
              <a:gd name="connsiteY2" fmla="*/ 946784 h 1140081"/>
              <a:gd name="connsiteX3" fmla="*/ 678035 w 1984204"/>
              <a:gd name="connsiteY3" fmla="*/ 1067548 h 1140081"/>
              <a:gd name="connsiteX4" fmla="*/ 623 w 1984204"/>
              <a:gd name="connsiteY4" fmla="*/ 1121569 h 1140081"/>
              <a:gd name="connsiteX0" fmla="*/ 623 w 2032736"/>
              <a:gd name="connsiteY0" fmla="*/ 1121569 h 1140081"/>
              <a:gd name="connsiteX1" fmla="*/ 1045992 w 2032736"/>
              <a:gd name="connsiteY1" fmla="*/ 0 h 1140081"/>
              <a:gd name="connsiteX2" fmla="*/ 1984204 w 2032736"/>
              <a:gd name="connsiteY2" fmla="*/ 946784 h 1140081"/>
              <a:gd name="connsiteX3" fmla="*/ 678035 w 2032736"/>
              <a:gd name="connsiteY3" fmla="*/ 1067548 h 1140081"/>
              <a:gd name="connsiteX4" fmla="*/ 623 w 2032736"/>
              <a:gd name="connsiteY4" fmla="*/ 1121569 h 1140081"/>
              <a:gd name="connsiteX0" fmla="*/ 623 w 1997457"/>
              <a:gd name="connsiteY0" fmla="*/ 1121569 h 1140081"/>
              <a:gd name="connsiteX1" fmla="*/ 1045992 w 1997457"/>
              <a:gd name="connsiteY1" fmla="*/ 0 h 1140081"/>
              <a:gd name="connsiteX2" fmla="*/ 1984204 w 1997457"/>
              <a:gd name="connsiteY2" fmla="*/ 946784 h 1140081"/>
              <a:gd name="connsiteX3" fmla="*/ 678035 w 1997457"/>
              <a:gd name="connsiteY3" fmla="*/ 1067548 h 1140081"/>
              <a:gd name="connsiteX4" fmla="*/ 623 w 1997457"/>
              <a:gd name="connsiteY4" fmla="*/ 1121569 h 1140081"/>
              <a:gd name="connsiteX0" fmla="*/ 623 w 2033210"/>
              <a:gd name="connsiteY0" fmla="*/ 1121569 h 1140081"/>
              <a:gd name="connsiteX1" fmla="*/ 1045992 w 2033210"/>
              <a:gd name="connsiteY1" fmla="*/ 0 h 1140081"/>
              <a:gd name="connsiteX2" fmla="*/ 1984204 w 2033210"/>
              <a:gd name="connsiteY2" fmla="*/ 946784 h 1140081"/>
              <a:gd name="connsiteX3" fmla="*/ 678035 w 2033210"/>
              <a:gd name="connsiteY3" fmla="*/ 1067548 h 1140081"/>
              <a:gd name="connsiteX4" fmla="*/ 623 w 2033210"/>
              <a:gd name="connsiteY4" fmla="*/ 1121569 h 1140081"/>
              <a:gd name="connsiteX0" fmla="*/ 623 w 1985752"/>
              <a:gd name="connsiteY0" fmla="*/ 1121569 h 1140081"/>
              <a:gd name="connsiteX1" fmla="*/ 1045992 w 1985752"/>
              <a:gd name="connsiteY1" fmla="*/ 0 h 1140081"/>
              <a:gd name="connsiteX2" fmla="*/ 1984204 w 1985752"/>
              <a:gd name="connsiteY2" fmla="*/ 946784 h 1140081"/>
              <a:gd name="connsiteX3" fmla="*/ 678035 w 1985752"/>
              <a:gd name="connsiteY3" fmla="*/ 1067548 h 1140081"/>
              <a:gd name="connsiteX4" fmla="*/ 623 w 1985752"/>
              <a:gd name="connsiteY4" fmla="*/ 1121569 h 1140081"/>
              <a:gd name="connsiteX0" fmla="*/ 623 w 2000959"/>
              <a:gd name="connsiteY0" fmla="*/ 1121569 h 1139567"/>
              <a:gd name="connsiteX1" fmla="*/ 1045992 w 2000959"/>
              <a:gd name="connsiteY1" fmla="*/ 0 h 1139567"/>
              <a:gd name="connsiteX2" fmla="*/ 1999444 w 2000959"/>
              <a:gd name="connsiteY2" fmla="*/ 969644 h 1139567"/>
              <a:gd name="connsiteX3" fmla="*/ 678035 w 2000959"/>
              <a:gd name="connsiteY3" fmla="*/ 1067548 h 1139567"/>
              <a:gd name="connsiteX4" fmla="*/ 623 w 2000959"/>
              <a:gd name="connsiteY4" fmla="*/ 1121569 h 1139567"/>
              <a:gd name="connsiteX0" fmla="*/ 623 w 2023771"/>
              <a:gd name="connsiteY0" fmla="*/ 1121569 h 1139243"/>
              <a:gd name="connsiteX1" fmla="*/ 1045992 w 2023771"/>
              <a:gd name="connsiteY1" fmla="*/ 0 h 1139243"/>
              <a:gd name="connsiteX2" fmla="*/ 2022304 w 2023771"/>
              <a:gd name="connsiteY2" fmla="*/ 984884 h 1139243"/>
              <a:gd name="connsiteX3" fmla="*/ 678035 w 2023771"/>
              <a:gd name="connsiteY3" fmla="*/ 1067548 h 1139243"/>
              <a:gd name="connsiteX4" fmla="*/ 623 w 2023771"/>
              <a:gd name="connsiteY4" fmla="*/ 1121569 h 11392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023771" h="1139243">
                <a:moveTo>
                  <a:pt x="623" y="1121569"/>
                </a:moveTo>
                <a:cubicBezTo>
                  <a:pt x="-24142" y="1067435"/>
                  <a:pt x="695948" y="372269"/>
                  <a:pt x="1045992" y="0"/>
                </a:cubicBezTo>
                <a:cubicBezTo>
                  <a:pt x="1358729" y="315595"/>
                  <a:pt x="2060087" y="1012189"/>
                  <a:pt x="2022304" y="984884"/>
                </a:cubicBezTo>
                <a:cubicBezTo>
                  <a:pt x="1984521" y="957579"/>
                  <a:pt x="1014982" y="1044767"/>
                  <a:pt x="678035" y="1067548"/>
                </a:cubicBezTo>
                <a:cubicBezTo>
                  <a:pt x="341088" y="1090329"/>
                  <a:pt x="25388" y="1175703"/>
                  <a:pt x="623" y="1121569"/>
                </a:cubicBezTo>
                <a:close/>
              </a:path>
            </a:pathLst>
          </a:custGeom>
          <a:solidFill>
            <a:schemeClr val="tx2">
              <a:lumMod val="40000"/>
              <a:lumOff val="60000"/>
            </a:schemeClr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object 21"/>
          <p:cNvSpPr/>
          <p:nvPr/>
        </p:nvSpPr>
        <p:spPr>
          <a:xfrm>
            <a:off x="2383437" y="4366261"/>
            <a:ext cx="1495657" cy="1577339"/>
          </a:xfrm>
          <a:custGeom>
            <a:avLst/>
            <a:gdLst/>
            <a:ahLst/>
            <a:cxnLst/>
            <a:rect l="l" t="t" r="r" b="b"/>
            <a:pathLst>
              <a:path w="1535193" h="1612109">
                <a:moveTo>
                  <a:pt x="0" y="1612109"/>
                </a:moveTo>
                <a:lnTo>
                  <a:pt x="1535193" y="0"/>
                </a:lnTo>
              </a:path>
            </a:pathLst>
          </a:custGeom>
          <a:ln w="25399">
            <a:solidFill>
              <a:srgbClr val="000000"/>
            </a:solidFill>
            <a:tailEnd type="arrow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4" name="object 24"/>
          <p:cNvSpPr/>
          <p:nvPr/>
        </p:nvSpPr>
        <p:spPr>
          <a:xfrm>
            <a:off x="2383437" y="5697332"/>
            <a:ext cx="2991304" cy="243619"/>
          </a:xfrm>
          <a:custGeom>
            <a:avLst/>
            <a:gdLst/>
            <a:ahLst/>
            <a:cxnLst/>
            <a:rect l="l" t="t" r="r" b="b"/>
            <a:pathLst>
              <a:path w="3030840" h="281041">
                <a:moveTo>
                  <a:pt x="0" y="281041"/>
                </a:moveTo>
                <a:lnTo>
                  <a:pt x="3030840" y="0"/>
                </a:lnTo>
              </a:path>
            </a:pathLst>
          </a:custGeom>
          <a:ln w="25399">
            <a:solidFill>
              <a:srgbClr val="000000"/>
            </a:solidFill>
            <a:tailEnd type="arrow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" name="object 2"/>
          <p:cNvSpPr txBox="1"/>
          <p:nvPr/>
        </p:nvSpPr>
        <p:spPr>
          <a:xfrm>
            <a:off x="2343901" y="1923700"/>
            <a:ext cx="6303362" cy="405467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26" name="object 5"/>
          <p:cNvSpPr txBox="1"/>
          <p:nvPr/>
        </p:nvSpPr>
        <p:spPr>
          <a:xfrm>
            <a:off x="1041016" y="545066"/>
            <a:ext cx="7874384" cy="436017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 lvl="0">
              <a:lnSpc>
                <a:spcPts val="3400"/>
              </a:lnSpc>
              <a:spcBef>
                <a:spcPts val="170"/>
              </a:spcBef>
            </a:pPr>
            <a:r>
              <a:rPr lang="en-US" sz="4800" spc="0" baseline="1706" dirty="0" smtClean="0">
                <a:solidFill>
                  <a:srgbClr val="4E81BC"/>
                </a:solidFill>
                <a:latin typeface="+mj-lt"/>
                <a:cs typeface="Calibri"/>
              </a:rPr>
              <a:t>Cosine </a:t>
            </a:r>
            <a:r>
              <a:rPr sz="4800" spc="0" baseline="1706" dirty="0" smtClean="0">
                <a:solidFill>
                  <a:srgbClr val="4E81BC"/>
                </a:solidFill>
                <a:latin typeface="+mj-lt"/>
                <a:cs typeface="Calibri"/>
              </a:rPr>
              <a:t>Distance</a:t>
            </a:r>
            <a:r>
              <a:rPr lang="en-US" sz="4800" spc="0" baseline="1706" dirty="0" smtClean="0">
                <a:solidFill>
                  <a:srgbClr val="4E81BC"/>
                </a:solidFill>
                <a:latin typeface="+mj-lt"/>
                <a:cs typeface="Calibri"/>
              </a:rPr>
              <a:t> </a:t>
            </a:r>
            <a:r>
              <a:rPr lang="en-US" sz="4800" baseline="1706" dirty="0" smtClean="0">
                <a:solidFill>
                  <a:srgbClr val="7F7E7E"/>
                </a:solidFill>
                <a:latin typeface="+mj-lt"/>
                <a:cs typeface="Calibri"/>
              </a:rPr>
              <a:t> </a:t>
            </a:r>
            <a:endParaRPr lang="en-US" sz="3200" dirty="0">
              <a:solidFill>
                <a:prstClr val="black"/>
              </a:solidFill>
              <a:latin typeface="+mj-lt"/>
              <a:cs typeface="Calibri"/>
            </a:endParaRPr>
          </a:p>
        </p:txBody>
      </p:sp>
      <p:sp>
        <p:nvSpPr>
          <p:cNvPr id="27" name="object 84"/>
          <p:cNvSpPr/>
          <p:nvPr/>
        </p:nvSpPr>
        <p:spPr>
          <a:xfrm>
            <a:off x="5399747" y="55212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8" name="object 20"/>
          <p:cNvSpPr/>
          <p:nvPr/>
        </p:nvSpPr>
        <p:spPr>
          <a:xfrm>
            <a:off x="3849401" y="4051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9" name="object 6"/>
          <p:cNvSpPr txBox="1"/>
          <p:nvPr/>
        </p:nvSpPr>
        <p:spPr>
          <a:xfrm>
            <a:off x="1332125" y="3759280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sp>
        <p:nvSpPr>
          <p:cNvPr id="30" name="object 5"/>
          <p:cNvSpPr txBox="1"/>
          <p:nvPr/>
        </p:nvSpPr>
        <p:spPr>
          <a:xfrm>
            <a:off x="5426815" y="6116930"/>
            <a:ext cx="542241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Age</a:t>
            </a:r>
            <a:endParaRPr sz="2400">
              <a:cs typeface="Calibri"/>
            </a:endParaRPr>
          </a:p>
        </p:txBody>
      </p:sp>
      <p:grpSp>
        <p:nvGrpSpPr>
          <p:cNvPr id="31" name="Group 30"/>
          <p:cNvGrpSpPr/>
          <p:nvPr/>
        </p:nvGrpSpPr>
        <p:grpSpPr>
          <a:xfrm>
            <a:off x="2383438" y="1888930"/>
            <a:ext cx="6303362" cy="4054670"/>
            <a:chOff x="2343901" y="1923700"/>
            <a:chExt cx="6303362" cy="4054670"/>
          </a:xfrm>
        </p:grpSpPr>
        <p:sp>
          <p:nvSpPr>
            <p:cNvPr id="32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33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object 5"/>
          <p:cNvSpPr txBox="1"/>
          <p:nvPr/>
        </p:nvSpPr>
        <p:spPr>
          <a:xfrm>
            <a:off x="1041016" y="545066"/>
            <a:ext cx="7874384" cy="897682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 lvl="0">
              <a:lnSpc>
                <a:spcPts val="3400"/>
              </a:lnSpc>
              <a:spcBef>
                <a:spcPts val="170"/>
              </a:spcBef>
            </a:pPr>
            <a:r>
              <a:rPr lang="en-US" sz="4800" spc="0" baseline="1706" dirty="0" smtClean="0">
                <a:solidFill>
                  <a:srgbClr val="4E81BC"/>
                </a:solidFill>
                <a:latin typeface="+mj-lt"/>
                <a:cs typeface="Calibri"/>
              </a:rPr>
              <a:t>Cosine </a:t>
            </a:r>
            <a:r>
              <a:rPr sz="4800" spc="0" baseline="1706" dirty="0" smtClean="0">
                <a:solidFill>
                  <a:srgbClr val="4E81BC"/>
                </a:solidFill>
                <a:latin typeface="+mj-lt"/>
                <a:cs typeface="Calibri"/>
              </a:rPr>
              <a:t>Distance</a:t>
            </a:r>
            <a:r>
              <a:rPr lang="en-US" sz="4800" spc="0" baseline="1706" dirty="0" smtClean="0">
                <a:solidFill>
                  <a:srgbClr val="4E81BC"/>
                </a:solidFill>
                <a:latin typeface="+mj-lt"/>
                <a:cs typeface="Calibri"/>
              </a:rPr>
              <a:t> is better for text data  </a:t>
            </a:r>
            <a:r>
              <a:rPr lang="en-US" sz="4800" baseline="1706" dirty="0" smtClean="0">
                <a:solidFill>
                  <a:srgbClr val="7F7E7E"/>
                </a:solidFill>
                <a:latin typeface="+mj-lt"/>
                <a:cs typeface="Calibri"/>
              </a:rPr>
              <a:t> </a:t>
            </a:r>
          </a:p>
          <a:p>
            <a:pPr marL="12700" lvl="0">
              <a:lnSpc>
                <a:spcPts val="3400"/>
              </a:lnSpc>
              <a:spcBef>
                <a:spcPts val="170"/>
              </a:spcBef>
            </a:pPr>
            <a:r>
              <a:rPr lang="en-US" sz="4800" baseline="1950" dirty="0" smtClean="0">
                <a:solidFill>
                  <a:srgbClr val="984706"/>
                </a:solidFill>
                <a:latin typeface="+mj-lt"/>
                <a:cs typeface="Calibri"/>
              </a:rPr>
              <a:t>Euclidean Distance is sensitive to doc. length</a:t>
            </a:r>
            <a:endParaRPr lang="en-US" sz="4800" dirty="0">
              <a:solidFill>
                <a:prstClr val="black"/>
              </a:solidFill>
              <a:latin typeface="+mj-lt"/>
              <a:cs typeface="Calibri"/>
            </a:endParaRPr>
          </a:p>
        </p:txBody>
      </p:sp>
      <p:sp>
        <p:nvSpPr>
          <p:cNvPr id="12" name="object 6"/>
          <p:cNvSpPr txBox="1"/>
          <p:nvPr/>
        </p:nvSpPr>
        <p:spPr>
          <a:xfrm>
            <a:off x="1981199" y="3759280"/>
            <a:ext cx="343747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lang="en-US" sz="3600" baseline="2275" dirty="0">
                <a:solidFill>
                  <a:srgbClr val="9BBA58"/>
                </a:solidFill>
                <a:cs typeface="Calibri"/>
              </a:rPr>
              <a:t>Hi</a:t>
            </a:r>
            <a:endParaRPr lang="en-US" sz="2400" dirty="0">
              <a:cs typeface="Calibri"/>
            </a:endParaRPr>
          </a:p>
          <a:p>
            <a:pPr marL="12700">
              <a:lnSpc>
                <a:spcPts val="2600"/>
              </a:lnSpc>
              <a:spcBef>
                <a:spcPts val="130"/>
              </a:spcBef>
            </a:pPr>
            <a:endParaRPr sz="2400" dirty="0">
              <a:cs typeface="Calibri"/>
            </a:endParaRPr>
          </a:p>
        </p:txBody>
      </p:sp>
      <p:sp>
        <p:nvSpPr>
          <p:cNvPr id="20" name="object 5"/>
          <p:cNvSpPr txBox="1"/>
          <p:nvPr/>
        </p:nvSpPr>
        <p:spPr>
          <a:xfrm>
            <a:off x="5071271" y="6116930"/>
            <a:ext cx="1253330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 algn="ctr">
              <a:lnSpc>
                <a:spcPts val="2600"/>
              </a:lnSpc>
              <a:spcBef>
                <a:spcPts val="130"/>
              </a:spcBef>
            </a:pPr>
            <a:r>
              <a:rPr lang="en-US" sz="3600" baseline="2275" dirty="0" smtClean="0">
                <a:solidFill>
                  <a:srgbClr val="9BBA58"/>
                </a:solidFill>
                <a:cs typeface="Calibri"/>
              </a:rPr>
              <a:t>Bo</a:t>
            </a:r>
            <a:endParaRPr sz="2400" dirty="0">
              <a:cs typeface="Calibri"/>
            </a:endParaRPr>
          </a:p>
        </p:txBody>
      </p:sp>
      <p:grpSp>
        <p:nvGrpSpPr>
          <p:cNvPr id="21" name="Group 20"/>
          <p:cNvGrpSpPr/>
          <p:nvPr/>
        </p:nvGrpSpPr>
        <p:grpSpPr>
          <a:xfrm>
            <a:off x="2383438" y="1888930"/>
            <a:ext cx="6303362" cy="4054670"/>
            <a:chOff x="2343901" y="1923700"/>
            <a:chExt cx="6303362" cy="4054670"/>
          </a:xfrm>
        </p:grpSpPr>
        <p:sp>
          <p:nvSpPr>
            <p:cNvPr id="22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23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object 5"/>
          <p:cNvSpPr txBox="1"/>
          <p:nvPr/>
        </p:nvSpPr>
        <p:spPr>
          <a:xfrm>
            <a:off x="1041016" y="545066"/>
            <a:ext cx="7874384" cy="897682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 lvl="0">
              <a:lnSpc>
                <a:spcPts val="3400"/>
              </a:lnSpc>
              <a:spcBef>
                <a:spcPts val="170"/>
              </a:spcBef>
            </a:pPr>
            <a:r>
              <a:rPr lang="en-US" sz="4800" spc="0" baseline="1706" dirty="0" smtClean="0">
                <a:solidFill>
                  <a:srgbClr val="4E81BC"/>
                </a:solidFill>
                <a:latin typeface="+mj-lt"/>
                <a:cs typeface="Calibri"/>
              </a:rPr>
              <a:t>Cosine </a:t>
            </a:r>
            <a:r>
              <a:rPr sz="4800" spc="0" baseline="1706" dirty="0" smtClean="0">
                <a:solidFill>
                  <a:srgbClr val="4E81BC"/>
                </a:solidFill>
                <a:latin typeface="+mj-lt"/>
                <a:cs typeface="Calibri"/>
              </a:rPr>
              <a:t>Distance</a:t>
            </a:r>
            <a:r>
              <a:rPr lang="en-US" sz="4800" spc="0" baseline="1706" dirty="0" smtClean="0">
                <a:solidFill>
                  <a:srgbClr val="4E81BC"/>
                </a:solidFill>
                <a:latin typeface="+mj-lt"/>
                <a:cs typeface="Calibri"/>
              </a:rPr>
              <a:t> is better for text data  </a:t>
            </a:r>
            <a:r>
              <a:rPr lang="en-US" sz="4800" baseline="1706" dirty="0" smtClean="0">
                <a:solidFill>
                  <a:srgbClr val="7F7E7E"/>
                </a:solidFill>
                <a:latin typeface="+mj-lt"/>
                <a:cs typeface="Calibri"/>
              </a:rPr>
              <a:t> </a:t>
            </a:r>
          </a:p>
          <a:p>
            <a:pPr marL="12700" lvl="0">
              <a:lnSpc>
                <a:spcPts val="3400"/>
              </a:lnSpc>
              <a:spcBef>
                <a:spcPts val="170"/>
              </a:spcBef>
            </a:pPr>
            <a:r>
              <a:rPr lang="en-US" sz="4800" baseline="1950" dirty="0" smtClean="0">
                <a:solidFill>
                  <a:srgbClr val="984706"/>
                </a:solidFill>
                <a:latin typeface="+mj-lt"/>
                <a:cs typeface="Calibri"/>
              </a:rPr>
              <a:t>Euclidean Distance is sensitive to doc. length</a:t>
            </a:r>
            <a:endParaRPr lang="en-US" sz="4800" dirty="0">
              <a:solidFill>
                <a:prstClr val="black"/>
              </a:solidFill>
              <a:latin typeface="+mj-lt"/>
              <a:cs typeface="Calibri"/>
            </a:endParaRPr>
          </a:p>
        </p:txBody>
      </p:sp>
      <p:sp>
        <p:nvSpPr>
          <p:cNvPr id="24" name="object 6"/>
          <p:cNvSpPr txBox="1"/>
          <p:nvPr/>
        </p:nvSpPr>
        <p:spPr>
          <a:xfrm>
            <a:off x="1981199" y="3759280"/>
            <a:ext cx="343747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lang="en-US" sz="3600" baseline="2275" dirty="0">
                <a:solidFill>
                  <a:srgbClr val="9BBA58"/>
                </a:solidFill>
                <a:cs typeface="Calibri"/>
              </a:rPr>
              <a:t>Hi</a:t>
            </a:r>
            <a:endParaRPr lang="en-US" sz="2400" dirty="0">
              <a:cs typeface="Calibri"/>
            </a:endParaRPr>
          </a:p>
          <a:p>
            <a:pPr marL="12700">
              <a:lnSpc>
                <a:spcPts val="2600"/>
              </a:lnSpc>
              <a:spcBef>
                <a:spcPts val="130"/>
              </a:spcBef>
            </a:pPr>
            <a:endParaRPr sz="2400" dirty="0">
              <a:cs typeface="Calibri"/>
            </a:endParaRPr>
          </a:p>
        </p:txBody>
      </p:sp>
      <p:sp>
        <p:nvSpPr>
          <p:cNvPr id="25" name="object 5"/>
          <p:cNvSpPr txBox="1"/>
          <p:nvPr/>
        </p:nvSpPr>
        <p:spPr>
          <a:xfrm>
            <a:off x="5071271" y="6116930"/>
            <a:ext cx="1253330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 algn="ctr">
              <a:lnSpc>
                <a:spcPts val="2600"/>
              </a:lnSpc>
              <a:spcBef>
                <a:spcPts val="130"/>
              </a:spcBef>
            </a:pPr>
            <a:r>
              <a:rPr lang="en-US" sz="3600" baseline="2275" dirty="0" smtClean="0">
                <a:solidFill>
                  <a:srgbClr val="9BBA58"/>
                </a:solidFill>
                <a:cs typeface="Calibri"/>
              </a:rPr>
              <a:t>Bo</a:t>
            </a:r>
            <a:endParaRPr sz="2400" dirty="0">
              <a:cs typeface="Calibri"/>
            </a:endParaRPr>
          </a:p>
        </p:txBody>
      </p:sp>
      <p:grpSp>
        <p:nvGrpSpPr>
          <p:cNvPr id="26" name="Group 25"/>
          <p:cNvGrpSpPr/>
          <p:nvPr/>
        </p:nvGrpSpPr>
        <p:grpSpPr>
          <a:xfrm>
            <a:off x="2383438" y="1888930"/>
            <a:ext cx="6303362" cy="4054670"/>
            <a:chOff x="2343901" y="1923700"/>
            <a:chExt cx="6303362" cy="4054670"/>
          </a:xfrm>
        </p:grpSpPr>
        <p:sp>
          <p:nvSpPr>
            <p:cNvPr id="27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28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  <p:sp>
        <p:nvSpPr>
          <p:cNvPr id="36" name="object 6"/>
          <p:cNvSpPr txBox="1"/>
          <p:nvPr/>
        </p:nvSpPr>
        <p:spPr>
          <a:xfrm>
            <a:off x="5697936" y="1906202"/>
            <a:ext cx="3065064" cy="666849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lang="en-US" sz="3600" baseline="2275" dirty="0" smtClean="0">
                <a:solidFill>
                  <a:srgbClr val="7F7E7E"/>
                </a:solidFill>
                <a:cs typeface="Calibri"/>
              </a:rPr>
              <a:t>“Bo, Hi! Hi? Hi Bo. Bo. Hi? Hi. Hi</a:t>
            </a:r>
            <a:r>
              <a:rPr lang="en-US" sz="3600" baseline="2275" dirty="0">
                <a:solidFill>
                  <a:srgbClr val="7F7E7E"/>
                </a:solidFill>
                <a:cs typeface="Calibri"/>
              </a:rPr>
              <a:t>!”</a:t>
            </a:r>
            <a:endParaRPr sz="2400" dirty="0">
              <a:cs typeface="Calibri"/>
            </a:endParaRPr>
          </a:p>
        </p:txBody>
      </p:sp>
      <p:sp>
        <p:nvSpPr>
          <p:cNvPr id="40" name="object 6"/>
          <p:cNvSpPr txBox="1"/>
          <p:nvPr/>
        </p:nvSpPr>
        <p:spPr>
          <a:xfrm>
            <a:off x="3728686" y="4376928"/>
            <a:ext cx="1833914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lang="en-US" sz="3600" baseline="2275" dirty="0">
                <a:solidFill>
                  <a:srgbClr val="7F7E7E"/>
                </a:solidFill>
                <a:cs typeface="Calibri"/>
              </a:rPr>
              <a:t>“</a:t>
            </a:r>
            <a:r>
              <a:rPr lang="en-US" sz="3600" baseline="2275" dirty="0" smtClean="0">
                <a:solidFill>
                  <a:srgbClr val="7F7E7E"/>
                </a:solidFill>
                <a:cs typeface="Calibri"/>
              </a:rPr>
              <a:t>Hi Bo. Hi</a:t>
            </a:r>
            <a:r>
              <a:rPr lang="en-US" sz="3600" baseline="2275" dirty="0">
                <a:solidFill>
                  <a:srgbClr val="7F7E7E"/>
                </a:solidFill>
                <a:cs typeface="Calibri"/>
              </a:rPr>
              <a:t>!”</a:t>
            </a:r>
            <a:endParaRPr sz="2400" dirty="0">
              <a:cs typeface="Calibri"/>
            </a:endParaRPr>
          </a:p>
        </p:txBody>
      </p:sp>
      <p:sp>
        <p:nvSpPr>
          <p:cNvPr id="41" name="object 48"/>
          <p:cNvSpPr/>
          <p:nvPr/>
        </p:nvSpPr>
        <p:spPr>
          <a:xfrm>
            <a:off x="3233928" y="437692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2" name="object 68"/>
          <p:cNvSpPr/>
          <p:nvPr/>
        </p:nvSpPr>
        <p:spPr>
          <a:xfrm>
            <a:off x="5062728" y="188893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object 27"/>
          <p:cNvSpPr/>
          <p:nvPr/>
        </p:nvSpPr>
        <p:spPr>
          <a:xfrm>
            <a:off x="2208181" y="4550664"/>
            <a:ext cx="174744" cy="0"/>
          </a:xfrm>
          <a:custGeom>
            <a:avLst/>
            <a:gdLst/>
            <a:ahLst/>
            <a:cxnLst/>
            <a:rect l="l" t="t" r="r" b="b"/>
            <a:pathLst>
              <a:path w="174744">
                <a:moveTo>
                  <a:pt x="174744" y="0"/>
                </a:moveTo>
                <a:lnTo>
                  <a:pt x="0" y="0"/>
                </a:lnTo>
              </a:path>
            </a:pathLst>
          </a:custGeom>
          <a:ln w="25399">
            <a:solidFill>
              <a:srgbClr val="6094C9"/>
            </a:solidFill>
            <a:headEnd type="none"/>
            <a:tailEnd type="none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9" name="object 29"/>
          <p:cNvSpPr/>
          <p:nvPr/>
        </p:nvSpPr>
        <p:spPr>
          <a:xfrm>
            <a:off x="2208182" y="2092960"/>
            <a:ext cx="174743" cy="1"/>
          </a:xfrm>
          <a:custGeom>
            <a:avLst/>
            <a:gdLst/>
            <a:ahLst/>
            <a:cxnLst/>
            <a:rect l="l" t="t" r="r" b="b"/>
            <a:pathLst>
              <a:path w="174743" h="1">
                <a:moveTo>
                  <a:pt x="174743" y="0"/>
                </a:moveTo>
                <a:lnTo>
                  <a:pt x="0" y="1"/>
                </a:lnTo>
              </a:path>
            </a:pathLst>
          </a:custGeom>
          <a:ln w="25399">
            <a:solidFill>
              <a:srgbClr val="6094C9"/>
            </a:solidFill>
            <a:headEnd type="none"/>
            <a:tailEnd type="none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1" name="object 31"/>
          <p:cNvSpPr/>
          <p:nvPr/>
        </p:nvSpPr>
        <p:spPr>
          <a:xfrm>
            <a:off x="3370852" y="5943600"/>
            <a:ext cx="1" cy="174743"/>
          </a:xfrm>
          <a:custGeom>
            <a:avLst/>
            <a:gdLst/>
            <a:ahLst/>
            <a:cxnLst/>
            <a:rect l="l" t="t" r="r" b="b"/>
            <a:pathLst>
              <a:path w="1" h="174743">
                <a:moveTo>
                  <a:pt x="1" y="174743"/>
                </a:moveTo>
                <a:lnTo>
                  <a:pt x="0" y="0"/>
                </a:lnTo>
              </a:path>
            </a:pathLst>
          </a:custGeom>
          <a:ln w="25399">
            <a:solidFill>
              <a:srgbClr val="6094C9"/>
            </a:solidFill>
            <a:headEnd type="none"/>
            <a:tailEnd type="none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3" name="object 33"/>
          <p:cNvSpPr/>
          <p:nvPr/>
        </p:nvSpPr>
        <p:spPr>
          <a:xfrm>
            <a:off x="5074811" y="5943600"/>
            <a:ext cx="1" cy="174743"/>
          </a:xfrm>
          <a:custGeom>
            <a:avLst/>
            <a:gdLst/>
            <a:ahLst/>
            <a:cxnLst/>
            <a:rect l="l" t="t" r="r" b="b"/>
            <a:pathLst>
              <a:path w="1" h="174743">
                <a:moveTo>
                  <a:pt x="1" y="174743"/>
                </a:moveTo>
                <a:lnTo>
                  <a:pt x="0" y="0"/>
                </a:lnTo>
              </a:path>
            </a:pathLst>
          </a:custGeom>
          <a:ln w="25399">
            <a:solidFill>
              <a:srgbClr val="6094C9"/>
            </a:solidFill>
            <a:headEnd type="none"/>
            <a:tailEnd type="none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" name="object 8"/>
          <p:cNvSpPr txBox="1"/>
          <p:nvPr/>
        </p:nvSpPr>
        <p:spPr>
          <a:xfrm>
            <a:off x="2001594" y="1933665"/>
            <a:ext cx="225603" cy="33019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latin typeface="Calibri"/>
                <a:cs typeface="Calibri"/>
              </a:rPr>
              <a:t>6</a:t>
            </a:r>
            <a:endParaRPr sz="2400">
              <a:latin typeface="Calibri"/>
              <a:cs typeface="Calibri"/>
            </a:endParaRPr>
          </a:p>
        </p:txBody>
      </p:sp>
      <p:sp>
        <p:nvSpPr>
          <p:cNvPr id="6" name="object 6"/>
          <p:cNvSpPr txBox="1"/>
          <p:nvPr/>
        </p:nvSpPr>
        <p:spPr>
          <a:xfrm>
            <a:off x="2001594" y="4385564"/>
            <a:ext cx="225603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latin typeface="Calibri"/>
                <a:cs typeface="Calibri"/>
              </a:rPr>
              <a:t>2</a:t>
            </a:r>
            <a:endParaRPr sz="2400" dirty="0">
              <a:latin typeface="Calibri"/>
              <a:cs typeface="Calibri"/>
            </a:endParaRPr>
          </a:p>
        </p:txBody>
      </p:sp>
      <p:sp>
        <p:nvSpPr>
          <p:cNvPr id="4" name="object 4"/>
          <p:cNvSpPr txBox="1"/>
          <p:nvPr/>
        </p:nvSpPr>
        <p:spPr>
          <a:xfrm>
            <a:off x="4978208" y="6171975"/>
            <a:ext cx="225603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latin typeface="Calibri"/>
                <a:cs typeface="Calibri"/>
              </a:rPr>
              <a:t>3</a:t>
            </a:r>
            <a:endParaRPr sz="2400" dirty="0">
              <a:latin typeface="Calibri"/>
              <a:cs typeface="Calibri"/>
            </a:endParaRPr>
          </a:p>
        </p:txBody>
      </p:sp>
      <p:sp>
        <p:nvSpPr>
          <p:cNvPr id="3" name="object 3"/>
          <p:cNvSpPr txBox="1"/>
          <p:nvPr/>
        </p:nvSpPr>
        <p:spPr>
          <a:xfrm>
            <a:off x="3270453" y="6176535"/>
            <a:ext cx="225603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latin typeface="Calibri"/>
                <a:cs typeface="Calibri"/>
              </a:rPr>
              <a:t>1</a:t>
            </a:r>
            <a:endParaRPr sz="2400" dirty="0">
              <a:latin typeface="Calibri"/>
              <a:cs typeface="Calibri"/>
            </a:endParaRPr>
          </a:p>
        </p:txBody>
      </p:sp>
      <p:sp>
        <p:nvSpPr>
          <p:cNvPr id="34" name="object 5"/>
          <p:cNvSpPr txBox="1"/>
          <p:nvPr/>
        </p:nvSpPr>
        <p:spPr>
          <a:xfrm>
            <a:off x="1041016" y="545066"/>
            <a:ext cx="7874384" cy="897682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 lvl="0">
              <a:lnSpc>
                <a:spcPts val="3400"/>
              </a:lnSpc>
              <a:spcBef>
                <a:spcPts val="170"/>
              </a:spcBef>
            </a:pPr>
            <a:r>
              <a:rPr lang="en-US" sz="4800" spc="0" baseline="1706" dirty="0" smtClean="0">
                <a:solidFill>
                  <a:srgbClr val="4E81BC"/>
                </a:solidFill>
                <a:latin typeface="+mj-lt"/>
                <a:cs typeface="Calibri"/>
              </a:rPr>
              <a:t>Cosine </a:t>
            </a:r>
            <a:r>
              <a:rPr sz="4800" spc="0" baseline="1706" dirty="0" smtClean="0">
                <a:solidFill>
                  <a:srgbClr val="4E81BC"/>
                </a:solidFill>
                <a:latin typeface="+mj-lt"/>
                <a:cs typeface="Calibri"/>
              </a:rPr>
              <a:t>Distance</a:t>
            </a:r>
            <a:r>
              <a:rPr lang="en-US" sz="4800" spc="0" baseline="1706" dirty="0" smtClean="0">
                <a:solidFill>
                  <a:srgbClr val="4E81BC"/>
                </a:solidFill>
                <a:latin typeface="+mj-lt"/>
                <a:cs typeface="Calibri"/>
              </a:rPr>
              <a:t> is better for text data  </a:t>
            </a:r>
            <a:r>
              <a:rPr lang="en-US" sz="4800" baseline="1706" dirty="0" smtClean="0">
                <a:solidFill>
                  <a:srgbClr val="7F7E7E"/>
                </a:solidFill>
                <a:latin typeface="+mj-lt"/>
                <a:cs typeface="Calibri"/>
              </a:rPr>
              <a:t> </a:t>
            </a:r>
          </a:p>
          <a:p>
            <a:pPr marL="12700" lvl="0">
              <a:lnSpc>
                <a:spcPts val="3400"/>
              </a:lnSpc>
              <a:spcBef>
                <a:spcPts val="170"/>
              </a:spcBef>
            </a:pPr>
            <a:r>
              <a:rPr lang="en-US" sz="4800" baseline="1950" dirty="0" smtClean="0">
                <a:solidFill>
                  <a:srgbClr val="984706"/>
                </a:solidFill>
                <a:latin typeface="+mj-lt"/>
                <a:cs typeface="Calibri"/>
              </a:rPr>
              <a:t>Euclidean Distance is sensitive to doc. length</a:t>
            </a:r>
            <a:endParaRPr lang="en-US" sz="4800" dirty="0">
              <a:solidFill>
                <a:prstClr val="black"/>
              </a:solidFill>
              <a:latin typeface="+mj-lt"/>
              <a:cs typeface="Calibri"/>
            </a:endParaRPr>
          </a:p>
        </p:txBody>
      </p:sp>
      <p:sp>
        <p:nvSpPr>
          <p:cNvPr id="35" name="object 6"/>
          <p:cNvSpPr txBox="1"/>
          <p:nvPr/>
        </p:nvSpPr>
        <p:spPr>
          <a:xfrm>
            <a:off x="1981199" y="3759280"/>
            <a:ext cx="343747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lang="en-US" sz="3600" baseline="2275" dirty="0">
                <a:solidFill>
                  <a:srgbClr val="9BBA58"/>
                </a:solidFill>
                <a:cs typeface="Calibri"/>
              </a:rPr>
              <a:t>Hi</a:t>
            </a:r>
            <a:endParaRPr lang="en-US" sz="2400" dirty="0">
              <a:cs typeface="Calibri"/>
            </a:endParaRPr>
          </a:p>
          <a:p>
            <a:pPr marL="12700">
              <a:lnSpc>
                <a:spcPts val="2600"/>
              </a:lnSpc>
              <a:spcBef>
                <a:spcPts val="130"/>
              </a:spcBef>
            </a:pPr>
            <a:endParaRPr sz="2400" dirty="0">
              <a:cs typeface="Calibri"/>
            </a:endParaRPr>
          </a:p>
        </p:txBody>
      </p:sp>
      <p:sp>
        <p:nvSpPr>
          <p:cNvPr id="36" name="object 5"/>
          <p:cNvSpPr txBox="1"/>
          <p:nvPr/>
        </p:nvSpPr>
        <p:spPr>
          <a:xfrm>
            <a:off x="5071271" y="6116930"/>
            <a:ext cx="1253330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 algn="ctr">
              <a:lnSpc>
                <a:spcPts val="2600"/>
              </a:lnSpc>
              <a:spcBef>
                <a:spcPts val="130"/>
              </a:spcBef>
            </a:pPr>
            <a:r>
              <a:rPr lang="en-US" sz="3600" baseline="2275" dirty="0" smtClean="0">
                <a:solidFill>
                  <a:srgbClr val="9BBA58"/>
                </a:solidFill>
                <a:cs typeface="Calibri"/>
              </a:rPr>
              <a:t>Bo</a:t>
            </a:r>
            <a:endParaRPr sz="2400" dirty="0">
              <a:cs typeface="Calibri"/>
            </a:endParaRPr>
          </a:p>
        </p:txBody>
      </p:sp>
      <p:sp>
        <p:nvSpPr>
          <p:cNvPr id="38" name="object 67"/>
          <p:cNvSpPr/>
          <p:nvPr/>
        </p:nvSpPr>
        <p:spPr>
          <a:xfrm>
            <a:off x="2383438" y="1888930"/>
            <a:ext cx="0" cy="4054670"/>
          </a:xfrm>
          <a:custGeom>
            <a:avLst/>
            <a:gdLst/>
            <a:ahLst/>
            <a:cxnLst/>
            <a:rect l="l" t="t" r="r" b="b"/>
            <a:pathLst>
              <a:path h="4054670">
                <a:moveTo>
                  <a:pt x="0" y="4054670"/>
                </a:moveTo>
                <a:lnTo>
                  <a:pt x="0" y="0"/>
                </a:lnTo>
              </a:path>
            </a:pathLst>
          </a:custGeom>
          <a:ln w="25399">
            <a:solidFill>
              <a:srgbClr val="6094C9"/>
            </a:solidFill>
            <a:headEnd type="none"/>
            <a:tailEnd type="arrow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9" name="object 70"/>
          <p:cNvSpPr/>
          <p:nvPr/>
        </p:nvSpPr>
        <p:spPr>
          <a:xfrm>
            <a:off x="2383438" y="5943600"/>
            <a:ext cx="6303362" cy="0"/>
          </a:xfrm>
          <a:custGeom>
            <a:avLst/>
            <a:gdLst/>
            <a:ahLst/>
            <a:cxnLst/>
            <a:rect l="l" t="t" r="r" b="b"/>
            <a:pathLst>
              <a:path w="6303362">
                <a:moveTo>
                  <a:pt x="0" y="0"/>
                </a:moveTo>
                <a:lnTo>
                  <a:pt x="6303362" y="0"/>
                </a:lnTo>
              </a:path>
            </a:pathLst>
          </a:custGeom>
          <a:ln w="25399">
            <a:solidFill>
              <a:srgbClr val="6094C9"/>
            </a:solidFill>
            <a:headEnd type="none"/>
            <a:tailEnd type="arrow"/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2" name="object 6"/>
          <p:cNvSpPr txBox="1"/>
          <p:nvPr/>
        </p:nvSpPr>
        <p:spPr>
          <a:xfrm>
            <a:off x="3728686" y="4376928"/>
            <a:ext cx="1833914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lang="en-US" sz="3600" baseline="2275" dirty="0">
                <a:solidFill>
                  <a:srgbClr val="7F7E7E"/>
                </a:solidFill>
                <a:cs typeface="Calibri"/>
              </a:rPr>
              <a:t>“</a:t>
            </a:r>
            <a:r>
              <a:rPr lang="en-US" sz="3600" baseline="2275" dirty="0" smtClean="0">
                <a:solidFill>
                  <a:srgbClr val="7F7E7E"/>
                </a:solidFill>
                <a:cs typeface="Calibri"/>
              </a:rPr>
              <a:t>Hi Bo. Hi</a:t>
            </a:r>
            <a:r>
              <a:rPr lang="en-US" sz="3600" baseline="2275" dirty="0">
                <a:solidFill>
                  <a:srgbClr val="7F7E7E"/>
                </a:solidFill>
                <a:cs typeface="Calibri"/>
              </a:rPr>
              <a:t>!”</a:t>
            </a:r>
            <a:endParaRPr sz="2400" dirty="0">
              <a:cs typeface="Calibri"/>
            </a:endParaRPr>
          </a:p>
        </p:txBody>
      </p:sp>
      <p:sp>
        <p:nvSpPr>
          <p:cNvPr id="43" name="object 6"/>
          <p:cNvSpPr txBox="1"/>
          <p:nvPr/>
        </p:nvSpPr>
        <p:spPr>
          <a:xfrm>
            <a:off x="5697936" y="1906202"/>
            <a:ext cx="3065064" cy="666849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lang="en-US" sz="3600" baseline="2275" dirty="0" smtClean="0">
                <a:solidFill>
                  <a:srgbClr val="7F7E7E"/>
                </a:solidFill>
                <a:cs typeface="Calibri"/>
              </a:rPr>
              <a:t>“Bo, Hi! Hi? Hi Bo. Bo. Hi? Hi. Hi</a:t>
            </a:r>
            <a:r>
              <a:rPr lang="en-US" sz="3600" baseline="2275" dirty="0">
                <a:solidFill>
                  <a:srgbClr val="7F7E7E"/>
                </a:solidFill>
                <a:cs typeface="Calibri"/>
              </a:rPr>
              <a:t>!”</a:t>
            </a:r>
            <a:endParaRPr sz="2400" dirty="0">
              <a:cs typeface="Calibri"/>
            </a:endParaRPr>
          </a:p>
        </p:txBody>
      </p:sp>
      <p:sp>
        <p:nvSpPr>
          <p:cNvPr id="44" name="object 48"/>
          <p:cNvSpPr/>
          <p:nvPr/>
        </p:nvSpPr>
        <p:spPr>
          <a:xfrm>
            <a:off x="3233928" y="437692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5" name="object 68"/>
          <p:cNvSpPr/>
          <p:nvPr/>
        </p:nvSpPr>
        <p:spPr>
          <a:xfrm>
            <a:off x="5062728" y="188893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object 5"/>
          <p:cNvSpPr txBox="1"/>
          <p:nvPr/>
        </p:nvSpPr>
        <p:spPr>
          <a:xfrm>
            <a:off x="1041016" y="545066"/>
            <a:ext cx="7874384" cy="897682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 lvl="0">
              <a:lnSpc>
                <a:spcPts val="3400"/>
              </a:lnSpc>
              <a:spcBef>
                <a:spcPts val="170"/>
              </a:spcBef>
            </a:pPr>
            <a:r>
              <a:rPr lang="en-US" sz="4800" spc="0" baseline="1706" dirty="0" smtClean="0">
                <a:solidFill>
                  <a:srgbClr val="4E81BC"/>
                </a:solidFill>
                <a:latin typeface="+mj-lt"/>
                <a:cs typeface="Calibri"/>
              </a:rPr>
              <a:t>Cosine </a:t>
            </a:r>
            <a:r>
              <a:rPr sz="4800" spc="0" baseline="1706" dirty="0" smtClean="0">
                <a:solidFill>
                  <a:srgbClr val="4E81BC"/>
                </a:solidFill>
                <a:latin typeface="+mj-lt"/>
                <a:cs typeface="Calibri"/>
              </a:rPr>
              <a:t>Distance</a:t>
            </a:r>
            <a:r>
              <a:rPr lang="en-US" sz="4800" spc="0" baseline="1706" dirty="0" smtClean="0">
                <a:solidFill>
                  <a:srgbClr val="4E81BC"/>
                </a:solidFill>
                <a:latin typeface="+mj-lt"/>
                <a:cs typeface="Calibri"/>
              </a:rPr>
              <a:t> is better for text data  </a:t>
            </a:r>
            <a:r>
              <a:rPr lang="en-US" sz="4800" baseline="1706" dirty="0" smtClean="0">
                <a:solidFill>
                  <a:srgbClr val="7F7E7E"/>
                </a:solidFill>
                <a:latin typeface="+mj-lt"/>
                <a:cs typeface="Calibri"/>
              </a:rPr>
              <a:t> </a:t>
            </a:r>
          </a:p>
          <a:p>
            <a:pPr marL="12700" lvl="0">
              <a:lnSpc>
                <a:spcPts val="3400"/>
              </a:lnSpc>
              <a:spcBef>
                <a:spcPts val="170"/>
              </a:spcBef>
            </a:pPr>
            <a:r>
              <a:rPr lang="en-US" sz="4800" baseline="1950" dirty="0" smtClean="0">
                <a:solidFill>
                  <a:srgbClr val="984706"/>
                </a:solidFill>
                <a:latin typeface="+mj-lt"/>
                <a:cs typeface="Calibri"/>
              </a:rPr>
              <a:t>Euclidean Distance is sensitive to doc. length</a:t>
            </a:r>
            <a:endParaRPr lang="en-US" sz="4800" dirty="0">
              <a:solidFill>
                <a:prstClr val="black"/>
              </a:solidFill>
              <a:latin typeface="+mj-lt"/>
              <a:cs typeface="Calibri"/>
            </a:endParaRPr>
          </a:p>
        </p:txBody>
      </p:sp>
      <p:sp>
        <p:nvSpPr>
          <p:cNvPr id="39" name="object 27"/>
          <p:cNvSpPr/>
          <p:nvPr/>
        </p:nvSpPr>
        <p:spPr>
          <a:xfrm>
            <a:off x="2208181" y="4550664"/>
            <a:ext cx="174744" cy="0"/>
          </a:xfrm>
          <a:custGeom>
            <a:avLst/>
            <a:gdLst/>
            <a:ahLst/>
            <a:cxnLst/>
            <a:rect l="l" t="t" r="r" b="b"/>
            <a:pathLst>
              <a:path w="174744">
                <a:moveTo>
                  <a:pt x="174744" y="0"/>
                </a:moveTo>
                <a:lnTo>
                  <a:pt x="0" y="0"/>
                </a:lnTo>
              </a:path>
            </a:pathLst>
          </a:custGeom>
          <a:ln w="25399">
            <a:solidFill>
              <a:srgbClr val="6094C9"/>
            </a:solidFill>
            <a:headEnd type="none"/>
            <a:tailEnd type="none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0" name="object 29"/>
          <p:cNvSpPr/>
          <p:nvPr/>
        </p:nvSpPr>
        <p:spPr>
          <a:xfrm>
            <a:off x="2208182" y="2092960"/>
            <a:ext cx="174743" cy="1"/>
          </a:xfrm>
          <a:custGeom>
            <a:avLst/>
            <a:gdLst/>
            <a:ahLst/>
            <a:cxnLst/>
            <a:rect l="l" t="t" r="r" b="b"/>
            <a:pathLst>
              <a:path w="174743" h="1">
                <a:moveTo>
                  <a:pt x="174743" y="0"/>
                </a:moveTo>
                <a:lnTo>
                  <a:pt x="0" y="1"/>
                </a:lnTo>
              </a:path>
            </a:pathLst>
          </a:custGeom>
          <a:ln w="25399">
            <a:solidFill>
              <a:srgbClr val="6094C9"/>
            </a:solidFill>
            <a:headEnd type="none"/>
            <a:tailEnd type="none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1" name="object 31"/>
          <p:cNvSpPr/>
          <p:nvPr/>
        </p:nvSpPr>
        <p:spPr>
          <a:xfrm>
            <a:off x="3370852" y="5943600"/>
            <a:ext cx="1" cy="174743"/>
          </a:xfrm>
          <a:custGeom>
            <a:avLst/>
            <a:gdLst/>
            <a:ahLst/>
            <a:cxnLst/>
            <a:rect l="l" t="t" r="r" b="b"/>
            <a:pathLst>
              <a:path w="1" h="174743">
                <a:moveTo>
                  <a:pt x="1" y="174743"/>
                </a:moveTo>
                <a:lnTo>
                  <a:pt x="0" y="0"/>
                </a:lnTo>
              </a:path>
            </a:pathLst>
          </a:custGeom>
          <a:ln w="25399">
            <a:solidFill>
              <a:srgbClr val="6094C9"/>
            </a:solidFill>
            <a:headEnd type="none"/>
            <a:tailEnd type="none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2" name="object 33"/>
          <p:cNvSpPr/>
          <p:nvPr/>
        </p:nvSpPr>
        <p:spPr>
          <a:xfrm>
            <a:off x="5074811" y="5943600"/>
            <a:ext cx="1" cy="174743"/>
          </a:xfrm>
          <a:custGeom>
            <a:avLst/>
            <a:gdLst/>
            <a:ahLst/>
            <a:cxnLst/>
            <a:rect l="l" t="t" r="r" b="b"/>
            <a:pathLst>
              <a:path w="1" h="174743">
                <a:moveTo>
                  <a:pt x="1" y="174743"/>
                </a:moveTo>
                <a:lnTo>
                  <a:pt x="0" y="0"/>
                </a:lnTo>
              </a:path>
            </a:pathLst>
          </a:custGeom>
          <a:ln w="25399">
            <a:solidFill>
              <a:srgbClr val="6094C9"/>
            </a:solidFill>
            <a:headEnd type="none"/>
            <a:tailEnd type="none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3" name="object 8"/>
          <p:cNvSpPr txBox="1"/>
          <p:nvPr/>
        </p:nvSpPr>
        <p:spPr>
          <a:xfrm>
            <a:off x="2001594" y="1933665"/>
            <a:ext cx="225603" cy="33019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latin typeface="Calibri"/>
                <a:cs typeface="Calibri"/>
              </a:rPr>
              <a:t>6</a:t>
            </a:r>
            <a:endParaRPr sz="2400">
              <a:latin typeface="Calibri"/>
              <a:cs typeface="Calibri"/>
            </a:endParaRPr>
          </a:p>
        </p:txBody>
      </p:sp>
      <p:sp>
        <p:nvSpPr>
          <p:cNvPr id="44" name="object 6"/>
          <p:cNvSpPr txBox="1"/>
          <p:nvPr/>
        </p:nvSpPr>
        <p:spPr>
          <a:xfrm>
            <a:off x="2001594" y="4385564"/>
            <a:ext cx="225603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latin typeface="Calibri"/>
                <a:cs typeface="Calibri"/>
              </a:rPr>
              <a:t>2</a:t>
            </a:r>
            <a:endParaRPr sz="2400" dirty="0">
              <a:latin typeface="Calibri"/>
              <a:cs typeface="Calibri"/>
            </a:endParaRPr>
          </a:p>
        </p:txBody>
      </p:sp>
      <p:sp>
        <p:nvSpPr>
          <p:cNvPr id="45" name="object 4"/>
          <p:cNvSpPr txBox="1"/>
          <p:nvPr/>
        </p:nvSpPr>
        <p:spPr>
          <a:xfrm>
            <a:off x="4978208" y="6171975"/>
            <a:ext cx="225603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latin typeface="Calibri"/>
                <a:cs typeface="Calibri"/>
              </a:rPr>
              <a:t>3</a:t>
            </a:r>
            <a:endParaRPr sz="2400" dirty="0">
              <a:latin typeface="Calibri"/>
              <a:cs typeface="Calibri"/>
            </a:endParaRPr>
          </a:p>
        </p:txBody>
      </p:sp>
      <p:sp>
        <p:nvSpPr>
          <p:cNvPr id="46" name="object 3"/>
          <p:cNvSpPr txBox="1"/>
          <p:nvPr/>
        </p:nvSpPr>
        <p:spPr>
          <a:xfrm>
            <a:off x="3270453" y="6176535"/>
            <a:ext cx="225603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latin typeface="Calibri"/>
                <a:cs typeface="Calibri"/>
              </a:rPr>
              <a:t>1</a:t>
            </a:r>
            <a:endParaRPr sz="2400" dirty="0">
              <a:latin typeface="Calibri"/>
              <a:cs typeface="Calibri"/>
            </a:endParaRPr>
          </a:p>
        </p:txBody>
      </p:sp>
      <p:sp>
        <p:nvSpPr>
          <p:cNvPr id="47" name="object 6"/>
          <p:cNvSpPr txBox="1"/>
          <p:nvPr/>
        </p:nvSpPr>
        <p:spPr>
          <a:xfrm>
            <a:off x="1981199" y="3759280"/>
            <a:ext cx="343747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lang="en-US" sz="3600" baseline="2275" dirty="0">
                <a:solidFill>
                  <a:srgbClr val="9BBA58"/>
                </a:solidFill>
                <a:cs typeface="Calibri"/>
              </a:rPr>
              <a:t>Hi</a:t>
            </a:r>
            <a:endParaRPr lang="en-US" sz="2400" dirty="0">
              <a:cs typeface="Calibri"/>
            </a:endParaRPr>
          </a:p>
          <a:p>
            <a:pPr marL="12700">
              <a:lnSpc>
                <a:spcPts val="2600"/>
              </a:lnSpc>
              <a:spcBef>
                <a:spcPts val="130"/>
              </a:spcBef>
            </a:pPr>
            <a:endParaRPr sz="2400" dirty="0">
              <a:cs typeface="Calibri"/>
            </a:endParaRPr>
          </a:p>
        </p:txBody>
      </p:sp>
      <p:sp>
        <p:nvSpPr>
          <p:cNvPr id="48" name="object 5"/>
          <p:cNvSpPr txBox="1"/>
          <p:nvPr/>
        </p:nvSpPr>
        <p:spPr>
          <a:xfrm>
            <a:off x="5071271" y="6116930"/>
            <a:ext cx="1253330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 algn="ctr">
              <a:lnSpc>
                <a:spcPts val="2600"/>
              </a:lnSpc>
              <a:spcBef>
                <a:spcPts val="130"/>
              </a:spcBef>
            </a:pPr>
            <a:r>
              <a:rPr lang="en-US" sz="3600" baseline="2275" dirty="0" smtClean="0">
                <a:solidFill>
                  <a:srgbClr val="9BBA58"/>
                </a:solidFill>
                <a:cs typeface="Calibri"/>
              </a:rPr>
              <a:t>Bo</a:t>
            </a:r>
            <a:endParaRPr sz="2400" dirty="0">
              <a:cs typeface="Calibri"/>
            </a:endParaRPr>
          </a:p>
        </p:txBody>
      </p:sp>
      <p:sp>
        <p:nvSpPr>
          <p:cNvPr id="49" name="object 67"/>
          <p:cNvSpPr/>
          <p:nvPr/>
        </p:nvSpPr>
        <p:spPr>
          <a:xfrm>
            <a:off x="2383438" y="1888930"/>
            <a:ext cx="0" cy="4054670"/>
          </a:xfrm>
          <a:custGeom>
            <a:avLst/>
            <a:gdLst/>
            <a:ahLst/>
            <a:cxnLst/>
            <a:rect l="l" t="t" r="r" b="b"/>
            <a:pathLst>
              <a:path h="4054670">
                <a:moveTo>
                  <a:pt x="0" y="4054670"/>
                </a:moveTo>
                <a:lnTo>
                  <a:pt x="0" y="0"/>
                </a:lnTo>
              </a:path>
            </a:pathLst>
          </a:custGeom>
          <a:ln w="25399">
            <a:solidFill>
              <a:srgbClr val="6094C9"/>
            </a:solidFill>
            <a:headEnd type="none"/>
            <a:tailEnd type="arrow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0" name="object 70"/>
          <p:cNvSpPr/>
          <p:nvPr/>
        </p:nvSpPr>
        <p:spPr>
          <a:xfrm>
            <a:off x="2383438" y="5943600"/>
            <a:ext cx="6303362" cy="0"/>
          </a:xfrm>
          <a:custGeom>
            <a:avLst/>
            <a:gdLst/>
            <a:ahLst/>
            <a:cxnLst/>
            <a:rect l="l" t="t" r="r" b="b"/>
            <a:pathLst>
              <a:path w="6303362">
                <a:moveTo>
                  <a:pt x="0" y="0"/>
                </a:moveTo>
                <a:lnTo>
                  <a:pt x="6303362" y="0"/>
                </a:lnTo>
              </a:path>
            </a:pathLst>
          </a:custGeom>
          <a:ln w="25399">
            <a:solidFill>
              <a:srgbClr val="6094C9"/>
            </a:solidFill>
            <a:headEnd type="none"/>
            <a:tailEnd type="arrow"/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3" name="object 6"/>
          <p:cNvSpPr txBox="1"/>
          <p:nvPr/>
        </p:nvSpPr>
        <p:spPr>
          <a:xfrm>
            <a:off x="3728686" y="4376928"/>
            <a:ext cx="1833914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lang="en-US" sz="3600" baseline="2275" dirty="0">
                <a:solidFill>
                  <a:srgbClr val="7F7E7E"/>
                </a:solidFill>
                <a:cs typeface="Calibri"/>
              </a:rPr>
              <a:t>“</a:t>
            </a:r>
            <a:r>
              <a:rPr lang="en-US" sz="3600" baseline="2275" dirty="0" smtClean="0">
                <a:solidFill>
                  <a:srgbClr val="7F7E7E"/>
                </a:solidFill>
                <a:cs typeface="Calibri"/>
              </a:rPr>
              <a:t>Hi Bo. Hi</a:t>
            </a:r>
            <a:r>
              <a:rPr lang="en-US" sz="3600" baseline="2275" dirty="0">
                <a:solidFill>
                  <a:srgbClr val="7F7E7E"/>
                </a:solidFill>
                <a:cs typeface="Calibri"/>
              </a:rPr>
              <a:t>!”</a:t>
            </a:r>
            <a:endParaRPr sz="2400" dirty="0">
              <a:cs typeface="Calibri"/>
            </a:endParaRPr>
          </a:p>
        </p:txBody>
      </p:sp>
      <p:sp>
        <p:nvSpPr>
          <p:cNvPr id="54" name="object 6"/>
          <p:cNvSpPr txBox="1"/>
          <p:nvPr/>
        </p:nvSpPr>
        <p:spPr>
          <a:xfrm>
            <a:off x="5697936" y="1906202"/>
            <a:ext cx="3065064" cy="666849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lang="en-US" sz="3600" baseline="2275" dirty="0" smtClean="0">
                <a:solidFill>
                  <a:srgbClr val="7F7E7E"/>
                </a:solidFill>
                <a:cs typeface="Calibri"/>
              </a:rPr>
              <a:t>“Bo, Hi! Hi? Hi Bo. Bo. Hi? Hi. Hi</a:t>
            </a:r>
            <a:r>
              <a:rPr lang="en-US" sz="3600" baseline="2275" dirty="0">
                <a:solidFill>
                  <a:srgbClr val="7F7E7E"/>
                </a:solidFill>
                <a:cs typeface="Calibri"/>
              </a:rPr>
              <a:t>!”</a:t>
            </a:r>
            <a:endParaRPr sz="2400" dirty="0">
              <a:cs typeface="Calibri"/>
            </a:endParaRPr>
          </a:p>
        </p:txBody>
      </p:sp>
      <p:sp>
        <p:nvSpPr>
          <p:cNvPr id="56" name="object 6"/>
          <p:cNvSpPr txBox="1"/>
          <p:nvPr/>
        </p:nvSpPr>
        <p:spPr>
          <a:xfrm>
            <a:off x="4624382" y="3107711"/>
            <a:ext cx="2638434" cy="333425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lang="en-US" sz="3600" baseline="2275" dirty="0">
                <a:solidFill>
                  <a:srgbClr val="F69545"/>
                </a:solidFill>
                <a:cs typeface="Calibri"/>
              </a:rPr>
              <a:t>Euclidean </a:t>
            </a:r>
            <a:r>
              <a:rPr lang="en-US" sz="3600" baseline="2275" dirty="0" err="1">
                <a:solidFill>
                  <a:srgbClr val="F69545"/>
                </a:solidFill>
                <a:cs typeface="Calibri"/>
              </a:rPr>
              <a:t>dist</a:t>
            </a:r>
            <a:r>
              <a:rPr lang="en-US" sz="3600" baseline="2275" dirty="0">
                <a:solidFill>
                  <a:srgbClr val="F69545"/>
                </a:solidFill>
                <a:cs typeface="Calibri"/>
              </a:rPr>
              <a:t> = 4.47 </a:t>
            </a:r>
          </a:p>
        </p:txBody>
      </p:sp>
      <p:sp>
        <p:nvSpPr>
          <p:cNvPr id="57" name="object 48"/>
          <p:cNvSpPr/>
          <p:nvPr/>
        </p:nvSpPr>
        <p:spPr>
          <a:xfrm>
            <a:off x="3233928" y="437692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8" name="object 68"/>
          <p:cNvSpPr/>
          <p:nvPr/>
        </p:nvSpPr>
        <p:spPr>
          <a:xfrm>
            <a:off x="5062728" y="188893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9" name="object 70"/>
          <p:cNvSpPr/>
          <p:nvPr/>
        </p:nvSpPr>
        <p:spPr>
          <a:xfrm>
            <a:off x="3496056" y="2209800"/>
            <a:ext cx="1609344" cy="2167126"/>
          </a:xfrm>
          <a:custGeom>
            <a:avLst/>
            <a:gdLst/>
            <a:ahLst/>
            <a:cxnLst/>
            <a:rect l="l" t="t" r="r" b="b"/>
            <a:pathLst>
              <a:path w="226787" h="185432">
                <a:moveTo>
                  <a:pt x="226787" y="0"/>
                </a:moveTo>
                <a:lnTo>
                  <a:pt x="0" y="185432"/>
                </a:lnTo>
              </a:path>
            </a:pathLst>
          </a:custGeom>
          <a:ln w="38099">
            <a:solidFill>
              <a:srgbClr val="6094C9"/>
            </a:solidFill>
            <a:headEnd type="arrow"/>
            <a:tailEnd type="arrow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object 5"/>
          <p:cNvSpPr txBox="1"/>
          <p:nvPr/>
        </p:nvSpPr>
        <p:spPr>
          <a:xfrm>
            <a:off x="1041016" y="545066"/>
            <a:ext cx="7874384" cy="897682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 lvl="0">
              <a:lnSpc>
                <a:spcPts val="3400"/>
              </a:lnSpc>
              <a:spcBef>
                <a:spcPts val="170"/>
              </a:spcBef>
            </a:pPr>
            <a:r>
              <a:rPr lang="en-US" sz="4800" spc="0" baseline="1706" dirty="0" smtClean="0">
                <a:solidFill>
                  <a:srgbClr val="4E81BC"/>
                </a:solidFill>
                <a:latin typeface="+mj-lt"/>
                <a:cs typeface="Calibri"/>
              </a:rPr>
              <a:t>Cosine </a:t>
            </a:r>
            <a:r>
              <a:rPr sz="4800" spc="0" baseline="1706" dirty="0" smtClean="0">
                <a:solidFill>
                  <a:srgbClr val="4E81BC"/>
                </a:solidFill>
                <a:latin typeface="+mj-lt"/>
                <a:cs typeface="Calibri"/>
              </a:rPr>
              <a:t>Distance</a:t>
            </a:r>
            <a:r>
              <a:rPr lang="en-US" sz="4800" spc="0" baseline="1706" dirty="0" smtClean="0">
                <a:solidFill>
                  <a:srgbClr val="4E81BC"/>
                </a:solidFill>
                <a:latin typeface="+mj-lt"/>
                <a:cs typeface="Calibri"/>
              </a:rPr>
              <a:t> is better for text data  </a:t>
            </a:r>
            <a:r>
              <a:rPr lang="en-US" sz="4800" baseline="1706" dirty="0" smtClean="0">
                <a:solidFill>
                  <a:srgbClr val="7F7E7E"/>
                </a:solidFill>
                <a:latin typeface="+mj-lt"/>
                <a:cs typeface="Calibri"/>
              </a:rPr>
              <a:t> </a:t>
            </a:r>
          </a:p>
          <a:p>
            <a:pPr marL="12700" lvl="0">
              <a:lnSpc>
                <a:spcPts val="3400"/>
              </a:lnSpc>
              <a:spcBef>
                <a:spcPts val="170"/>
              </a:spcBef>
            </a:pPr>
            <a:r>
              <a:rPr lang="en-US" sz="4800" baseline="1950" dirty="0" smtClean="0">
                <a:solidFill>
                  <a:srgbClr val="984706"/>
                </a:solidFill>
                <a:latin typeface="+mj-lt"/>
                <a:cs typeface="Calibri"/>
              </a:rPr>
              <a:t>Euclidean Distance is sensitive to doc. length</a:t>
            </a:r>
            <a:endParaRPr lang="en-US" sz="4800" dirty="0">
              <a:solidFill>
                <a:prstClr val="black"/>
              </a:solidFill>
              <a:latin typeface="+mj-lt"/>
              <a:cs typeface="Calibri"/>
            </a:endParaRPr>
          </a:p>
        </p:txBody>
      </p:sp>
      <p:sp>
        <p:nvSpPr>
          <p:cNvPr id="42" name="object 27"/>
          <p:cNvSpPr/>
          <p:nvPr/>
        </p:nvSpPr>
        <p:spPr>
          <a:xfrm>
            <a:off x="2208181" y="4550664"/>
            <a:ext cx="174744" cy="0"/>
          </a:xfrm>
          <a:custGeom>
            <a:avLst/>
            <a:gdLst/>
            <a:ahLst/>
            <a:cxnLst/>
            <a:rect l="l" t="t" r="r" b="b"/>
            <a:pathLst>
              <a:path w="174744">
                <a:moveTo>
                  <a:pt x="174744" y="0"/>
                </a:moveTo>
                <a:lnTo>
                  <a:pt x="0" y="0"/>
                </a:lnTo>
              </a:path>
            </a:pathLst>
          </a:custGeom>
          <a:ln w="25399">
            <a:solidFill>
              <a:srgbClr val="6094C9"/>
            </a:solidFill>
            <a:headEnd type="none"/>
            <a:tailEnd type="none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3" name="object 29"/>
          <p:cNvSpPr/>
          <p:nvPr/>
        </p:nvSpPr>
        <p:spPr>
          <a:xfrm>
            <a:off x="2208182" y="2092960"/>
            <a:ext cx="174743" cy="1"/>
          </a:xfrm>
          <a:custGeom>
            <a:avLst/>
            <a:gdLst/>
            <a:ahLst/>
            <a:cxnLst/>
            <a:rect l="l" t="t" r="r" b="b"/>
            <a:pathLst>
              <a:path w="174743" h="1">
                <a:moveTo>
                  <a:pt x="174743" y="0"/>
                </a:moveTo>
                <a:lnTo>
                  <a:pt x="0" y="1"/>
                </a:lnTo>
              </a:path>
            </a:pathLst>
          </a:custGeom>
          <a:ln w="25399">
            <a:solidFill>
              <a:srgbClr val="6094C9"/>
            </a:solidFill>
            <a:headEnd type="none"/>
            <a:tailEnd type="none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4" name="object 31"/>
          <p:cNvSpPr/>
          <p:nvPr/>
        </p:nvSpPr>
        <p:spPr>
          <a:xfrm>
            <a:off x="3370852" y="5943600"/>
            <a:ext cx="1" cy="174743"/>
          </a:xfrm>
          <a:custGeom>
            <a:avLst/>
            <a:gdLst/>
            <a:ahLst/>
            <a:cxnLst/>
            <a:rect l="l" t="t" r="r" b="b"/>
            <a:pathLst>
              <a:path w="1" h="174743">
                <a:moveTo>
                  <a:pt x="1" y="174743"/>
                </a:moveTo>
                <a:lnTo>
                  <a:pt x="0" y="0"/>
                </a:lnTo>
              </a:path>
            </a:pathLst>
          </a:custGeom>
          <a:ln w="25399">
            <a:solidFill>
              <a:srgbClr val="6094C9"/>
            </a:solidFill>
            <a:headEnd type="none"/>
            <a:tailEnd type="none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5" name="object 33"/>
          <p:cNvSpPr/>
          <p:nvPr/>
        </p:nvSpPr>
        <p:spPr>
          <a:xfrm>
            <a:off x="5074811" y="5943600"/>
            <a:ext cx="1" cy="174743"/>
          </a:xfrm>
          <a:custGeom>
            <a:avLst/>
            <a:gdLst/>
            <a:ahLst/>
            <a:cxnLst/>
            <a:rect l="l" t="t" r="r" b="b"/>
            <a:pathLst>
              <a:path w="1" h="174743">
                <a:moveTo>
                  <a:pt x="1" y="174743"/>
                </a:moveTo>
                <a:lnTo>
                  <a:pt x="0" y="0"/>
                </a:lnTo>
              </a:path>
            </a:pathLst>
          </a:custGeom>
          <a:ln w="25399">
            <a:solidFill>
              <a:srgbClr val="6094C9"/>
            </a:solidFill>
            <a:headEnd type="none"/>
            <a:tailEnd type="none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6" name="object 8"/>
          <p:cNvSpPr txBox="1"/>
          <p:nvPr/>
        </p:nvSpPr>
        <p:spPr>
          <a:xfrm>
            <a:off x="2001594" y="1933665"/>
            <a:ext cx="225603" cy="33019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latin typeface="Calibri"/>
                <a:cs typeface="Calibri"/>
              </a:rPr>
              <a:t>6</a:t>
            </a:r>
            <a:endParaRPr sz="2400">
              <a:latin typeface="Calibri"/>
              <a:cs typeface="Calibri"/>
            </a:endParaRPr>
          </a:p>
        </p:txBody>
      </p:sp>
      <p:sp>
        <p:nvSpPr>
          <p:cNvPr id="47" name="object 6"/>
          <p:cNvSpPr txBox="1"/>
          <p:nvPr/>
        </p:nvSpPr>
        <p:spPr>
          <a:xfrm>
            <a:off x="2001594" y="4385564"/>
            <a:ext cx="225603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latin typeface="Calibri"/>
                <a:cs typeface="Calibri"/>
              </a:rPr>
              <a:t>2</a:t>
            </a:r>
            <a:endParaRPr sz="2400" dirty="0">
              <a:latin typeface="Calibri"/>
              <a:cs typeface="Calibri"/>
            </a:endParaRPr>
          </a:p>
        </p:txBody>
      </p:sp>
      <p:sp>
        <p:nvSpPr>
          <p:cNvPr id="48" name="object 4"/>
          <p:cNvSpPr txBox="1"/>
          <p:nvPr/>
        </p:nvSpPr>
        <p:spPr>
          <a:xfrm>
            <a:off x="4978208" y="6171975"/>
            <a:ext cx="225603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latin typeface="Calibri"/>
                <a:cs typeface="Calibri"/>
              </a:rPr>
              <a:t>3</a:t>
            </a:r>
            <a:endParaRPr sz="2400" dirty="0">
              <a:latin typeface="Calibri"/>
              <a:cs typeface="Calibri"/>
            </a:endParaRPr>
          </a:p>
        </p:txBody>
      </p:sp>
      <p:sp>
        <p:nvSpPr>
          <p:cNvPr id="49" name="object 3"/>
          <p:cNvSpPr txBox="1"/>
          <p:nvPr/>
        </p:nvSpPr>
        <p:spPr>
          <a:xfrm>
            <a:off x="3270453" y="6176535"/>
            <a:ext cx="225603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latin typeface="Calibri"/>
                <a:cs typeface="Calibri"/>
              </a:rPr>
              <a:t>1</a:t>
            </a:r>
            <a:endParaRPr sz="2400" dirty="0">
              <a:latin typeface="Calibri"/>
              <a:cs typeface="Calibri"/>
            </a:endParaRPr>
          </a:p>
        </p:txBody>
      </p:sp>
      <p:sp>
        <p:nvSpPr>
          <p:cNvPr id="50" name="object 6"/>
          <p:cNvSpPr txBox="1"/>
          <p:nvPr/>
        </p:nvSpPr>
        <p:spPr>
          <a:xfrm>
            <a:off x="1981199" y="3759280"/>
            <a:ext cx="343747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lang="en-US" sz="3600" baseline="2275" dirty="0">
                <a:solidFill>
                  <a:srgbClr val="9BBA58"/>
                </a:solidFill>
                <a:cs typeface="Calibri"/>
              </a:rPr>
              <a:t>Hi</a:t>
            </a:r>
            <a:endParaRPr lang="en-US" sz="2400" dirty="0">
              <a:cs typeface="Calibri"/>
            </a:endParaRPr>
          </a:p>
          <a:p>
            <a:pPr marL="12700">
              <a:lnSpc>
                <a:spcPts val="2600"/>
              </a:lnSpc>
              <a:spcBef>
                <a:spcPts val="130"/>
              </a:spcBef>
            </a:pPr>
            <a:endParaRPr sz="2400" dirty="0">
              <a:cs typeface="Calibri"/>
            </a:endParaRPr>
          </a:p>
        </p:txBody>
      </p:sp>
      <p:sp>
        <p:nvSpPr>
          <p:cNvPr id="51" name="object 5"/>
          <p:cNvSpPr txBox="1"/>
          <p:nvPr/>
        </p:nvSpPr>
        <p:spPr>
          <a:xfrm>
            <a:off x="5071271" y="6116930"/>
            <a:ext cx="1253330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 algn="ctr">
              <a:lnSpc>
                <a:spcPts val="2600"/>
              </a:lnSpc>
              <a:spcBef>
                <a:spcPts val="130"/>
              </a:spcBef>
            </a:pPr>
            <a:r>
              <a:rPr lang="en-US" sz="3600" baseline="2275" dirty="0" smtClean="0">
                <a:solidFill>
                  <a:srgbClr val="9BBA58"/>
                </a:solidFill>
                <a:cs typeface="Calibri"/>
              </a:rPr>
              <a:t>Bo</a:t>
            </a:r>
            <a:endParaRPr sz="2400" dirty="0">
              <a:cs typeface="Calibri"/>
            </a:endParaRPr>
          </a:p>
        </p:txBody>
      </p:sp>
      <p:sp>
        <p:nvSpPr>
          <p:cNvPr id="52" name="object 67"/>
          <p:cNvSpPr/>
          <p:nvPr/>
        </p:nvSpPr>
        <p:spPr>
          <a:xfrm>
            <a:off x="2383438" y="1888930"/>
            <a:ext cx="0" cy="4054670"/>
          </a:xfrm>
          <a:custGeom>
            <a:avLst/>
            <a:gdLst/>
            <a:ahLst/>
            <a:cxnLst/>
            <a:rect l="l" t="t" r="r" b="b"/>
            <a:pathLst>
              <a:path h="4054670">
                <a:moveTo>
                  <a:pt x="0" y="4054670"/>
                </a:moveTo>
                <a:lnTo>
                  <a:pt x="0" y="0"/>
                </a:lnTo>
              </a:path>
            </a:pathLst>
          </a:custGeom>
          <a:ln w="25399">
            <a:solidFill>
              <a:srgbClr val="6094C9"/>
            </a:solidFill>
            <a:headEnd type="none"/>
            <a:tailEnd type="arrow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3" name="object 70"/>
          <p:cNvSpPr/>
          <p:nvPr/>
        </p:nvSpPr>
        <p:spPr>
          <a:xfrm>
            <a:off x="2383438" y="5943600"/>
            <a:ext cx="6303362" cy="0"/>
          </a:xfrm>
          <a:custGeom>
            <a:avLst/>
            <a:gdLst/>
            <a:ahLst/>
            <a:cxnLst/>
            <a:rect l="l" t="t" r="r" b="b"/>
            <a:pathLst>
              <a:path w="6303362">
                <a:moveTo>
                  <a:pt x="0" y="0"/>
                </a:moveTo>
                <a:lnTo>
                  <a:pt x="6303362" y="0"/>
                </a:lnTo>
              </a:path>
            </a:pathLst>
          </a:custGeom>
          <a:ln w="25399">
            <a:solidFill>
              <a:srgbClr val="6094C9"/>
            </a:solidFill>
            <a:headEnd type="none"/>
            <a:tailEnd type="arrow"/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4" name="object 48"/>
          <p:cNvSpPr/>
          <p:nvPr/>
        </p:nvSpPr>
        <p:spPr>
          <a:xfrm>
            <a:off x="3233928" y="437692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5" name="object 68"/>
          <p:cNvSpPr/>
          <p:nvPr/>
        </p:nvSpPr>
        <p:spPr>
          <a:xfrm>
            <a:off x="5062728" y="188893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6" name="object 6"/>
          <p:cNvSpPr txBox="1"/>
          <p:nvPr/>
        </p:nvSpPr>
        <p:spPr>
          <a:xfrm>
            <a:off x="3728686" y="4376928"/>
            <a:ext cx="1833914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lang="en-US" sz="3600" baseline="2275" dirty="0">
                <a:solidFill>
                  <a:srgbClr val="7F7E7E"/>
                </a:solidFill>
                <a:cs typeface="Calibri"/>
              </a:rPr>
              <a:t>“</a:t>
            </a:r>
            <a:r>
              <a:rPr lang="en-US" sz="3600" baseline="2275" dirty="0" smtClean="0">
                <a:solidFill>
                  <a:srgbClr val="7F7E7E"/>
                </a:solidFill>
                <a:cs typeface="Calibri"/>
              </a:rPr>
              <a:t>Hi Bo. Hi</a:t>
            </a:r>
            <a:r>
              <a:rPr lang="en-US" sz="3600" baseline="2275" dirty="0">
                <a:solidFill>
                  <a:srgbClr val="7F7E7E"/>
                </a:solidFill>
                <a:cs typeface="Calibri"/>
              </a:rPr>
              <a:t>!”</a:t>
            </a:r>
            <a:endParaRPr sz="2400" dirty="0">
              <a:cs typeface="Calibri"/>
            </a:endParaRPr>
          </a:p>
        </p:txBody>
      </p:sp>
      <p:sp>
        <p:nvSpPr>
          <p:cNvPr id="57" name="object 6"/>
          <p:cNvSpPr txBox="1"/>
          <p:nvPr/>
        </p:nvSpPr>
        <p:spPr>
          <a:xfrm>
            <a:off x="5697936" y="1906202"/>
            <a:ext cx="3065064" cy="666849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lang="en-US" sz="3600" baseline="2275" dirty="0" smtClean="0">
                <a:solidFill>
                  <a:srgbClr val="7F7E7E"/>
                </a:solidFill>
                <a:cs typeface="Calibri"/>
              </a:rPr>
              <a:t>“Bo, Hi! Hi? Hi Bo. Bo. Hi? Hi. Hi</a:t>
            </a:r>
            <a:r>
              <a:rPr lang="en-US" sz="3600" baseline="2275" dirty="0">
                <a:solidFill>
                  <a:srgbClr val="7F7E7E"/>
                </a:solidFill>
                <a:cs typeface="Calibri"/>
              </a:rPr>
              <a:t>!”</a:t>
            </a:r>
            <a:endParaRPr sz="2400" dirty="0">
              <a:cs typeface="Calibri"/>
            </a:endParaRPr>
          </a:p>
        </p:txBody>
      </p:sp>
      <p:sp>
        <p:nvSpPr>
          <p:cNvPr id="59" name="object 6"/>
          <p:cNvSpPr txBox="1"/>
          <p:nvPr/>
        </p:nvSpPr>
        <p:spPr>
          <a:xfrm>
            <a:off x="4624382" y="3107711"/>
            <a:ext cx="1876435" cy="333425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lang="en-US" sz="3600" baseline="2275" dirty="0" smtClean="0">
                <a:solidFill>
                  <a:srgbClr val="F69545"/>
                </a:solidFill>
                <a:cs typeface="Calibri"/>
              </a:rPr>
              <a:t>Cosine </a:t>
            </a:r>
            <a:r>
              <a:rPr lang="en-US" sz="3600" baseline="2275" dirty="0" err="1" smtClean="0">
                <a:solidFill>
                  <a:srgbClr val="F69545"/>
                </a:solidFill>
                <a:cs typeface="Calibri"/>
              </a:rPr>
              <a:t>dist</a:t>
            </a:r>
            <a:r>
              <a:rPr lang="en-US" sz="3600" baseline="2275" dirty="0" smtClean="0">
                <a:solidFill>
                  <a:srgbClr val="F69545"/>
                </a:solidFill>
                <a:cs typeface="Calibri"/>
              </a:rPr>
              <a:t> = 0 </a:t>
            </a:r>
            <a:endParaRPr lang="en-US" sz="3600" baseline="2275" dirty="0">
              <a:solidFill>
                <a:srgbClr val="F69545"/>
              </a:solidFill>
              <a:cs typeface="Calibri"/>
            </a:endParaRPr>
          </a:p>
        </p:txBody>
      </p:sp>
      <p:sp>
        <p:nvSpPr>
          <p:cNvPr id="60" name="object 21"/>
          <p:cNvSpPr/>
          <p:nvPr/>
        </p:nvSpPr>
        <p:spPr>
          <a:xfrm>
            <a:off x="2383437" y="2230415"/>
            <a:ext cx="2728934" cy="3713186"/>
          </a:xfrm>
          <a:custGeom>
            <a:avLst/>
            <a:gdLst>
              <a:gd name="connsiteX0" fmla="*/ 0 w 1485420"/>
              <a:gd name="connsiteY0" fmla="*/ 1576521 h 1576521"/>
              <a:gd name="connsiteX1" fmla="*/ 1485420 w 1485420"/>
              <a:gd name="connsiteY1" fmla="*/ 0 h 15765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485420" h="1576521">
                <a:moveTo>
                  <a:pt x="0" y="1576521"/>
                </a:moveTo>
                <a:cubicBezTo>
                  <a:pt x="511731" y="1039151"/>
                  <a:pt x="973689" y="537370"/>
                  <a:pt x="1485420" y="0"/>
                </a:cubicBezTo>
              </a:path>
            </a:pathLst>
          </a:custGeom>
          <a:ln w="25399">
            <a:solidFill>
              <a:srgbClr val="000000"/>
            </a:solidFill>
            <a:tailEnd type="arrow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1" name="object 21"/>
          <p:cNvSpPr/>
          <p:nvPr/>
        </p:nvSpPr>
        <p:spPr>
          <a:xfrm>
            <a:off x="2383437" y="4717138"/>
            <a:ext cx="900134" cy="1226463"/>
          </a:xfrm>
          <a:custGeom>
            <a:avLst/>
            <a:gdLst>
              <a:gd name="connsiteX0" fmla="*/ 0 w 1485420"/>
              <a:gd name="connsiteY0" fmla="*/ 1576521 h 1576521"/>
              <a:gd name="connsiteX1" fmla="*/ 1485420 w 1485420"/>
              <a:gd name="connsiteY1" fmla="*/ 0 h 1576521"/>
              <a:gd name="connsiteX0" fmla="*/ 0 w 489963"/>
              <a:gd name="connsiteY0" fmla="*/ 520724 h 520724"/>
              <a:gd name="connsiteX1" fmla="*/ 489963 w 489963"/>
              <a:gd name="connsiteY1" fmla="*/ 0 h 5207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489963" h="520724">
                <a:moveTo>
                  <a:pt x="0" y="520724"/>
                </a:moveTo>
                <a:cubicBezTo>
                  <a:pt x="511731" y="-16646"/>
                  <a:pt x="-21768" y="537370"/>
                  <a:pt x="489963" y="0"/>
                </a:cubicBezTo>
              </a:path>
            </a:pathLst>
          </a:custGeom>
          <a:ln w="25399">
            <a:solidFill>
              <a:srgbClr val="000000"/>
            </a:solidFill>
            <a:tailEnd type="arrow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object 5"/>
          <p:cNvSpPr txBox="1"/>
          <p:nvPr/>
        </p:nvSpPr>
        <p:spPr>
          <a:xfrm>
            <a:off x="1041016" y="545066"/>
            <a:ext cx="7874384" cy="872034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 lvl="0">
              <a:lnSpc>
                <a:spcPts val="3400"/>
              </a:lnSpc>
              <a:spcBef>
                <a:spcPts val="170"/>
              </a:spcBef>
            </a:pPr>
            <a:r>
              <a:rPr lang="en-US" sz="4800" spc="0" baseline="1706" dirty="0" smtClean="0">
                <a:solidFill>
                  <a:srgbClr val="F69545"/>
                </a:solidFill>
                <a:latin typeface="+mj-lt"/>
                <a:cs typeface="Calibri"/>
              </a:rPr>
              <a:t>Cosine </a:t>
            </a:r>
            <a:r>
              <a:rPr sz="4800" spc="0" baseline="1706" dirty="0" smtClean="0">
                <a:solidFill>
                  <a:srgbClr val="F69545"/>
                </a:solidFill>
                <a:latin typeface="+mj-lt"/>
                <a:cs typeface="Calibri"/>
              </a:rPr>
              <a:t>Distance</a:t>
            </a:r>
            <a:r>
              <a:rPr lang="en-US" sz="4800" baseline="1706" dirty="0">
                <a:solidFill>
                  <a:srgbClr val="F69545"/>
                </a:solidFill>
                <a:latin typeface="+mj-lt"/>
                <a:cs typeface="Calibri"/>
              </a:rPr>
              <a:t> captures the “meaning</a:t>
            </a:r>
            <a:r>
              <a:rPr lang="en-US" sz="4800" baseline="1706" dirty="0" smtClean="0">
                <a:solidFill>
                  <a:srgbClr val="F69545"/>
                </a:solidFill>
                <a:latin typeface="+mj-lt"/>
                <a:cs typeface="Calibri"/>
              </a:rPr>
              <a:t>” distance better in a bag of words system</a:t>
            </a:r>
            <a:endParaRPr lang="en-US" sz="4800" baseline="1706" dirty="0">
              <a:solidFill>
                <a:srgbClr val="F69545"/>
              </a:solidFill>
              <a:latin typeface="+mj-lt"/>
              <a:cs typeface="Calibri"/>
            </a:endParaRPr>
          </a:p>
        </p:txBody>
      </p:sp>
      <p:sp>
        <p:nvSpPr>
          <p:cNvPr id="43" name="object 27"/>
          <p:cNvSpPr/>
          <p:nvPr/>
        </p:nvSpPr>
        <p:spPr>
          <a:xfrm>
            <a:off x="2208181" y="4550664"/>
            <a:ext cx="174744" cy="0"/>
          </a:xfrm>
          <a:custGeom>
            <a:avLst/>
            <a:gdLst/>
            <a:ahLst/>
            <a:cxnLst/>
            <a:rect l="l" t="t" r="r" b="b"/>
            <a:pathLst>
              <a:path w="174744">
                <a:moveTo>
                  <a:pt x="174744" y="0"/>
                </a:moveTo>
                <a:lnTo>
                  <a:pt x="0" y="0"/>
                </a:lnTo>
              </a:path>
            </a:pathLst>
          </a:custGeom>
          <a:ln w="25399">
            <a:solidFill>
              <a:srgbClr val="6094C9"/>
            </a:solidFill>
            <a:headEnd type="none"/>
            <a:tailEnd type="none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4" name="object 29"/>
          <p:cNvSpPr/>
          <p:nvPr/>
        </p:nvSpPr>
        <p:spPr>
          <a:xfrm>
            <a:off x="2208182" y="2092960"/>
            <a:ext cx="174743" cy="1"/>
          </a:xfrm>
          <a:custGeom>
            <a:avLst/>
            <a:gdLst/>
            <a:ahLst/>
            <a:cxnLst/>
            <a:rect l="l" t="t" r="r" b="b"/>
            <a:pathLst>
              <a:path w="174743" h="1">
                <a:moveTo>
                  <a:pt x="174743" y="0"/>
                </a:moveTo>
                <a:lnTo>
                  <a:pt x="0" y="1"/>
                </a:lnTo>
              </a:path>
            </a:pathLst>
          </a:custGeom>
          <a:ln w="25399">
            <a:solidFill>
              <a:srgbClr val="6094C9"/>
            </a:solidFill>
            <a:headEnd type="none"/>
            <a:tailEnd type="none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5" name="object 31"/>
          <p:cNvSpPr/>
          <p:nvPr/>
        </p:nvSpPr>
        <p:spPr>
          <a:xfrm>
            <a:off x="3370852" y="5943600"/>
            <a:ext cx="1" cy="174743"/>
          </a:xfrm>
          <a:custGeom>
            <a:avLst/>
            <a:gdLst/>
            <a:ahLst/>
            <a:cxnLst/>
            <a:rect l="l" t="t" r="r" b="b"/>
            <a:pathLst>
              <a:path w="1" h="174743">
                <a:moveTo>
                  <a:pt x="1" y="174743"/>
                </a:moveTo>
                <a:lnTo>
                  <a:pt x="0" y="0"/>
                </a:lnTo>
              </a:path>
            </a:pathLst>
          </a:custGeom>
          <a:ln w="25399">
            <a:solidFill>
              <a:srgbClr val="6094C9"/>
            </a:solidFill>
            <a:headEnd type="none"/>
            <a:tailEnd type="none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6" name="object 33"/>
          <p:cNvSpPr/>
          <p:nvPr/>
        </p:nvSpPr>
        <p:spPr>
          <a:xfrm>
            <a:off x="5074811" y="5943600"/>
            <a:ext cx="1" cy="174743"/>
          </a:xfrm>
          <a:custGeom>
            <a:avLst/>
            <a:gdLst/>
            <a:ahLst/>
            <a:cxnLst/>
            <a:rect l="l" t="t" r="r" b="b"/>
            <a:pathLst>
              <a:path w="1" h="174743">
                <a:moveTo>
                  <a:pt x="1" y="174743"/>
                </a:moveTo>
                <a:lnTo>
                  <a:pt x="0" y="0"/>
                </a:lnTo>
              </a:path>
            </a:pathLst>
          </a:custGeom>
          <a:ln w="25399">
            <a:solidFill>
              <a:srgbClr val="6094C9"/>
            </a:solidFill>
            <a:headEnd type="none"/>
            <a:tailEnd type="none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7" name="object 8"/>
          <p:cNvSpPr txBox="1"/>
          <p:nvPr/>
        </p:nvSpPr>
        <p:spPr>
          <a:xfrm>
            <a:off x="2001594" y="1933665"/>
            <a:ext cx="225603" cy="33019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latin typeface="Calibri"/>
                <a:cs typeface="Calibri"/>
              </a:rPr>
              <a:t>6</a:t>
            </a:r>
            <a:endParaRPr sz="2400">
              <a:latin typeface="Calibri"/>
              <a:cs typeface="Calibri"/>
            </a:endParaRPr>
          </a:p>
        </p:txBody>
      </p:sp>
      <p:sp>
        <p:nvSpPr>
          <p:cNvPr id="48" name="object 6"/>
          <p:cNvSpPr txBox="1"/>
          <p:nvPr/>
        </p:nvSpPr>
        <p:spPr>
          <a:xfrm>
            <a:off x="2001594" y="4385564"/>
            <a:ext cx="225603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latin typeface="Calibri"/>
                <a:cs typeface="Calibri"/>
              </a:rPr>
              <a:t>2</a:t>
            </a:r>
            <a:endParaRPr sz="2400" dirty="0">
              <a:latin typeface="Calibri"/>
              <a:cs typeface="Calibri"/>
            </a:endParaRPr>
          </a:p>
        </p:txBody>
      </p:sp>
      <p:sp>
        <p:nvSpPr>
          <p:cNvPr id="49" name="object 4"/>
          <p:cNvSpPr txBox="1"/>
          <p:nvPr/>
        </p:nvSpPr>
        <p:spPr>
          <a:xfrm>
            <a:off x="4978208" y="6171975"/>
            <a:ext cx="225603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latin typeface="Calibri"/>
                <a:cs typeface="Calibri"/>
              </a:rPr>
              <a:t>3</a:t>
            </a:r>
            <a:endParaRPr sz="2400" dirty="0">
              <a:latin typeface="Calibri"/>
              <a:cs typeface="Calibri"/>
            </a:endParaRPr>
          </a:p>
        </p:txBody>
      </p:sp>
      <p:sp>
        <p:nvSpPr>
          <p:cNvPr id="50" name="object 3"/>
          <p:cNvSpPr txBox="1"/>
          <p:nvPr/>
        </p:nvSpPr>
        <p:spPr>
          <a:xfrm>
            <a:off x="3270453" y="6176535"/>
            <a:ext cx="225603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latin typeface="Calibri"/>
                <a:cs typeface="Calibri"/>
              </a:rPr>
              <a:t>1</a:t>
            </a:r>
            <a:endParaRPr sz="2400" dirty="0">
              <a:latin typeface="Calibri"/>
              <a:cs typeface="Calibri"/>
            </a:endParaRPr>
          </a:p>
        </p:txBody>
      </p:sp>
      <p:sp>
        <p:nvSpPr>
          <p:cNvPr id="51" name="object 6"/>
          <p:cNvSpPr txBox="1"/>
          <p:nvPr/>
        </p:nvSpPr>
        <p:spPr>
          <a:xfrm>
            <a:off x="1981199" y="3759280"/>
            <a:ext cx="343747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lang="en-US" sz="3600" baseline="2275" dirty="0">
                <a:solidFill>
                  <a:srgbClr val="9BBA58"/>
                </a:solidFill>
                <a:cs typeface="Calibri"/>
              </a:rPr>
              <a:t>Hi</a:t>
            </a:r>
            <a:endParaRPr lang="en-US" sz="2400" dirty="0">
              <a:cs typeface="Calibri"/>
            </a:endParaRPr>
          </a:p>
          <a:p>
            <a:pPr marL="12700">
              <a:lnSpc>
                <a:spcPts val="2600"/>
              </a:lnSpc>
              <a:spcBef>
                <a:spcPts val="130"/>
              </a:spcBef>
            </a:pPr>
            <a:endParaRPr sz="2400" dirty="0">
              <a:cs typeface="Calibri"/>
            </a:endParaRPr>
          </a:p>
        </p:txBody>
      </p:sp>
      <p:sp>
        <p:nvSpPr>
          <p:cNvPr id="52" name="object 5"/>
          <p:cNvSpPr txBox="1"/>
          <p:nvPr/>
        </p:nvSpPr>
        <p:spPr>
          <a:xfrm>
            <a:off x="5071271" y="6116930"/>
            <a:ext cx="1253330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 algn="ctr">
              <a:lnSpc>
                <a:spcPts val="2600"/>
              </a:lnSpc>
              <a:spcBef>
                <a:spcPts val="130"/>
              </a:spcBef>
            </a:pPr>
            <a:r>
              <a:rPr lang="en-US" sz="3600" baseline="2275" dirty="0" smtClean="0">
                <a:solidFill>
                  <a:srgbClr val="9BBA58"/>
                </a:solidFill>
                <a:cs typeface="Calibri"/>
              </a:rPr>
              <a:t>Bo</a:t>
            </a:r>
            <a:endParaRPr sz="2400" dirty="0">
              <a:cs typeface="Calibri"/>
            </a:endParaRPr>
          </a:p>
        </p:txBody>
      </p:sp>
      <p:sp>
        <p:nvSpPr>
          <p:cNvPr id="53" name="object 67"/>
          <p:cNvSpPr/>
          <p:nvPr/>
        </p:nvSpPr>
        <p:spPr>
          <a:xfrm>
            <a:off x="2383438" y="1888930"/>
            <a:ext cx="0" cy="4054670"/>
          </a:xfrm>
          <a:custGeom>
            <a:avLst/>
            <a:gdLst/>
            <a:ahLst/>
            <a:cxnLst/>
            <a:rect l="l" t="t" r="r" b="b"/>
            <a:pathLst>
              <a:path h="4054670">
                <a:moveTo>
                  <a:pt x="0" y="4054670"/>
                </a:moveTo>
                <a:lnTo>
                  <a:pt x="0" y="0"/>
                </a:lnTo>
              </a:path>
            </a:pathLst>
          </a:custGeom>
          <a:ln w="25399">
            <a:solidFill>
              <a:srgbClr val="6094C9"/>
            </a:solidFill>
            <a:headEnd type="none"/>
            <a:tailEnd type="arrow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4" name="object 70"/>
          <p:cNvSpPr/>
          <p:nvPr/>
        </p:nvSpPr>
        <p:spPr>
          <a:xfrm>
            <a:off x="2383438" y="5943600"/>
            <a:ext cx="6303362" cy="0"/>
          </a:xfrm>
          <a:custGeom>
            <a:avLst/>
            <a:gdLst/>
            <a:ahLst/>
            <a:cxnLst/>
            <a:rect l="l" t="t" r="r" b="b"/>
            <a:pathLst>
              <a:path w="6303362">
                <a:moveTo>
                  <a:pt x="0" y="0"/>
                </a:moveTo>
                <a:lnTo>
                  <a:pt x="6303362" y="0"/>
                </a:lnTo>
              </a:path>
            </a:pathLst>
          </a:custGeom>
          <a:ln w="25399">
            <a:solidFill>
              <a:srgbClr val="6094C9"/>
            </a:solidFill>
            <a:headEnd type="none"/>
            <a:tailEnd type="arrow"/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5" name="object 48"/>
          <p:cNvSpPr/>
          <p:nvPr/>
        </p:nvSpPr>
        <p:spPr>
          <a:xfrm>
            <a:off x="3233928" y="437692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6" name="object 68"/>
          <p:cNvSpPr/>
          <p:nvPr/>
        </p:nvSpPr>
        <p:spPr>
          <a:xfrm>
            <a:off x="5062728" y="188893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7" name="object 6"/>
          <p:cNvSpPr txBox="1"/>
          <p:nvPr/>
        </p:nvSpPr>
        <p:spPr>
          <a:xfrm>
            <a:off x="3728686" y="4376928"/>
            <a:ext cx="1833914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lang="en-US" sz="3600" baseline="2275" dirty="0">
                <a:solidFill>
                  <a:srgbClr val="7F7E7E"/>
                </a:solidFill>
                <a:cs typeface="Calibri"/>
              </a:rPr>
              <a:t>“</a:t>
            </a:r>
            <a:r>
              <a:rPr lang="en-US" sz="3600" baseline="2275" dirty="0" smtClean="0">
                <a:solidFill>
                  <a:srgbClr val="7F7E7E"/>
                </a:solidFill>
                <a:cs typeface="Calibri"/>
              </a:rPr>
              <a:t>Hi Bo. Hi</a:t>
            </a:r>
            <a:r>
              <a:rPr lang="en-US" sz="3600" baseline="2275" dirty="0">
                <a:solidFill>
                  <a:srgbClr val="7F7E7E"/>
                </a:solidFill>
                <a:cs typeface="Calibri"/>
              </a:rPr>
              <a:t>!”</a:t>
            </a:r>
            <a:endParaRPr sz="2400" dirty="0">
              <a:cs typeface="Calibri"/>
            </a:endParaRPr>
          </a:p>
        </p:txBody>
      </p:sp>
      <p:sp>
        <p:nvSpPr>
          <p:cNvPr id="58" name="object 6"/>
          <p:cNvSpPr txBox="1"/>
          <p:nvPr/>
        </p:nvSpPr>
        <p:spPr>
          <a:xfrm>
            <a:off x="5697936" y="1906202"/>
            <a:ext cx="3065064" cy="666849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lang="en-US" sz="3600" baseline="2275" dirty="0" smtClean="0">
                <a:solidFill>
                  <a:srgbClr val="7F7E7E"/>
                </a:solidFill>
                <a:cs typeface="Calibri"/>
              </a:rPr>
              <a:t>“Bo, Hi! Hi? Hi Bo. Bo. Hi? Hi. Hi</a:t>
            </a:r>
            <a:r>
              <a:rPr lang="en-US" sz="3600" baseline="2275" dirty="0">
                <a:solidFill>
                  <a:srgbClr val="7F7E7E"/>
                </a:solidFill>
                <a:cs typeface="Calibri"/>
              </a:rPr>
              <a:t>!”</a:t>
            </a:r>
            <a:endParaRPr sz="2400" dirty="0">
              <a:cs typeface="Calibri"/>
            </a:endParaRPr>
          </a:p>
        </p:txBody>
      </p:sp>
      <p:sp>
        <p:nvSpPr>
          <p:cNvPr id="59" name="object 6"/>
          <p:cNvSpPr txBox="1"/>
          <p:nvPr/>
        </p:nvSpPr>
        <p:spPr>
          <a:xfrm>
            <a:off x="4624382" y="3107711"/>
            <a:ext cx="1876435" cy="333425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lang="en-US" sz="3600" baseline="2275" dirty="0" smtClean="0">
                <a:solidFill>
                  <a:srgbClr val="F69545"/>
                </a:solidFill>
                <a:cs typeface="Calibri"/>
              </a:rPr>
              <a:t>Cosine </a:t>
            </a:r>
            <a:r>
              <a:rPr lang="en-US" sz="3600" baseline="2275" dirty="0" err="1" smtClean="0">
                <a:solidFill>
                  <a:srgbClr val="F69545"/>
                </a:solidFill>
                <a:cs typeface="Calibri"/>
              </a:rPr>
              <a:t>dist</a:t>
            </a:r>
            <a:r>
              <a:rPr lang="en-US" sz="3600" baseline="2275" dirty="0" smtClean="0">
                <a:solidFill>
                  <a:srgbClr val="F69545"/>
                </a:solidFill>
                <a:cs typeface="Calibri"/>
              </a:rPr>
              <a:t> = 0 </a:t>
            </a:r>
            <a:endParaRPr lang="en-US" sz="3600" baseline="2275" dirty="0">
              <a:solidFill>
                <a:srgbClr val="F69545"/>
              </a:solidFill>
              <a:cs typeface="Calibri"/>
            </a:endParaRPr>
          </a:p>
        </p:txBody>
      </p:sp>
      <p:sp>
        <p:nvSpPr>
          <p:cNvPr id="60" name="object 21"/>
          <p:cNvSpPr/>
          <p:nvPr/>
        </p:nvSpPr>
        <p:spPr>
          <a:xfrm>
            <a:off x="2383437" y="2230415"/>
            <a:ext cx="2728934" cy="3713186"/>
          </a:xfrm>
          <a:custGeom>
            <a:avLst/>
            <a:gdLst>
              <a:gd name="connsiteX0" fmla="*/ 0 w 1485420"/>
              <a:gd name="connsiteY0" fmla="*/ 1576521 h 1576521"/>
              <a:gd name="connsiteX1" fmla="*/ 1485420 w 1485420"/>
              <a:gd name="connsiteY1" fmla="*/ 0 h 15765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485420" h="1576521">
                <a:moveTo>
                  <a:pt x="0" y="1576521"/>
                </a:moveTo>
                <a:cubicBezTo>
                  <a:pt x="511731" y="1039151"/>
                  <a:pt x="973689" y="537370"/>
                  <a:pt x="1485420" y="0"/>
                </a:cubicBezTo>
              </a:path>
            </a:pathLst>
          </a:custGeom>
          <a:ln w="25399">
            <a:solidFill>
              <a:srgbClr val="000000"/>
            </a:solidFill>
            <a:tailEnd type="arrow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1" name="object 21"/>
          <p:cNvSpPr/>
          <p:nvPr/>
        </p:nvSpPr>
        <p:spPr>
          <a:xfrm>
            <a:off x="2383437" y="4717138"/>
            <a:ext cx="900134" cy="1226463"/>
          </a:xfrm>
          <a:custGeom>
            <a:avLst/>
            <a:gdLst>
              <a:gd name="connsiteX0" fmla="*/ 0 w 1485420"/>
              <a:gd name="connsiteY0" fmla="*/ 1576521 h 1576521"/>
              <a:gd name="connsiteX1" fmla="*/ 1485420 w 1485420"/>
              <a:gd name="connsiteY1" fmla="*/ 0 h 1576521"/>
              <a:gd name="connsiteX0" fmla="*/ 0 w 489963"/>
              <a:gd name="connsiteY0" fmla="*/ 520724 h 520724"/>
              <a:gd name="connsiteX1" fmla="*/ 489963 w 489963"/>
              <a:gd name="connsiteY1" fmla="*/ 0 h 5207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489963" h="520724">
                <a:moveTo>
                  <a:pt x="0" y="520724"/>
                </a:moveTo>
                <a:cubicBezTo>
                  <a:pt x="511731" y="-16646"/>
                  <a:pt x="-21768" y="537370"/>
                  <a:pt x="489963" y="0"/>
                </a:cubicBezTo>
              </a:path>
            </a:pathLst>
          </a:custGeom>
          <a:ln w="25399">
            <a:solidFill>
              <a:srgbClr val="000000"/>
            </a:solidFill>
            <a:tailEnd type="arrow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bject 5"/>
          <p:cNvSpPr txBox="1"/>
          <p:nvPr/>
        </p:nvSpPr>
        <p:spPr>
          <a:xfrm>
            <a:off x="604887" y="545066"/>
            <a:ext cx="7874384" cy="489493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 lvl="0">
              <a:lnSpc>
                <a:spcPts val="3400"/>
              </a:lnSpc>
              <a:spcBef>
                <a:spcPts val="170"/>
              </a:spcBef>
            </a:pPr>
            <a:r>
              <a:rPr lang="en-US" sz="4800" baseline="1706" dirty="0" err="1">
                <a:solidFill>
                  <a:srgbClr val="4E81BC"/>
                </a:solidFill>
                <a:latin typeface="+mj-lt"/>
                <a:cs typeface="Calibri"/>
              </a:rPr>
              <a:t>Jaccard</a:t>
            </a:r>
            <a:r>
              <a:rPr lang="en-US" sz="4800" baseline="1706" dirty="0">
                <a:solidFill>
                  <a:srgbClr val="4E81BC"/>
                </a:solidFill>
                <a:latin typeface="+mj-lt"/>
                <a:cs typeface="Calibri"/>
              </a:rPr>
              <a:t> </a:t>
            </a:r>
            <a:r>
              <a:rPr sz="4800" spc="0" baseline="1706" dirty="0" smtClean="0">
                <a:solidFill>
                  <a:srgbClr val="4E81BC"/>
                </a:solidFill>
                <a:latin typeface="+mj-lt"/>
                <a:cs typeface="Calibri"/>
              </a:rPr>
              <a:t>Distance</a:t>
            </a:r>
            <a:r>
              <a:rPr lang="en-US" sz="4800" spc="0" baseline="1706" dirty="0" smtClean="0">
                <a:solidFill>
                  <a:srgbClr val="4E81BC"/>
                </a:solidFill>
                <a:latin typeface="+mj-lt"/>
                <a:cs typeface="Calibri"/>
              </a:rPr>
              <a:t>  </a:t>
            </a:r>
            <a:endParaRPr lang="en-US" sz="4800" dirty="0">
              <a:solidFill>
                <a:prstClr val="black"/>
              </a:solidFill>
              <a:latin typeface="+mj-lt"/>
              <a:cs typeface="Calibri"/>
            </a:endParaRPr>
          </a:p>
        </p:txBody>
      </p:sp>
      <p:sp>
        <p:nvSpPr>
          <p:cNvPr id="6" name="object 8"/>
          <p:cNvSpPr txBox="1"/>
          <p:nvPr/>
        </p:nvSpPr>
        <p:spPr>
          <a:xfrm>
            <a:off x="604886" y="1394897"/>
            <a:ext cx="7874384" cy="384721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>
              <a:lnSpc>
                <a:spcPts val="3000"/>
              </a:lnSpc>
              <a:spcBef>
                <a:spcPts val="150"/>
              </a:spcBef>
            </a:pPr>
            <a:r>
              <a:rPr sz="3800" spc="0" baseline="1950" dirty="0" smtClean="0">
                <a:solidFill>
                  <a:srgbClr val="7F7E7E"/>
                </a:solidFill>
                <a:cs typeface="Calibri"/>
              </a:rPr>
              <a:t>Applies to sets (like bag of words)</a:t>
            </a:r>
            <a:endParaRPr lang="en-US" sz="3800" spc="0" baseline="1950" dirty="0" smtClean="0">
              <a:solidFill>
                <a:srgbClr val="7F7E7E"/>
              </a:solidFill>
              <a:cs typeface="Calibri"/>
            </a:endParaRPr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object 7"/>
          <p:cNvSpPr txBox="1"/>
          <p:nvPr/>
        </p:nvSpPr>
        <p:spPr>
          <a:xfrm>
            <a:off x="2101916" y="369650"/>
            <a:ext cx="6737284" cy="4318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3400"/>
              </a:lnSpc>
              <a:spcBef>
                <a:spcPts val="170"/>
              </a:spcBef>
            </a:pPr>
            <a:r>
              <a:rPr sz="4800" spc="0" baseline="1706" dirty="0" smtClean="0">
                <a:solidFill>
                  <a:srgbClr val="4E81BC"/>
                </a:solidFill>
                <a:latin typeface="+mj-lt"/>
                <a:cs typeface="Calibri"/>
              </a:rPr>
              <a:t>Hierarchical</a:t>
            </a:r>
            <a:r>
              <a:rPr lang="en-US" sz="4800" baseline="1706" dirty="0">
                <a:solidFill>
                  <a:srgbClr val="4E81BC"/>
                </a:solidFill>
                <a:latin typeface="+mj-lt"/>
                <a:cs typeface="Calibri"/>
              </a:rPr>
              <a:t> </a:t>
            </a:r>
            <a:r>
              <a:rPr lang="en-US" sz="4800" baseline="1706" dirty="0" smtClean="0">
                <a:solidFill>
                  <a:srgbClr val="4E81BC"/>
                </a:solidFill>
                <a:latin typeface="+mj-lt"/>
                <a:cs typeface="Calibri"/>
              </a:rPr>
              <a:t>Agglomerative </a:t>
            </a:r>
            <a:r>
              <a:rPr lang="en-US" sz="4800" baseline="1706" dirty="0">
                <a:solidFill>
                  <a:srgbClr val="4E81BC"/>
                </a:solidFill>
                <a:latin typeface="+mj-lt"/>
                <a:cs typeface="Calibri"/>
              </a:rPr>
              <a:t>Clustering</a:t>
            </a:r>
          </a:p>
          <a:p>
            <a:pPr marL="12700">
              <a:lnSpc>
                <a:spcPts val="3400"/>
              </a:lnSpc>
              <a:spcBef>
                <a:spcPts val="170"/>
              </a:spcBef>
            </a:pPr>
            <a:endParaRPr sz="3200" dirty="0">
              <a:latin typeface="+mj-lt"/>
              <a:cs typeface="Calibri"/>
            </a:endParaRPr>
          </a:p>
        </p:txBody>
      </p:sp>
      <p:sp>
        <p:nvSpPr>
          <p:cNvPr id="205" name="object 82"/>
          <p:cNvSpPr/>
          <p:nvPr/>
        </p:nvSpPr>
        <p:spPr>
          <a:xfrm>
            <a:off x="4414372" y="54871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06" name="object 84"/>
          <p:cNvSpPr/>
          <p:nvPr/>
        </p:nvSpPr>
        <p:spPr>
          <a:xfrm>
            <a:off x="5399747" y="55212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07" name="object 86"/>
          <p:cNvSpPr/>
          <p:nvPr/>
        </p:nvSpPr>
        <p:spPr>
          <a:xfrm>
            <a:off x="6251551" y="55023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08" name="object 74"/>
          <p:cNvSpPr/>
          <p:nvPr/>
        </p:nvSpPr>
        <p:spPr>
          <a:xfrm>
            <a:off x="2668469" y="519520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09" name="object 72"/>
          <p:cNvSpPr/>
          <p:nvPr/>
        </p:nvSpPr>
        <p:spPr>
          <a:xfrm>
            <a:off x="5959366" y="251737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40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80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10" name="object 70"/>
          <p:cNvSpPr/>
          <p:nvPr/>
        </p:nvSpPr>
        <p:spPr>
          <a:xfrm>
            <a:off x="5560113" y="213564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11" name="object 68"/>
          <p:cNvSpPr/>
          <p:nvPr/>
        </p:nvSpPr>
        <p:spPr>
          <a:xfrm>
            <a:off x="5148028" y="1723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12" name="object 66"/>
          <p:cNvSpPr/>
          <p:nvPr/>
        </p:nvSpPr>
        <p:spPr>
          <a:xfrm>
            <a:off x="6872003" y="34121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13" name="object 63"/>
          <p:cNvSpPr/>
          <p:nvPr/>
        </p:nvSpPr>
        <p:spPr>
          <a:xfrm>
            <a:off x="5880842" y="502152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6"/>
                </a:lnTo>
                <a:lnTo>
                  <a:pt x="1583" y="198179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6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2"/>
                </a:lnTo>
                <a:lnTo>
                  <a:pt x="49876" y="299561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6"/>
                </a:lnTo>
                <a:lnTo>
                  <a:pt x="196530" y="342926"/>
                </a:lnTo>
                <a:lnTo>
                  <a:pt x="209650" y="339004"/>
                </a:lnTo>
                <a:lnTo>
                  <a:pt x="222295" y="333936"/>
                </a:lnTo>
                <a:lnTo>
                  <a:pt x="234413" y="327778"/>
                </a:lnTo>
                <a:lnTo>
                  <a:pt x="245953" y="320583"/>
                </a:lnTo>
                <a:lnTo>
                  <a:pt x="256864" y="312409"/>
                </a:lnTo>
                <a:lnTo>
                  <a:pt x="267095" y="303311"/>
                </a:lnTo>
                <a:lnTo>
                  <a:pt x="276595" y="293343"/>
                </a:lnTo>
                <a:lnTo>
                  <a:pt x="285312" y="282562"/>
                </a:lnTo>
                <a:lnTo>
                  <a:pt x="293195" y="271023"/>
                </a:lnTo>
                <a:lnTo>
                  <a:pt x="300193" y="258781"/>
                </a:lnTo>
                <a:lnTo>
                  <a:pt x="306255" y="245892"/>
                </a:lnTo>
                <a:lnTo>
                  <a:pt x="311330" y="232411"/>
                </a:lnTo>
                <a:lnTo>
                  <a:pt x="315366" y="218394"/>
                </a:lnTo>
                <a:lnTo>
                  <a:pt x="318312" y="203896"/>
                </a:lnTo>
                <a:lnTo>
                  <a:pt x="320117" y="188973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9" y="93485"/>
                </a:lnTo>
                <a:lnTo>
                  <a:pt x="296006" y="80986"/>
                </a:lnTo>
                <a:lnTo>
                  <a:pt x="288459" y="69169"/>
                </a:lnTo>
                <a:lnTo>
                  <a:pt x="280058" y="58089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4"/>
                </a:lnTo>
                <a:lnTo>
                  <a:pt x="86318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14" name="object 62"/>
          <p:cNvSpPr/>
          <p:nvPr/>
        </p:nvSpPr>
        <p:spPr>
          <a:xfrm>
            <a:off x="4326962" y="34938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15" name="object 60"/>
          <p:cNvSpPr/>
          <p:nvPr/>
        </p:nvSpPr>
        <p:spPr>
          <a:xfrm>
            <a:off x="3451263" y="457102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16" name="object 58"/>
          <p:cNvSpPr/>
          <p:nvPr/>
        </p:nvSpPr>
        <p:spPr>
          <a:xfrm>
            <a:off x="7513462" y="204543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17" name="object 56"/>
          <p:cNvSpPr/>
          <p:nvPr/>
        </p:nvSpPr>
        <p:spPr>
          <a:xfrm>
            <a:off x="6553321" y="196196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18" name="object 54"/>
          <p:cNvSpPr/>
          <p:nvPr/>
        </p:nvSpPr>
        <p:spPr>
          <a:xfrm>
            <a:off x="7353097" y="275391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19" name="object 52"/>
          <p:cNvSpPr/>
          <p:nvPr/>
        </p:nvSpPr>
        <p:spPr>
          <a:xfrm>
            <a:off x="4696124" y="412086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20" name="object 50"/>
          <p:cNvSpPr/>
          <p:nvPr/>
        </p:nvSpPr>
        <p:spPr>
          <a:xfrm>
            <a:off x="4441297" y="46123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21" name="object 48"/>
          <p:cNvSpPr/>
          <p:nvPr/>
        </p:nvSpPr>
        <p:spPr>
          <a:xfrm>
            <a:off x="3130532" y="40499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22" name="object 42"/>
          <p:cNvSpPr/>
          <p:nvPr/>
        </p:nvSpPr>
        <p:spPr>
          <a:xfrm>
            <a:off x="5748103" y="33118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23" name="object 44"/>
          <p:cNvSpPr/>
          <p:nvPr/>
        </p:nvSpPr>
        <p:spPr>
          <a:xfrm>
            <a:off x="5560113" y="25802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24" name="object 46"/>
          <p:cNvSpPr/>
          <p:nvPr/>
        </p:nvSpPr>
        <p:spPr>
          <a:xfrm>
            <a:off x="5421508" y="296447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25" name="object 40"/>
          <p:cNvSpPr/>
          <p:nvPr/>
        </p:nvSpPr>
        <p:spPr>
          <a:xfrm>
            <a:off x="5213120" y="49216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26" name="object 38"/>
          <p:cNvSpPr/>
          <p:nvPr/>
        </p:nvSpPr>
        <p:spPr>
          <a:xfrm>
            <a:off x="7032365" y="221911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27" name="object 36"/>
          <p:cNvSpPr/>
          <p:nvPr/>
        </p:nvSpPr>
        <p:spPr>
          <a:xfrm>
            <a:off x="7385165" y="340218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6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7"/>
                </a:lnTo>
                <a:lnTo>
                  <a:pt x="310251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28" name="object 34"/>
          <p:cNvSpPr/>
          <p:nvPr/>
        </p:nvSpPr>
        <p:spPr>
          <a:xfrm>
            <a:off x="5038354" y="24830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29" name="object 32"/>
          <p:cNvSpPr/>
          <p:nvPr/>
        </p:nvSpPr>
        <p:spPr>
          <a:xfrm>
            <a:off x="7192732" y="159327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30" name="object 30"/>
          <p:cNvSpPr/>
          <p:nvPr/>
        </p:nvSpPr>
        <p:spPr>
          <a:xfrm>
            <a:off x="6201572" y="316997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31" name="object 28"/>
          <p:cNvSpPr/>
          <p:nvPr/>
        </p:nvSpPr>
        <p:spPr>
          <a:xfrm>
            <a:off x="4877989" y="532865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32" name="object 26"/>
          <p:cNvSpPr/>
          <p:nvPr/>
        </p:nvSpPr>
        <p:spPr>
          <a:xfrm>
            <a:off x="5581873" y="4521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33" name="object 24"/>
          <p:cNvSpPr/>
          <p:nvPr/>
        </p:nvSpPr>
        <p:spPr>
          <a:xfrm>
            <a:off x="3528670" y="35173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34" name="object 22"/>
          <p:cNvSpPr/>
          <p:nvPr/>
        </p:nvSpPr>
        <p:spPr>
          <a:xfrm>
            <a:off x="3252845" y="520650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35" name="object 20"/>
          <p:cNvSpPr/>
          <p:nvPr/>
        </p:nvSpPr>
        <p:spPr>
          <a:xfrm>
            <a:off x="3849401" y="4051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36" name="object 18"/>
          <p:cNvSpPr/>
          <p:nvPr/>
        </p:nvSpPr>
        <p:spPr>
          <a:xfrm>
            <a:off x="6713687" y="269105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37" name="object 6"/>
          <p:cNvSpPr txBox="1"/>
          <p:nvPr/>
        </p:nvSpPr>
        <p:spPr>
          <a:xfrm>
            <a:off x="1332125" y="3759280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sp>
        <p:nvSpPr>
          <p:cNvPr id="238" name="object 5"/>
          <p:cNvSpPr txBox="1"/>
          <p:nvPr/>
        </p:nvSpPr>
        <p:spPr>
          <a:xfrm>
            <a:off x="5426815" y="6116930"/>
            <a:ext cx="542241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Age</a:t>
            </a:r>
            <a:endParaRPr sz="2400">
              <a:cs typeface="Calibri"/>
            </a:endParaRPr>
          </a:p>
        </p:txBody>
      </p:sp>
      <p:grpSp>
        <p:nvGrpSpPr>
          <p:cNvPr id="239" name="Group 238"/>
          <p:cNvGrpSpPr/>
          <p:nvPr/>
        </p:nvGrpSpPr>
        <p:grpSpPr>
          <a:xfrm>
            <a:off x="2383438" y="1888930"/>
            <a:ext cx="6303362" cy="4054670"/>
            <a:chOff x="2343901" y="1923700"/>
            <a:chExt cx="6303362" cy="4054670"/>
          </a:xfrm>
        </p:grpSpPr>
        <p:sp>
          <p:nvSpPr>
            <p:cNvPr id="240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241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ject 8"/>
          <p:cNvSpPr txBox="1"/>
          <p:nvPr/>
        </p:nvSpPr>
        <p:spPr>
          <a:xfrm>
            <a:off x="604886" y="1394897"/>
            <a:ext cx="7874384" cy="3449662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>
              <a:lnSpc>
                <a:spcPts val="3000"/>
              </a:lnSpc>
              <a:spcBef>
                <a:spcPts val="150"/>
              </a:spcBef>
            </a:pPr>
            <a:r>
              <a:rPr sz="3800" spc="0" baseline="1950" dirty="0" smtClean="0">
                <a:solidFill>
                  <a:srgbClr val="7F7E7E"/>
                </a:solidFill>
                <a:cs typeface="Calibri"/>
              </a:rPr>
              <a:t>Applies to sets (like bag of words)</a:t>
            </a:r>
            <a:endParaRPr lang="en-US" sz="3800" spc="0" baseline="1950" dirty="0" smtClean="0">
              <a:solidFill>
                <a:srgbClr val="7F7E7E"/>
              </a:solidFill>
              <a:cs typeface="Calibri"/>
            </a:endParaRPr>
          </a:p>
          <a:p>
            <a:pPr marL="12700">
              <a:lnSpc>
                <a:spcPts val="3000"/>
              </a:lnSpc>
              <a:spcBef>
                <a:spcPts val="150"/>
              </a:spcBef>
            </a:pPr>
            <a:endParaRPr lang="en-US" sz="3800" spc="0" baseline="1950" dirty="0" smtClean="0">
              <a:solidFill>
                <a:srgbClr val="7F7E7E"/>
              </a:solidFill>
              <a:cs typeface="Calibri"/>
            </a:endParaRPr>
          </a:p>
          <a:p>
            <a:pPr marL="12700">
              <a:lnSpc>
                <a:spcPts val="2615"/>
              </a:lnSpc>
              <a:spcBef>
                <a:spcPts val="130"/>
              </a:spcBef>
            </a:pPr>
            <a:r>
              <a:rPr lang="en-US" sz="3800" baseline="2275" dirty="0" smtClean="0">
                <a:solidFill>
                  <a:srgbClr val="4E81BC"/>
                </a:solidFill>
                <a:cs typeface="Calibri"/>
              </a:rPr>
              <a:t>Sentence </a:t>
            </a:r>
            <a:r>
              <a:rPr lang="en-US" sz="3800" baseline="2275" dirty="0">
                <a:solidFill>
                  <a:srgbClr val="4E81BC"/>
                </a:solidFill>
                <a:cs typeface="Calibri"/>
              </a:rPr>
              <a:t>A</a:t>
            </a:r>
            <a:r>
              <a:rPr lang="en-US" sz="3800" baseline="2275" dirty="0">
                <a:solidFill>
                  <a:srgbClr val="7F7E7E"/>
                </a:solidFill>
                <a:cs typeface="Calibri"/>
              </a:rPr>
              <a:t>: “I like chocolate ice cream.”</a:t>
            </a:r>
            <a:endParaRPr lang="en-US" sz="3800" dirty="0">
              <a:cs typeface="Calibri"/>
            </a:endParaRPr>
          </a:p>
          <a:p>
            <a:pPr marL="12700" marR="45720">
              <a:lnSpc>
                <a:spcPts val="2885"/>
              </a:lnSpc>
              <a:spcBef>
                <a:spcPts val="13"/>
              </a:spcBef>
            </a:pPr>
            <a:r>
              <a:rPr lang="en-US" sz="3800" baseline="1137" dirty="0">
                <a:solidFill>
                  <a:srgbClr val="7F7E7E"/>
                </a:solidFill>
                <a:cs typeface="Calibri"/>
              </a:rPr>
              <a:t>set A = </a:t>
            </a:r>
            <a:r>
              <a:rPr lang="en-US" sz="3800" baseline="1137" dirty="0">
                <a:solidFill>
                  <a:schemeClr val="bg1">
                    <a:lumMod val="50000"/>
                  </a:schemeClr>
                </a:solidFill>
                <a:cs typeface="Calibri"/>
              </a:rPr>
              <a:t>{I, like, chocolate, ice, cream}</a:t>
            </a:r>
            <a:endParaRPr lang="en-US" sz="3800" dirty="0">
              <a:solidFill>
                <a:schemeClr val="bg1">
                  <a:lumMod val="50000"/>
                </a:schemeClr>
              </a:solidFill>
              <a:cs typeface="Calibri"/>
            </a:endParaRPr>
          </a:p>
          <a:p>
            <a:pPr marL="12700">
              <a:lnSpc>
                <a:spcPts val="3000"/>
              </a:lnSpc>
              <a:spcBef>
                <a:spcPts val="150"/>
              </a:spcBef>
            </a:pPr>
            <a:endParaRPr lang="en-US" sz="3800" dirty="0" smtClean="0">
              <a:cs typeface="Calibri"/>
            </a:endParaRPr>
          </a:p>
          <a:p>
            <a:pPr marL="12700">
              <a:lnSpc>
                <a:spcPts val="2615"/>
              </a:lnSpc>
              <a:spcBef>
                <a:spcPts val="130"/>
              </a:spcBef>
            </a:pPr>
            <a:r>
              <a:rPr lang="en-US" sz="3800" baseline="2275" dirty="0" smtClean="0">
                <a:solidFill>
                  <a:srgbClr val="4E81BC"/>
                </a:solidFill>
                <a:cs typeface="Calibri"/>
              </a:rPr>
              <a:t>Sentence </a:t>
            </a:r>
            <a:r>
              <a:rPr lang="en-US" sz="3800" baseline="2275" dirty="0">
                <a:solidFill>
                  <a:srgbClr val="4E81BC"/>
                </a:solidFill>
                <a:cs typeface="Calibri"/>
              </a:rPr>
              <a:t>B</a:t>
            </a:r>
            <a:r>
              <a:rPr lang="en-US" sz="3800" baseline="2275" dirty="0">
                <a:solidFill>
                  <a:srgbClr val="7F7E7E"/>
                </a:solidFill>
                <a:cs typeface="Calibri"/>
              </a:rPr>
              <a:t>: “Do I want chocolate cream or vanilla cream?”</a:t>
            </a:r>
            <a:endParaRPr lang="en-US" sz="3800" dirty="0">
              <a:cs typeface="Calibri"/>
            </a:endParaRPr>
          </a:p>
          <a:p>
            <a:pPr marL="12700" marR="45720">
              <a:lnSpc>
                <a:spcPts val="2785"/>
              </a:lnSpc>
              <a:spcBef>
                <a:spcPts val="8"/>
              </a:spcBef>
            </a:pPr>
            <a:r>
              <a:rPr lang="en-US" sz="3800" baseline="1137" dirty="0">
                <a:solidFill>
                  <a:srgbClr val="7F7E7E"/>
                </a:solidFill>
                <a:cs typeface="Calibri"/>
              </a:rPr>
              <a:t>set B </a:t>
            </a:r>
            <a:r>
              <a:rPr lang="en-US" sz="3800" baseline="1137" dirty="0">
                <a:solidFill>
                  <a:schemeClr val="bg1">
                    <a:lumMod val="50000"/>
                  </a:schemeClr>
                </a:solidFill>
                <a:cs typeface="Calibri"/>
              </a:rPr>
              <a:t>= {Do, I, want, chocolate, cream, or, vanilla}</a:t>
            </a:r>
            <a:endParaRPr lang="en-US" sz="3800" dirty="0">
              <a:solidFill>
                <a:schemeClr val="bg1">
                  <a:lumMod val="50000"/>
                </a:schemeClr>
              </a:solidFill>
              <a:cs typeface="Calibri"/>
            </a:endParaRPr>
          </a:p>
          <a:p>
            <a:pPr marL="12700">
              <a:lnSpc>
                <a:spcPts val="3000"/>
              </a:lnSpc>
              <a:spcBef>
                <a:spcPts val="150"/>
              </a:spcBef>
            </a:pPr>
            <a:endParaRPr lang="en-US" sz="3800" dirty="0" smtClean="0">
              <a:cs typeface="Calibri"/>
            </a:endParaRPr>
          </a:p>
          <a:p>
            <a:pPr marL="12700">
              <a:lnSpc>
                <a:spcPts val="3000"/>
              </a:lnSpc>
              <a:spcBef>
                <a:spcPts val="150"/>
              </a:spcBef>
            </a:pPr>
            <a:r>
              <a:rPr lang="en-US" sz="3800" baseline="1950" dirty="0" err="1">
                <a:solidFill>
                  <a:srgbClr val="7F7E7E"/>
                </a:solidFill>
                <a:cs typeface="Calibri"/>
              </a:rPr>
              <a:t>Jaccard</a:t>
            </a:r>
            <a:r>
              <a:rPr lang="en-US" sz="3800" baseline="1950" dirty="0">
                <a:solidFill>
                  <a:srgbClr val="7F7E7E"/>
                </a:solidFill>
                <a:cs typeface="Calibri"/>
              </a:rPr>
              <a:t> </a:t>
            </a:r>
            <a:r>
              <a:rPr lang="en-US" sz="3800" baseline="1950" dirty="0" err="1" smtClean="0">
                <a:solidFill>
                  <a:srgbClr val="7F7E7E"/>
                </a:solidFill>
                <a:cs typeface="Calibri"/>
              </a:rPr>
              <a:t>dist</a:t>
            </a:r>
            <a:endParaRPr lang="en-US" sz="3800" dirty="0" smtClean="0">
              <a:cs typeface="Calibri"/>
            </a:endParaRPr>
          </a:p>
        </p:txBody>
      </p:sp>
      <p:sp>
        <p:nvSpPr>
          <p:cNvPr id="7" name="object 5"/>
          <p:cNvSpPr txBox="1"/>
          <p:nvPr/>
        </p:nvSpPr>
        <p:spPr>
          <a:xfrm>
            <a:off x="604887" y="545066"/>
            <a:ext cx="7874384" cy="489493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 lvl="0">
              <a:lnSpc>
                <a:spcPts val="3400"/>
              </a:lnSpc>
              <a:spcBef>
                <a:spcPts val="170"/>
              </a:spcBef>
            </a:pPr>
            <a:r>
              <a:rPr lang="en-US" sz="4800" baseline="1706" dirty="0" err="1">
                <a:solidFill>
                  <a:srgbClr val="4E81BC"/>
                </a:solidFill>
                <a:latin typeface="+mj-lt"/>
                <a:cs typeface="Calibri"/>
              </a:rPr>
              <a:t>Jaccard</a:t>
            </a:r>
            <a:r>
              <a:rPr lang="en-US" sz="4800" baseline="1706" dirty="0">
                <a:solidFill>
                  <a:srgbClr val="4E81BC"/>
                </a:solidFill>
                <a:latin typeface="+mj-lt"/>
                <a:cs typeface="Calibri"/>
              </a:rPr>
              <a:t> </a:t>
            </a:r>
            <a:r>
              <a:rPr sz="4800" spc="0" baseline="1706" dirty="0" smtClean="0">
                <a:solidFill>
                  <a:srgbClr val="4E81BC"/>
                </a:solidFill>
                <a:latin typeface="+mj-lt"/>
                <a:cs typeface="Calibri"/>
              </a:rPr>
              <a:t>Distance</a:t>
            </a:r>
            <a:r>
              <a:rPr lang="en-US" sz="4800" spc="0" baseline="1706" dirty="0" smtClean="0">
                <a:solidFill>
                  <a:srgbClr val="4E81BC"/>
                </a:solidFill>
                <a:latin typeface="+mj-lt"/>
                <a:cs typeface="Calibri"/>
              </a:rPr>
              <a:t>  </a:t>
            </a:r>
            <a:endParaRPr lang="en-US" sz="4800" dirty="0">
              <a:solidFill>
                <a:prstClr val="black"/>
              </a:solidFill>
              <a:latin typeface="+mj-lt"/>
              <a:cs typeface="Calibri"/>
            </a:endParaRPr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object 8"/>
          <p:cNvSpPr txBox="1"/>
          <p:nvPr/>
        </p:nvSpPr>
        <p:spPr>
          <a:xfrm>
            <a:off x="604886" y="1394897"/>
            <a:ext cx="7874384" cy="3449662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>
              <a:lnSpc>
                <a:spcPts val="3000"/>
              </a:lnSpc>
              <a:spcBef>
                <a:spcPts val="150"/>
              </a:spcBef>
            </a:pPr>
            <a:r>
              <a:rPr sz="3800" spc="0" baseline="1950" dirty="0" smtClean="0">
                <a:solidFill>
                  <a:srgbClr val="7F7E7E"/>
                </a:solidFill>
                <a:cs typeface="Calibri"/>
              </a:rPr>
              <a:t>Applies to sets (like bag of words)</a:t>
            </a:r>
            <a:endParaRPr lang="en-US" sz="3800" spc="0" baseline="1950" dirty="0" smtClean="0">
              <a:solidFill>
                <a:srgbClr val="7F7E7E"/>
              </a:solidFill>
              <a:cs typeface="Calibri"/>
            </a:endParaRPr>
          </a:p>
          <a:p>
            <a:pPr marL="12700">
              <a:lnSpc>
                <a:spcPts val="3000"/>
              </a:lnSpc>
              <a:spcBef>
                <a:spcPts val="150"/>
              </a:spcBef>
            </a:pPr>
            <a:endParaRPr lang="en-US" sz="3800" spc="0" baseline="1950" dirty="0" smtClean="0">
              <a:solidFill>
                <a:srgbClr val="7F7E7E"/>
              </a:solidFill>
              <a:cs typeface="Calibri"/>
            </a:endParaRPr>
          </a:p>
          <a:p>
            <a:pPr marL="12700">
              <a:lnSpc>
                <a:spcPts val="2615"/>
              </a:lnSpc>
              <a:spcBef>
                <a:spcPts val="130"/>
              </a:spcBef>
            </a:pPr>
            <a:r>
              <a:rPr lang="en-US" sz="3800" baseline="2275" dirty="0" smtClean="0">
                <a:solidFill>
                  <a:srgbClr val="4E81BC"/>
                </a:solidFill>
                <a:cs typeface="Calibri"/>
              </a:rPr>
              <a:t>Sentence </a:t>
            </a:r>
            <a:r>
              <a:rPr lang="en-US" sz="3800" baseline="2275" dirty="0">
                <a:solidFill>
                  <a:srgbClr val="4E81BC"/>
                </a:solidFill>
                <a:cs typeface="Calibri"/>
              </a:rPr>
              <a:t>A</a:t>
            </a:r>
            <a:r>
              <a:rPr lang="en-US" sz="3800" baseline="2275" dirty="0">
                <a:solidFill>
                  <a:srgbClr val="7F7E7E"/>
                </a:solidFill>
                <a:cs typeface="Calibri"/>
              </a:rPr>
              <a:t>: “I like chocolate ice cream.”</a:t>
            </a:r>
            <a:endParaRPr lang="en-US" sz="3800" dirty="0">
              <a:cs typeface="Calibri"/>
            </a:endParaRPr>
          </a:p>
          <a:p>
            <a:pPr marL="12700" marR="45720">
              <a:lnSpc>
                <a:spcPts val="2885"/>
              </a:lnSpc>
              <a:spcBef>
                <a:spcPts val="13"/>
              </a:spcBef>
            </a:pPr>
            <a:r>
              <a:rPr lang="en-US" sz="3800" baseline="1137" dirty="0">
                <a:solidFill>
                  <a:srgbClr val="7F7E7E"/>
                </a:solidFill>
                <a:cs typeface="Calibri"/>
              </a:rPr>
              <a:t>set A = </a:t>
            </a:r>
            <a:r>
              <a:rPr lang="en-US" sz="3800" baseline="1137" dirty="0">
                <a:solidFill>
                  <a:schemeClr val="bg1">
                    <a:lumMod val="50000"/>
                  </a:schemeClr>
                </a:solidFill>
                <a:cs typeface="Calibri"/>
              </a:rPr>
              <a:t>{I, like, chocolate, ice, cream}</a:t>
            </a:r>
            <a:endParaRPr lang="en-US" sz="3800" dirty="0">
              <a:solidFill>
                <a:schemeClr val="bg1">
                  <a:lumMod val="50000"/>
                </a:schemeClr>
              </a:solidFill>
              <a:cs typeface="Calibri"/>
            </a:endParaRPr>
          </a:p>
          <a:p>
            <a:pPr marL="12700">
              <a:lnSpc>
                <a:spcPts val="3000"/>
              </a:lnSpc>
              <a:spcBef>
                <a:spcPts val="150"/>
              </a:spcBef>
            </a:pPr>
            <a:endParaRPr lang="en-US" sz="3800" dirty="0" smtClean="0">
              <a:cs typeface="Calibri"/>
            </a:endParaRPr>
          </a:p>
          <a:p>
            <a:pPr marL="12700">
              <a:lnSpc>
                <a:spcPts val="2615"/>
              </a:lnSpc>
              <a:spcBef>
                <a:spcPts val="130"/>
              </a:spcBef>
            </a:pPr>
            <a:r>
              <a:rPr lang="en-US" sz="3800" baseline="2275" dirty="0" smtClean="0">
                <a:solidFill>
                  <a:srgbClr val="4E81BC"/>
                </a:solidFill>
                <a:cs typeface="Calibri"/>
              </a:rPr>
              <a:t>Sentence </a:t>
            </a:r>
            <a:r>
              <a:rPr lang="en-US" sz="3800" baseline="2275" dirty="0">
                <a:solidFill>
                  <a:srgbClr val="4E81BC"/>
                </a:solidFill>
                <a:cs typeface="Calibri"/>
              </a:rPr>
              <a:t>B</a:t>
            </a:r>
            <a:r>
              <a:rPr lang="en-US" sz="3800" baseline="2275" dirty="0">
                <a:solidFill>
                  <a:srgbClr val="7F7E7E"/>
                </a:solidFill>
                <a:cs typeface="Calibri"/>
              </a:rPr>
              <a:t>: “Do I want chocolate cream or vanilla cream?”</a:t>
            </a:r>
            <a:endParaRPr lang="en-US" sz="3800" dirty="0">
              <a:cs typeface="Calibri"/>
            </a:endParaRPr>
          </a:p>
          <a:p>
            <a:pPr marL="12700" marR="45720">
              <a:lnSpc>
                <a:spcPts val="2785"/>
              </a:lnSpc>
              <a:spcBef>
                <a:spcPts val="8"/>
              </a:spcBef>
            </a:pPr>
            <a:r>
              <a:rPr lang="en-US" sz="3800" baseline="1137" dirty="0">
                <a:solidFill>
                  <a:srgbClr val="7F7E7E"/>
                </a:solidFill>
                <a:cs typeface="Calibri"/>
              </a:rPr>
              <a:t>set B </a:t>
            </a:r>
            <a:r>
              <a:rPr lang="en-US" sz="3800" baseline="1137" dirty="0">
                <a:solidFill>
                  <a:schemeClr val="bg1">
                    <a:lumMod val="50000"/>
                  </a:schemeClr>
                </a:solidFill>
                <a:cs typeface="Calibri"/>
              </a:rPr>
              <a:t>= {Do, I, want, chocolate, cream, or, vanilla}</a:t>
            </a:r>
            <a:endParaRPr lang="en-US" sz="3800" dirty="0">
              <a:solidFill>
                <a:schemeClr val="bg1">
                  <a:lumMod val="50000"/>
                </a:schemeClr>
              </a:solidFill>
              <a:cs typeface="Calibri"/>
            </a:endParaRPr>
          </a:p>
          <a:p>
            <a:pPr marL="12700">
              <a:lnSpc>
                <a:spcPts val="3000"/>
              </a:lnSpc>
              <a:spcBef>
                <a:spcPts val="150"/>
              </a:spcBef>
            </a:pPr>
            <a:endParaRPr lang="en-US" sz="3800" dirty="0" smtClean="0">
              <a:cs typeface="Calibri"/>
            </a:endParaRPr>
          </a:p>
          <a:p>
            <a:pPr marL="12700">
              <a:lnSpc>
                <a:spcPts val="3000"/>
              </a:lnSpc>
              <a:spcBef>
                <a:spcPts val="150"/>
              </a:spcBef>
            </a:pPr>
            <a:r>
              <a:rPr lang="en-US" sz="3800" baseline="1950" dirty="0" err="1">
                <a:solidFill>
                  <a:srgbClr val="7F7E7E"/>
                </a:solidFill>
                <a:cs typeface="Calibri"/>
              </a:rPr>
              <a:t>Jaccard</a:t>
            </a:r>
            <a:r>
              <a:rPr lang="en-US" sz="3800" baseline="1950" dirty="0">
                <a:solidFill>
                  <a:srgbClr val="7F7E7E"/>
                </a:solidFill>
                <a:cs typeface="Calibri"/>
              </a:rPr>
              <a:t> </a:t>
            </a:r>
            <a:r>
              <a:rPr lang="en-US" sz="3800" baseline="1950" dirty="0" err="1" smtClean="0">
                <a:solidFill>
                  <a:srgbClr val="7F7E7E"/>
                </a:solidFill>
                <a:cs typeface="Calibri"/>
              </a:rPr>
              <a:t>dist</a:t>
            </a:r>
            <a:endParaRPr lang="en-US" sz="3800" dirty="0" smtClean="0">
              <a:cs typeface="Calibri"/>
            </a:endParaRPr>
          </a:p>
        </p:txBody>
      </p:sp>
      <p:sp>
        <p:nvSpPr>
          <p:cNvPr id="16" name="object 5"/>
          <p:cNvSpPr txBox="1"/>
          <p:nvPr/>
        </p:nvSpPr>
        <p:spPr>
          <a:xfrm>
            <a:off x="604887" y="545066"/>
            <a:ext cx="7874384" cy="489493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 lvl="0">
              <a:lnSpc>
                <a:spcPts val="3400"/>
              </a:lnSpc>
              <a:spcBef>
                <a:spcPts val="170"/>
              </a:spcBef>
            </a:pPr>
            <a:r>
              <a:rPr lang="en-US" sz="4800" baseline="1706" dirty="0" err="1">
                <a:solidFill>
                  <a:srgbClr val="4E81BC"/>
                </a:solidFill>
                <a:latin typeface="+mj-lt"/>
                <a:cs typeface="Calibri"/>
              </a:rPr>
              <a:t>Jaccard</a:t>
            </a:r>
            <a:r>
              <a:rPr lang="en-US" sz="4800" baseline="1706" dirty="0">
                <a:solidFill>
                  <a:srgbClr val="4E81BC"/>
                </a:solidFill>
                <a:latin typeface="+mj-lt"/>
                <a:cs typeface="Calibri"/>
              </a:rPr>
              <a:t> </a:t>
            </a:r>
            <a:r>
              <a:rPr sz="4800" spc="0" baseline="1706" dirty="0" smtClean="0">
                <a:solidFill>
                  <a:srgbClr val="4E81BC"/>
                </a:solidFill>
                <a:latin typeface="+mj-lt"/>
                <a:cs typeface="Calibri"/>
              </a:rPr>
              <a:t>Distance</a:t>
            </a:r>
            <a:r>
              <a:rPr lang="en-US" sz="4800" spc="0" baseline="1706" dirty="0" smtClean="0">
                <a:solidFill>
                  <a:srgbClr val="4E81BC"/>
                </a:solidFill>
                <a:latin typeface="+mj-lt"/>
                <a:cs typeface="Calibri"/>
              </a:rPr>
              <a:t>  </a:t>
            </a:r>
            <a:endParaRPr lang="en-US" sz="4800" dirty="0">
              <a:solidFill>
                <a:prstClr val="black"/>
              </a:solidFill>
              <a:latin typeface="+mj-lt"/>
              <a:cs typeface="Calibri"/>
            </a:endParaRPr>
          </a:p>
        </p:txBody>
      </p:sp>
      <p:sp>
        <p:nvSpPr>
          <p:cNvPr id="25" name="object 9"/>
          <p:cNvSpPr txBox="1"/>
          <p:nvPr/>
        </p:nvSpPr>
        <p:spPr>
          <a:xfrm>
            <a:off x="5063356" y="4275562"/>
            <a:ext cx="1623691" cy="354225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595"/>
              </a:lnSpc>
              <a:spcBef>
                <a:spcPts val="129"/>
              </a:spcBef>
            </a:pPr>
            <a:r>
              <a:rPr sz="3900" i="1" u="heavy" spc="-4" baseline="1136" dirty="0" smtClean="0">
                <a:cs typeface="Times New Roman"/>
              </a:rPr>
              <a:t>l</a:t>
            </a:r>
            <a:r>
              <a:rPr sz="3900" i="1" u="heavy" spc="-14" baseline="1136" dirty="0" smtClean="0">
                <a:cs typeface="Times New Roman"/>
              </a:rPr>
              <a:t>e</a:t>
            </a:r>
            <a:r>
              <a:rPr sz="3900" i="1" u="heavy" spc="39" baseline="1136" dirty="0" smtClean="0">
                <a:cs typeface="Times New Roman"/>
              </a:rPr>
              <a:t>n</a:t>
            </a:r>
            <a:r>
              <a:rPr sz="3900" u="heavy" spc="59" baseline="1136" dirty="0" smtClean="0">
                <a:cs typeface="Times New Roman"/>
              </a:rPr>
              <a:t>(</a:t>
            </a:r>
            <a:r>
              <a:rPr sz="3900" i="1" u="heavy" spc="-4" baseline="1136" dirty="0" smtClean="0">
                <a:cs typeface="Times New Roman"/>
              </a:rPr>
              <a:t>s</a:t>
            </a:r>
            <a:r>
              <a:rPr sz="3900" i="1" u="heavy" spc="0" baseline="1136" dirty="0" smtClean="0">
                <a:cs typeface="Times New Roman"/>
              </a:rPr>
              <a:t>ha</a:t>
            </a:r>
            <a:r>
              <a:rPr sz="3900" i="1" u="heavy" spc="-4" baseline="1136" dirty="0" smtClean="0">
                <a:cs typeface="Times New Roman"/>
              </a:rPr>
              <a:t>r</a:t>
            </a:r>
            <a:r>
              <a:rPr sz="3900" i="1" u="heavy" spc="-14" baseline="1136" dirty="0" smtClean="0">
                <a:cs typeface="Times New Roman"/>
              </a:rPr>
              <a:t>e</a:t>
            </a:r>
            <a:r>
              <a:rPr sz="3900" i="1" u="heavy" spc="0" baseline="1136" dirty="0" smtClean="0">
                <a:cs typeface="Times New Roman"/>
              </a:rPr>
              <a:t>d</a:t>
            </a:r>
            <a:r>
              <a:rPr sz="3900" u="heavy" spc="-444" baseline="1136" dirty="0" smtClean="0">
                <a:cs typeface="Times New Roman"/>
              </a:rPr>
              <a:t> </a:t>
            </a:r>
            <a:r>
              <a:rPr sz="3900" u="heavy" spc="0" baseline="1136" dirty="0" smtClean="0">
                <a:cs typeface="Times New Roman"/>
              </a:rPr>
              <a:t>)</a:t>
            </a:r>
            <a:endParaRPr sz="3900" dirty="0">
              <a:cs typeface="Times New Roman"/>
            </a:endParaRPr>
          </a:p>
        </p:txBody>
      </p:sp>
      <p:sp>
        <p:nvSpPr>
          <p:cNvPr id="26" name="object 8"/>
          <p:cNvSpPr txBox="1"/>
          <p:nvPr/>
        </p:nvSpPr>
        <p:spPr>
          <a:xfrm>
            <a:off x="2777995" y="4473370"/>
            <a:ext cx="445990" cy="370281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595"/>
              </a:lnSpc>
              <a:spcBef>
                <a:spcPts val="129"/>
              </a:spcBef>
            </a:pPr>
            <a:r>
              <a:rPr sz="3900" baseline="1136" dirty="0" smtClean="0">
                <a:cs typeface="Times New Roman"/>
              </a:rPr>
              <a:t>1</a:t>
            </a:r>
            <a:r>
              <a:rPr sz="3900" spc="-450" baseline="1136" dirty="0" smtClean="0">
                <a:cs typeface="Times New Roman"/>
              </a:rPr>
              <a:t> </a:t>
            </a:r>
            <a:r>
              <a:rPr sz="3900" spc="0" baseline="1136" dirty="0" smtClean="0">
                <a:cs typeface="Times New Roman"/>
              </a:rPr>
              <a:t>−</a:t>
            </a:r>
            <a:endParaRPr sz="3900" dirty="0">
              <a:cs typeface="Times New Roman"/>
            </a:endParaRPr>
          </a:p>
        </p:txBody>
      </p:sp>
      <p:sp>
        <p:nvSpPr>
          <p:cNvPr id="27" name="object 7"/>
          <p:cNvSpPr txBox="1"/>
          <p:nvPr/>
        </p:nvSpPr>
        <p:spPr>
          <a:xfrm>
            <a:off x="4302822" y="4473370"/>
            <a:ext cx="661781" cy="370281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595"/>
              </a:lnSpc>
              <a:spcBef>
                <a:spcPts val="129"/>
              </a:spcBef>
            </a:pPr>
            <a:r>
              <a:rPr sz="3900" spc="0" baseline="1333" dirty="0" smtClean="0">
                <a:cs typeface="Symbols"/>
              </a:rPr>
              <a:t>=</a:t>
            </a:r>
            <a:r>
              <a:rPr sz="3900" spc="114" baseline="1333" dirty="0" smtClean="0">
                <a:cs typeface="Symbols"/>
              </a:rPr>
              <a:t> </a:t>
            </a:r>
            <a:r>
              <a:rPr sz="3900" spc="0" baseline="1136" dirty="0" smtClean="0">
                <a:cs typeface="Times New Roman"/>
              </a:rPr>
              <a:t>1</a:t>
            </a:r>
            <a:r>
              <a:rPr sz="3900" spc="-450" baseline="1136" dirty="0" smtClean="0">
                <a:cs typeface="Times New Roman"/>
              </a:rPr>
              <a:t> </a:t>
            </a:r>
            <a:r>
              <a:rPr sz="3900" spc="0" baseline="1136" dirty="0" smtClean="0">
                <a:cs typeface="Times New Roman"/>
              </a:rPr>
              <a:t>−</a:t>
            </a:r>
            <a:endParaRPr sz="3900" dirty="0">
              <a:cs typeface="Times New Roman"/>
            </a:endParaRPr>
          </a:p>
        </p:txBody>
      </p:sp>
      <p:sp>
        <p:nvSpPr>
          <p:cNvPr id="28" name="object 10"/>
          <p:cNvSpPr txBox="1"/>
          <p:nvPr/>
        </p:nvSpPr>
        <p:spPr>
          <a:xfrm>
            <a:off x="3322738" y="4275562"/>
            <a:ext cx="881332" cy="357008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595"/>
              </a:lnSpc>
              <a:spcBef>
                <a:spcPts val="129"/>
              </a:spcBef>
            </a:pPr>
            <a:r>
              <a:rPr sz="3900" i="1" u="heavy" spc="0" baseline="1136" dirty="0" smtClean="0">
                <a:cs typeface="Times New Roman"/>
              </a:rPr>
              <a:t>A</a:t>
            </a:r>
            <a:r>
              <a:rPr sz="3900" u="heavy" spc="-183" baseline="1136" dirty="0" smtClean="0">
                <a:cs typeface="Times New Roman"/>
              </a:rPr>
              <a:t> </a:t>
            </a:r>
            <a:r>
              <a:rPr sz="3900" u="heavy" spc="0" baseline="1039" dirty="0" smtClean="0">
                <a:cs typeface="Batang"/>
              </a:rPr>
              <a:t>∩</a:t>
            </a:r>
            <a:r>
              <a:rPr sz="3900" u="heavy" spc="-138" baseline="1136" dirty="0" smtClean="0">
                <a:cs typeface="Times New Roman"/>
              </a:rPr>
              <a:t> </a:t>
            </a:r>
            <a:r>
              <a:rPr sz="3900" i="1" u="heavy" spc="0" baseline="1136" dirty="0" smtClean="0">
                <a:cs typeface="Times New Roman"/>
              </a:rPr>
              <a:t>B</a:t>
            </a:r>
            <a:endParaRPr sz="3900" dirty="0">
              <a:cs typeface="Times New Roman"/>
            </a:endParaRPr>
          </a:p>
        </p:txBody>
      </p:sp>
      <p:sp>
        <p:nvSpPr>
          <p:cNvPr id="29" name="object 5"/>
          <p:cNvSpPr txBox="1"/>
          <p:nvPr/>
        </p:nvSpPr>
        <p:spPr>
          <a:xfrm>
            <a:off x="3322737" y="4595992"/>
            <a:ext cx="881331" cy="357008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595"/>
              </a:lnSpc>
              <a:spcBef>
                <a:spcPts val="129"/>
              </a:spcBef>
            </a:pPr>
            <a:r>
              <a:rPr sz="3900" i="1" spc="0" baseline="1136" dirty="0" smtClean="0">
                <a:cs typeface="Times New Roman"/>
              </a:rPr>
              <a:t>A</a:t>
            </a:r>
            <a:r>
              <a:rPr sz="3900" i="1" spc="-179" baseline="1136" dirty="0" smtClean="0">
                <a:cs typeface="Times New Roman"/>
              </a:rPr>
              <a:t> </a:t>
            </a:r>
            <a:r>
              <a:rPr sz="3900" spc="0" baseline="1039" dirty="0" smtClean="0">
                <a:cs typeface="Batang"/>
              </a:rPr>
              <a:t>∪</a:t>
            </a:r>
            <a:r>
              <a:rPr sz="3900" spc="-344" baseline="1039" dirty="0" smtClean="0">
                <a:cs typeface="Batang"/>
              </a:rPr>
              <a:t> </a:t>
            </a:r>
            <a:r>
              <a:rPr sz="3900" i="1" spc="0" baseline="1136" dirty="0" smtClean="0">
                <a:cs typeface="Times New Roman"/>
              </a:rPr>
              <a:t>B</a:t>
            </a:r>
            <a:endParaRPr sz="3900">
              <a:cs typeface="Times New Roman"/>
            </a:endParaRPr>
          </a:p>
        </p:txBody>
      </p:sp>
      <p:sp>
        <p:nvSpPr>
          <p:cNvPr id="30" name="object 4"/>
          <p:cNvSpPr txBox="1"/>
          <p:nvPr/>
        </p:nvSpPr>
        <p:spPr>
          <a:xfrm>
            <a:off x="5063356" y="4595992"/>
            <a:ext cx="1566044" cy="354225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595"/>
              </a:lnSpc>
              <a:spcBef>
                <a:spcPts val="129"/>
              </a:spcBef>
            </a:pPr>
            <a:r>
              <a:rPr sz="3900" i="1" spc="-4" baseline="1136" dirty="0" smtClean="0">
                <a:cs typeface="Times New Roman"/>
              </a:rPr>
              <a:t>l</a:t>
            </a:r>
            <a:r>
              <a:rPr sz="3900" i="1" spc="-14" baseline="1136" dirty="0" smtClean="0">
                <a:cs typeface="Times New Roman"/>
              </a:rPr>
              <a:t>e</a:t>
            </a:r>
            <a:r>
              <a:rPr sz="3900" i="1" spc="39" baseline="1136" dirty="0" smtClean="0">
                <a:cs typeface="Times New Roman"/>
              </a:rPr>
              <a:t>n</a:t>
            </a:r>
            <a:r>
              <a:rPr sz="3900" spc="59" baseline="1136" dirty="0" smtClean="0">
                <a:cs typeface="Times New Roman"/>
              </a:rPr>
              <a:t>(</a:t>
            </a:r>
            <a:r>
              <a:rPr sz="3900" i="1" spc="0" baseline="1136" dirty="0" smtClean="0">
                <a:cs typeface="Times New Roman"/>
              </a:rPr>
              <a:t>a</a:t>
            </a:r>
            <a:r>
              <a:rPr sz="3900" i="1" spc="-4" baseline="1136" dirty="0" smtClean="0">
                <a:cs typeface="Times New Roman"/>
              </a:rPr>
              <a:t>l</a:t>
            </a:r>
            <a:r>
              <a:rPr sz="3900" i="1" spc="150" baseline="1136" dirty="0" smtClean="0">
                <a:cs typeface="Times New Roman"/>
              </a:rPr>
              <a:t>l</a:t>
            </a:r>
            <a:r>
              <a:rPr sz="3900" spc="0" baseline="1136" dirty="0" smtClean="0">
                <a:cs typeface="Times New Roman"/>
              </a:rPr>
              <a:t>)</a:t>
            </a:r>
            <a:endParaRPr sz="3900" dirty="0">
              <a:cs typeface="Times New Roman"/>
            </a:endParaRPr>
          </a:p>
        </p:txBody>
      </p:sp>
      <p:sp>
        <p:nvSpPr>
          <p:cNvPr id="31" name="object 3"/>
          <p:cNvSpPr txBox="1"/>
          <p:nvPr/>
        </p:nvSpPr>
        <p:spPr>
          <a:xfrm>
            <a:off x="3185360" y="4395180"/>
            <a:ext cx="56035" cy="1524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3900"/>
          </a:p>
        </p:txBody>
      </p:sp>
      <p:sp>
        <p:nvSpPr>
          <p:cNvPr id="32" name="object 2"/>
          <p:cNvSpPr txBox="1"/>
          <p:nvPr/>
        </p:nvSpPr>
        <p:spPr>
          <a:xfrm>
            <a:off x="3458419" y="4395180"/>
            <a:ext cx="63846" cy="1524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3900"/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Object 1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758243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5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object 8"/>
          <p:cNvSpPr txBox="1"/>
          <p:nvPr/>
        </p:nvSpPr>
        <p:spPr>
          <a:xfrm>
            <a:off x="604886" y="1394897"/>
            <a:ext cx="7874384" cy="3449662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>
              <a:lnSpc>
                <a:spcPts val="3000"/>
              </a:lnSpc>
              <a:spcBef>
                <a:spcPts val="150"/>
              </a:spcBef>
            </a:pPr>
            <a:r>
              <a:rPr sz="3800" spc="0" baseline="1950" dirty="0" smtClean="0">
                <a:solidFill>
                  <a:srgbClr val="7F7E7E"/>
                </a:solidFill>
                <a:cs typeface="Calibri"/>
              </a:rPr>
              <a:t>Applies to sets (like bag of words)</a:t>
            </a:r>
            <a:endParaRPr lang="en-US" sz="3800" spc="0" baseline="1950" dirty="0" smtClean="0">
              <a:solidFill>
                <a:srgbClr val="7F7E7E"/>
              </a:solidFill>
              <a:cs typeface="Calibri"/>
            </a:endParaRPr>
          </a:p>
          <a:p>
            <a:pPr marL="12700">
              <a:lnSpc>
                <a:spcPts val="3000"/>
              </a:lnSpc>
              <a:spcBef>
                <a:spcPts val="150"/>
              </a:spcBef>
            </a:pPr>
            <a:endParaRPr lang="en-US" sz="3800" spc="0" baseline="1950" dirty="0" smtClean="0">
              <a:solidFill>
                <a:srgbClr val="7F7E7E"/>
              </a:solidFill>
              <a:cs typeface="Calibri"/>
            </a:endParaRPr>
          </a:p>
          <a:p>
            <a:pPr marL="12700">
              <a:lnSpc>
                <a:spcPts val="2615"/>
              </a:lnSpc>
              <a:spcBef>
                <a:spcPts val="130"/>
              </a:spcBef>
            </a:pPr>
            <a:r>
              <a:rPr lang="en-US" sz="3800" baseline="2275" dirty="0" smtClean="0">
                <a:solidFill>
                  <a:srgbClr val="4E81BC"/>
                </a:solidFill>
                <a:cs typeface="Calibri"/>
              </a:rPr>
              <a:t>Sentence </a:t>
            </a:r>
            <a:r>
              <a:rPr lang="en-US" sz="3800" baseline="2275" dirty="0">
                <a:solidFill>
                  <a:srgbClr val="4E81BC"/>
                </a:solidFill>
                <a:cs typeface="Calibri"/>
              </a:rPr>
              <a:t>A</a:t>
            </a:r>
            <a:r>
              <a:rPr lang="en-US" sz="3800" baseline="2275" dirty="0">
                <a:solidFill>
                  <a:srgbClr val="7F7E7E"/>
                </a:solidFill>
                <a:cs typeface="Calibri"/>
              </a:rPr>
              <a:t>: “I like chocolate ice cream.”</a:t>
            </a:r>
            <a:endParaRPr lang="en-US" sz="3800" dirty="0">
              <a:cs typeface="Calibri"/>
            </a:endParaRPr>
          </a:p>
          <a:p>
            <a:pPr marL="12700" marR="45720">
              <a:lnSpc>
                <a:spcPts val="2885"/>
              </a:lnSpc>
              <a:spcBef>
                <a:spcPts val="13"/>
              </a:spcBef>
            </a:pPr>
            <a:r>
              <a:rPr lang="en-US" sz="3800" baseline="1137" dirty="0">
                <a:solidFill>
                  <a:srgbClr val="7F7E7E"/>
                </a:solidFill>
                <a:cs typeface="Calibri"/>
              </a:rPr>
              <a:t>set A = {</a:t>
            </a:r>
            <a:r>
              <a:rPr lang="en-US" sz="3800" baseline="1137" dirty="0">
                <a:solidFill>
                  <a:srgbClr val="F69545"/>
                </a:solidFill>
                <a:cs typeface="Calibri"/>
              </a:rPr>
              <a:t>I</a:t>
            </a:r>
            <a:r>
              <a:rPr lang="en-US" sz="3800" baseline="1137" dirty="0">
                <a:solidFill>
                  <a:srgbClr val="7F7E7E"/>
                </a:solidFill>
                <a:cs typeface="Calibri"/>
              </a:rPr>
              <a:t>, like, </a:t>
            </a:r>
            <a:r>
              <a:rPr lang="en-US" sz="3800" baseline="1137" dirty="0">
                <a:solidFill>
                  <a:srgbClr val="F69545"/>
                </a:solidFill>
                <a:cs typeface="Calibri"/>
              </a:rPr>
              <a:t>chocolate</a:t>
            </a:r>
            <a:r>
              <a:rPr lang="en-US" sz="3800" baseline="1137" dirty="0">
                <a:solidFill>
                  <a:srgbClr val="7F7E7E"/>
                </a:solidFill>
                <a:cs typeface="Calibri"/>
              </a:rPr>
              <a:t>, ice, </a:t>
            </a:r>
            <a:r>
              <a:rPr lang="en-US" sz="3800" baseline="1137" dirty="0">
                <a:solidFill>
                  <a:srgbClr val="F69545"/>
                </a:solidFill>
                <a:cs typeface="Calibri"/>
              </a:rPr>
              <a:t>cream</a:t>
            </a:r>
            <a:r>
              <a:rPr lang="en-US" sz="3800" baseline="1137" dirty="0">
                <a:solidFill>
                  <a:srgbClr val="7F7E7E"/>
                </a:solidFill>
                <a:cs typeface="Calibri"/>
              </a:rPr>
              <a:t>}</a:t>
            </a:r>
            <a:endParaRPr lang="en-US" sz="3800" dirty="0">
              <a:cs typeface="Calibri"/>
            </a:endParaRPr>
          </a:p>
          <a:p>
            <a:pPr marL="12700">
              <a:lnSpc>
                <a:spcPts val="3000"/>
              </a:lnSpc>
              <a:spcBef>
                <a:spcPts val="150"/>
              </a:spcBef>
            </a:pPr>
            <a:endParaRPr lang="en-US" sz="3800" dirty="0" smtClean="0">
              <a:cs typeface="Calibri"/>
            </a:endParaRPr>
          </a:p>
          <a:p>
            <a:pPr marL="12700">
              <a:lnSpc>
                <a:spcPts val="2615"/>
              </a:lnSpc>
              <a:spcBef>
                <a:spcPts val="130"/>
              </a:spcBef>
            </a:pPr>
            <a:r>
              <a:rPr lang="en-US" sz="3800" baseline="2275" dirty="0" smtClean="0">
                <a:solidFill>
                  <a:srgbClr val="4E81BC"/>
                </a:solidFill>
                <a:cs typeface="Calibri"/>
              </a:rPr>
              <a:t>Sentence </a:t>
            </a:r>
            <a:r>
              <a:rPr lang="en-US" sz="3800" baseline="2275" dirty="0">
                <a:solidFill>
                  <a:srgbClr val="4E81BC"/>
                </a:solidFill>
                <a:cs typeface="Calibri"/>
              </a:rPr>
              <a:t>B</a:t>
            </a:r>
            <a:r>
              <a:rPr lang="en-US" sz="3800" baseline="2275" dirty="0">
                <a:solidFill>
                  <a:srgbClr val="7F7E7E"/>
                </a:solidFill>
                <a:cs typeface="Calibri"/>
              </a:rPr>
              <a:t>: “Do I want chocolate cream or vanilla cream?”</a:t>
            </a:r>
            <a:endParaRPr lang="en-US" sz="3800" dirty="0">
              <a:cs typeface="Calibri"/>
            </a:endParaRPr>
          </a:p>
          <a:p>
            <a:pPr marL="12700" marR="45720">
              <a:lnSpc>
                <a:spcPts val="2785"/>
              </a:lnSpc>
              <a:spcBef>
                <a:spcPts val="8"/>
              </a:spcBef>
            </a:pPr>
            <a:r>
              <a:rPr lang="en-US" sz="3800" baseline="1137" dirty="0">
                <a:solidFill>
                  <a:srgbClr val="7F7E7E"/>
                </a:solidFill>
                <a:cs typeface="Calibri"/>
              </a:rPr>
              <a:t>set B = {Do, </a:t>
            </a:r>
            <a:r>
              <a:rPr lang="en-US" sz="3800" baseline="1137" dirty="0">
                <a:solidFill>
                  <a:srgbClr val="F69545"/>
                </a:solidFill>
                <a:cs typeface="Calibri"/>
              </a:rPr>
              <a:t>I</a:t>
            </a:r>
            <a:r>
              <a:rPr lang="en-US" sz="3800" baseline="1137" dirty="0">
                <a:solidFill>
                  <a:srgbClr val="7F7E7E"/>
                </a:solidFill>
                <a:cs typeface="Calibri"/>
              </a:rPr>
              <a:t>, want, </a:t>
            </a:r>
            <a:r>
              <a:rPr lang="en-US" sz="3800" baseline="1137" dirty="0">
                <a:solidFill>
                  <a:srgbClr val="F69545"/>
                </a:solidFill>
                <a:cs typeface="Calibri"/>
              </a:rPr>
              <a:t>chocolate</a:t>
            </a:r>
            <a:r>
              <a:rPr lang="en-US" sz="3800" baseline="1137" dirty="0">
                <a:solidFill>
                  <a:srgbClr val="7F7E7E"/>
                </a:solidFill>
                <a:cs typeface="Calibri"/>
              </a:rPr>
              <a:t>, </a:t>
            </a:r>
            <a:r>
              <a:rPr lang="en-US" sz="3800" baseline="1137" dirty="0">
                <a:solidFill>
                  <a:srgbClr val="F69545"/>
                </a:solidFill>
                <a:cs typeface="Calibri"/>
              </a:rPr>
              <a:t>cream</a:t>
            </a:r>
            <a:r>
              <a:rPr lang="en-US" sz="3800" baseline="1137" dirty="0">
                <a:solidFill>
                  <a:srgbClr val="7F7E7E"/>
                </a:solidFill>
                <a:cs typeface="Calibri"/>
              </a:rPr>
              <a:t>, or, vanilla}</a:t>
            </a:r>
            <a:endParaRPr lang="en-US" sz="3800" dirty="0">
              <a:cs typeface="Calibri"/>
            </a:endParaRPr>
          </a:p>
          <a:p>
            <a:pPr marL="12700">
              <a:lnSpc>
                <a:spcPts val="3000"/>
              </a:lnSpc>
              <a:spcBef>
                <a:spcPts val="150"/>
              </a:spcBef>
            </a:pPr>
            <a:endParaRPr lang="en-US" sz="3800" dirty="0" smtClean="0">
              <a:cs typeface="Calibri"/>
            </a:endParaRPr>
          </a:p>
          <a:p>
            <a:pPr marL="12700">
              <a:lnSpc>
                <a:spcPts val="3000"/>
              </a:lnSpc>
              <a:spcBef>
                <a:spcPts val="150"/>
              </a:spcBef>
            </a:pPr>
            <a:r>
              <a:rPr lang="en-US" sz="3800" baseline="1950" dirty="0" err="1">
                <a:solidFill>
                  <a:srgbClr val="7F7E7E"/>
                </a:solidFill>
                <a:cs typeface="Calibri"/>
              </a:rPr>
              <a:t>Jaccard</a:t>
            </a:r>
            <a:r>
              <a:rPr lang="en-US" sz="3800" baseline="1950" dirty="0">
                <a:solidFill>
                  <a:srgbClr val="7F7E7E"/>
                </a:solidFill>
                <a:cs typeface="Calibri"/>
              </a:rPr>
              <a:t> </a:t>
            </a:r>
            <a:r>
              <a:rPr lang="en-US" sz="3800" baseline="1950" dirty="0" err="1" smtClean="0">
                <a:solidFill>
                  <a:srgbClr val="7F7E7E"/>
                </a:solidFill>
                <a:cs typeface="Calibri"/>
              </a:rPr>
              <a:t>dist</a:t>
            </a:r>
            <a:endParaRPr lang="en-US" sz="3800" dirty="0" smtClean="0">
              <a:cs typeface="Calibri"/>
            </a:endParaRPr>
          </a:p>
        </p:txBody>
      </p:sp>
      <p:sp>
        <p:nvSpPr>
          <p:cNvPr id="16" name="object 5"/>
          <p:cNvSpPr txBox="1"/>
          <p:nvPr/>
        </p:nvSpPr>
        <p:spPr>
          <a:xfrm>
            <a:off x="604887" y="545066"/>
            <a:ext cx="7874384" cy="489493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 lvl="0">
              <a:lnSpc>
                <a:spcPts val="3400"/>
              </a:lnSpc>
              <a:spcBef>
                <a:spcPts val="170"/>
              </a:spcBef>
            </a:pPr>
            <a:r>
              <a:rPr lang="en-US" sz="4800" baseline="1706" dirty="0" err="1">
                <a:solidFill>
                  <a:srgbClr val="4E81BC"/>
                </a:solidFill>
                <a:latin typeface="+mj-lt"/>
                <a:cs typeface="Calibri"/>
              </a:rPr>
              <a:t>Jaccard</a:t>
            </a:r>
            <a:r>
              <a:rPr lang="en-US" sz="4800" baseline="1706" dirty="0">
                <a:solidFill>
                  <a:srgbClr val="4E81BC"/>
                </a:solidFill>
                <a:latin typeface="+mj-lt"/>
                <a:cs typeface="Calibri"/>
              </a:rPr>
              <a:t> </a:t>
            </a:r>
            <a:r>
              <a:rPr sz="4800" spc="0" baseline="1706" dirty="0" smtClean="0">
                <a:solidFill>
                  <a:srgbClr val="4E81BC"/>
                </a:solidFill>
                <a:latin typeface="+mj-lt"/>
                <a:cs typeface="Calibri"/>
              </a:rPr>
              <a:t>Distance</a:t>
            </a:r>
            <a:r>
              <a:rPr lang="en-US" sz="4800" spc="0" baseline="1706" dirty="0" smtClean="0">
                <a:solidFill>
                  <a:srgbClr val="4E81BC"/>
                </a:solidFill>
                <a:latin typeface="+mj-lt"/>
                <a:cs typeface="Calibri"/>
              </a:rPr>
              <a:t>  </a:t>
            </a:r>
            <a:endParaRPr lang="en-US" sz="4800" dirty="0">
              <a:solidFill>
                <a:prstClr val="black"/>
              </a:solidFill>
              <a:latin typeface="+mj-lt"/>
              <a:cs typeface="Calibri"/>
            </a:endParaRPr>
          </a:p>
        </p:txBody>
      </p:sp>
      <p:sp>
        <p:nvSpPr>
          <p:cNvPr id="9" name="object 9"/>
          <p:cNvSpPr txBox="1"/>
          <p:nvPr/>
        </p:nvSpPr>
        <p:spPr>
          <a:xfrm>
            <a:off x="5063356" y="4275562"/>
            <a:ext cx="1623691" cy="354225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595"/>
              </a:lnSpc>
              <a:spcBef>
                <a:spcPts val="129"/>
              </a:spcBef>
            </a:pPr>
            <a:r>
              <a:rPr sz="3900" i="1" u="heavy" spc="-4" baseline="1136" dirty="0" smtClean="0">
                <a:cs typeface="Times New Roman"/>
              </a:rPr>
              <a:t>l</a:t>
            </a:r>
            <a:r>
              <a:rPr sz="3900" i="1" u="heavy" spc="-14" baseline="1136" dirty="0" smtClean="0">
                <a:cs typeface="Times New Roman"/>
              </a:rPr>
              <a:t>e</a:t>
            </a:r>
            <a:r>
              <a:rPr sz="3900" i="1" u="heavy" spc="39" baseline="1136" dirty="0" smtClean="0">
                <a:cs typeface="Times New Roman"/>
              </a:rPr>
              <a:t>n</a:t>
            </a:r>
            <a:r>
              <a:rPr sz="3900" u="heavy" spc="59" baseline="1136" dirty="0" smtClean="0">
                <a:cs typeface="Times New Roman"/>
              </a:rPr>
              <a:t>(</a:t>
            </a:r>
            <a:r>
              <a:rPr sz="3900" i="1" u="heavy" spc="-4" baseline="1136" dirty="0" smtClean="0">
                <a:cs typeface="Times New Roman"/>
              </a:rPr>
              <a:t>s</a:t>
            </a:r>
            <a:r>
              <a:rPr sz="3900" i="1" u="heavy" spc="0" baseline="1136" dirty="0" smtClean="0">
                <a:cs typeface="Times New Roman"/>
              </a:rPr>
              <a:t>ha</a:t>
            </a:r>
            <a:r>
              <a:rPr sz="3900" i="1" u="heavy" spc="-4" baseline="1136" dirty="0" smtClean="0">
                <a:cs typeface="Times New Roman"/>
              </a:rPr>
              <a:t>r</a:t>
            </a:r>
            <a:r>
              <a:rPr sz="3900" i="1" u="heavy" spc="-14" baseline="1136" dirty="0" smtClean="0">
                <a:cs typeface="Times New Roman"/>
              </a:rPr>
              <a:t>e</a:t>
            </a:r>
            <a:r>
              <a:rPr sz="3900" i="1" u="heavy" spc="0" baseline="1136" dirty="0" smtClean="0">
                <a:cs typeface="Times New Roman"/>
              </a:rPr>
              <a:t>d</a:t>
            </a:r>
            <a:r>
              <a:rPr sz="3900" u="heavy" spc="-444" baseline="1136" dirty="0" smtClean="0">
                <a:cs typeface="Times New Roman"/>
              </a:rPr>
              <a:t> </a:t>
            </a:r>
            <a:r>
              <a:rPr sz="3900" u="heavy" spc="0" baseline="1136" dirty="0" smtClean="0">
                <a:cs typeface="Times New Roman"/>
              </a:rPr>
              <a:t>)</a:t>
            </a:r>
            <a:endParaRPr sz="3900" dirty="0">
              <a:cs typeface="Times New Roman"/>
            </a:endParaRPr>
          </a:p>
        </p:txBody>
      </p:sp>
      <p:sp>
        <p:nvSpPr>
          <p:cNvPr id="8" name="object 8"/>
          <p:cNvSpPr txBox="1"/>
          <p:nvPr/>
        </p:nvSpPr>
        <p:spPr>
          <a:xfrm>
            <a:off x="2777995" y="4473370"/>
            <a:ext cx="445990" cy="370281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595"/>
              </a:lnSpc>
              <a:spcBef>
                <a:spcPts val="129"/>
              </a:spcBef>
            </a:pPr>
            <a:r>
              <a:rPr sz="3900" baseline="1136" dirty="0" smtClean="0">
                <a:cs typeface="Times New Roman"/>
              </a:rPr>
              <a:t>1</a:t>
            </a:r>
            <a:r>
              <a:rPr sz="3900" spc="-450" baseline="1136" dirty="0" smtClean="0">
                <a:cs typeface="Times New Roman"/>
              </a:rPr>
              <a:t> </a:t>
            </a:r>
            <a:r>
              <a:rPr sz="3900" spc="0" baseline="1136" dirty="0" smtClean="0">
                <a:cs typeface="Times New Roman"/>
              </a:rPr>
              <a:t>−</a:t>
            </a:r>
            <a:endParaRPr sz="3900" dirty="0">
              <a:cs typeface="Times New Roman"/>
            </a:endParaRPr>
          </a:p>
        </p:txBody>
      </p:sp>
      <p:sp>
        <p:nvSpPr>
          <p:cNvPr id="7" name="object 7"/>
          <p:cNvSpPr txBox="1"/>
          <p:nvPr/>
        </p:nvSpPr>
        <p:spPr>
          <a:xfrm>
            <a:off x="4302822" y="4473370"/>
            <a:ext cx="661781" cy="370281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595"/>
              </a:lnSpc>
              <a:spcBef>
                <a:spcPts val="129"/>
              </a:spcBef>
            </a:pPr>
            <a:r>
              <a:rPr sz="3900" spc="0" baseline="1333" dirty="0" smtClean="0">
                <a:cs typeface="Symbols"/>
              </a:rPr>
              <a:t>=</a:t>
            </a:r>
            <a:r>
              <a:rPr sz="3900" spc="114" baseline="1333" dirty="0" smtClean="0">
                <a:cs typeface="Symbols"/>
              </a:rPr>
              <a:t> </a:t>
            </a:r>
            <a:r>
              <a:rPr sz="3900" spc="0" baseline="1136" dirty="0" smtClean="0">
                <a:cs typeface="Times New Roman"/>
              </a:rPr>
              <a:t>1</a:t>
            </a:r>
            <a:r>
              <a:rPr sz="3900" spc="-450" baseline="1136" dirty="0" smtClean="0">
                <a:cs typeface="Times New Roman"/>
              </a:rPr>
              <a:t> </a:t>
            </a:r>
            <a:r>
              <a:rPr sz="3900" spc="0" baseline="1136" dirty="0" smtClean="0">
                <a:cs typeface="Times New Roman"/>
              </a:rPr>
              <a:t>−</a:t>
            </a:r>
            <a:endParaRPr sz="3900" dirty="0">
              <a:cs typeface="Times New Roman"/>
            </a:endParaRPr>
          </a:p>
        </p:txBody>
      </p:sp>
      <p:sp>
        <p:nvSpPr>
          <p:cNvPr id="10" name="object 10"/>
          <p:cNvSpPr txBox="1"/>
          <p:nvPr/>
        </p:nvSpPr>
        <p:spPr>
          <a:xfrm>
            <a:off x="3322738" y="4275562"/>
            <a:ext cx="881332" cy="357008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595"/>
              </a:lnSpc>
              <a:spcBef>
                <a:spcPts val="129"/>
              </a:spcBef>
            </a:pPr>
            <a:r>
              <a:rPr sz="3900" i="1" u="heavy" spc="0" baseline="1136" dirty="0" smtClean="0">
                <a:cs typeface="Times New Roman"/>
              </a:rPr>
              <a:t>A</a:t>
            </a:r>
            <a:r>
              <a:rPr sz="3900" u="heavy" spc="-183" baseline="1136" dirty="0" smtClean="0">
                <a:cs typeface="Times New Roman"/>
              </a:rPr>
              <a:t> </a:t>
            </a:r>
            <a:r>
              <a:rPr sz="3900" u="heavy" spc="0" baseline="1039" dirty="0" smtClean="0">
                <a:cs typeface="Batang"/>
              </a:rPr>
              <a:t>∩</a:t>
            </a:r>
            <a:r>
              <a:rPr sz="3900" u="heavy" spc="-138" baseline="1136" dirty="0" smtClean="0">
                <a:cs typeface="Times New Roman"/>
              </a:rPr>
              <a:t> </a:t>
            </a:r>
            <a:r>
              <a:rPr sz="3900" i="1" u="heavy" spc="0" baseline="1136" dirty="0" smtClean="0">
                <a:cs typeface="Times New Roman"/>
              </a:rPr>
              <a:t>B</a:t>
            </a:r>
            <a:endParaRPr sz="3900" dirty="0">
              <a:cs typeface="Times New Roman"/>
            </a:endParaRPr>
          </a:p>
        </p:txBody>
      </p:sp>
      <p:sp>
        <p:nvSpPr>
          <p:cNvPr id="5" name="object 5"/>
          <p:cNvSpPr txBox="1"/>
          <p:nvPr/>
        </p:nvSpPr>
        <p:spPr>
          <a:xfrm>
            <a:off x="3322737" y="4595992"/>
            <a:ext cx="881331" cy="357008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595"/>
              </a:lnSpc>
              <a:spcBef>
                <a:spcPts val="129"/>
              </a:spcBef>
            </a:pPr>
            <a:r>
              <a:rPr sz="3900" i="1" spc="0" baseline="1136" dirty="0" smtClean="0">
                <a:cs typeface="Times New Roman"/>
              </a:rPr>
              <a:t>A</a:t>
            </a:r>
            <a:r>
              <a:rPr sz="3900" i="1" spc="-179" baseline="1136" dirty="0" smtClean="0">
                <a:cs typeface="Times New Roman"/>
              </a:rPr>
              <a:t> </a:t>
            </a:r>
            <a:r>
              <a:rPr sz="3200" spc="0" baseline="1039" dirty="0" smtClean="0">
                <a:cs typeface="Batang"/>
              </a:rPr>
              <a:t>∪</a:t>
            </a:r>
            <a:r>
              <a:rPr sz="3900" spc="-344" baseline="1039" dirty="0" smtClean="0">
                <a:cs typeface="Batang"/>
              </a:rPr>
              <a:t> </a:t>
            </a:r>
            <a:r>
              <a:rPr sz="3900" i="1" spc="0" baseline="1136" dirty="0" smtClean="0">
                <a:cs typeface="Times New Roman"/>
              </a:rPr>
              <a:t>B</a:t>
            </a:r>
            <a:endParaRPr sz="3900" dirty="0">
              <a:cs typeface="Times New Roman"/>
            </a:endParaRPr>
          </a:p>
        </p:txBody>
      </p:sp>
      <p:sp>
        <p:nvSpPr>
          <p:cNvPr id="4" name="object 4"/>
          <p:cNvSpPr txBox="1"/>
          <p:nvPr/>
        </p:nvSpPr>
        <p:spPr>
          <a:xfrm>
            <a:off x="5063356" y="4595992"/>
            <a:ext cx="1566044" cy="354225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595"/>
              </a:lnSpc>
              <a:spcBef>
                <a:spcPts val="129"/>
              </a:spcBef>
            </a:pPr>
            <a:r>
              <a:rPr sz="3900" i="1" spc="-4" baseline="1136" dirty="0" smtClean="0">
                <a:cs typeface="Times New Roman"/>
              </a:rPr>
              <a:t>l</a:t>
            </a:r>
            <a:r>
              <a:rPr sz="3900" i="1" spc="-14" baseline="1136" dirty="0" smtClean="0">
                <a:cs typeface="Times New Roman"/>
              </a:rPr>
              <a:t>e</a:t>
            </a:r>
            <a:r>
              <a:rPr sz="3900" i="1" spc="39" baseline="1136" dirty="0" smtClean="0">
                <a:cs typeface="Times New Roman"/>
              </a:rPr>
              <a:t>n</a:t>
            </a:r>
            <a:r>
              <a:rPr sz="3900" spc="59" baseline="1136" dirty="0" smtClean="0">
                <a:cs typeface="Times New Roman"/>
              </a:rPr>
              <a:t>(</a:t>
            </a:r>
            <a:r>
              <a:rPr sz="3900" i="1" spc="0" baseline="1136" dirty="0" smtClean="0">
                <a:cs typeface="Times New Roman"/>
              </a:rPr>
              <a:t>a</a:t>
            </a:r>
            <a:r>
              <a:rPr sz="3900" i="1" spc="-4" baseline="1136" dirty="0" smtClean="0">
                <a:cs typeface="Times New Roman"/>
              </a:rPr>
              <a:t>l</a:t>
            </a:r>
            <a:r>
              <a:rPr sz="3900" i="1" spc="150" baseline="1136" dirty="0" smtClean="0">
                <a:cs typeface="Times New Roman"/>
              </a:rPr>
              <a:t>l</a:t>
            </a:r>
            <a:r>
              <a:rPr sz="3900" spc="0" baseline="1136" dirty="0" smtClean="0">
                <a:cs typeface="Times New Roman"/>
              </a:rPr>
              <a:t>)</a:t>
            </a:r>
            <a:endParaRPr sz="3900" dirty="0">
              <a:cs typeface="Times New Roman"/>
            </a:endParaRPr>
          </a:p>
        </p:txBody>
      </p:sp>
      <p:sp>
        <p:nvSpPr>
          <p:cNvPr id="3" name="object 3"/>
          <p:cNvSpPr txBox="1"/>
          <p:nvPr/>
        </p:nvSpPr>
        <p:spPr>
          <a:xfrm>
            <a:off x="3185360" y="4395180"/>
            <a:ext cx="56035" cy="1524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3900"/>
          </a:p>
        </p:txBody>
      </p:sp>
      <p:sp>
        <p:nvSpPr>
          <p:cNvPr id="2" name="object 2"/>
          <p:cNvSpPr txBox="1"/>
          <p:nvPr/>
        </p:nvSpPr>
        <p:spPr>
          <a:xfrm>
            <a:off x="3458419" y="4395180"/>
            <a:ext cx="63846" cy="1524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3900"/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ject 6"/>
          <p:cNvSpPr txBox="1"/>
          <p:nvPr/>
        </p:nvSpPr>
        <p:spPr>
          <a:xfrm>
            <a:off x="999468" y="5436755"/>
            <a:ext cx="7140566" cy="354445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5"/>
              </a:lnSpc>
              <a:tabLst>
                <a:tab pos="7073900" algn="l"/>
              </a:tabLst>
            </a:pPr>
            <a:r>
              <a:rPr sz="3900" u="heavy" baseline="1114" dirty="0" smtClean="0">
                <a:cs typeface="Times New Roman"/>
              </a:rPr>
              <a:t>                     </a:t>
            </a:r>
            <a:r>
              <a:rPr sz="3900" u="heavy" spc="250" baseline="1114" dirty="0" smtClean="0">
                <a:cs typeface="Times New Roman"/>
              </a:rPr>
              <a:t> </a:t>
            </a:r>
            <a:r>
              <a:rPr sz="3900" i="1" u="heavy" spc="-4" baseline="1114" dirty="0" smtClean="0">
                <a:cs typeface="Times New Roman"/>
              </a:rPr>
              <a:t>l</a:t>
            </a:r>
            <a:r>
              <a:rPr sz="3900" i="1" u="heavy" spc="-14" baseline="1114" dirty="0" smtClean="0">
                <a:cs typeface="Times New Roman"/>
              </a:rPr>
              <a:t>e</a:t>
            </a:r>
            <a:r>
              <a:rPr sz="3900" i="1" u="heavy" spc="39" baseline="1114" dirty="0" smtClean="0">
                <a:cs typeface="Times New Roman"/>
              </a:rPr>
              <a:t>n</a:t>
            </a:r>
            <a:r>
              <a:rPr sz="3900" u="heavy" spc="-19" baseline="1114" dirty="0" smtClean="0">
                <a:cs typeface="Times New Roman"/>
              </a:rPr>
              <a:t>(</a:t>
            </a:r>
            <a:r>
              <a:rPr sz="3900" u="heavy" spc="50" baseline="1114" dirty="0" smtClean="0">
                <a:cs typeface="Times New Roman"/>
              </a:rPr>
              <a:t>{</a:t>
            </a:r>
            <a:r>
              <a:rPr sz="3900" i="1" u="heavy" spc="75" baseline="1114" dirty="0" smtClean="0">
                <a:cs typeface="Times New Roman"/>
              </a:rPr>
              <a:t>I</a:t>
            </a:r>
            <a:r>
              <a:rPr sz="3900" u="heavy" spc="0" baseline="1114" dirty="0" smtClean="0">
                <a:cs typeface="Times New Roman"/>
              </a:rPr>
              <a:t>,</a:t>
            </a:r>
            <a:r>
              <a:rPr sz="3900" u="heavy" spc="-325" baseline="1114" dirty="0" smtClean="0">
                <a:cs typeface="Times New Roman"/>
              </a:rPr>
              <a:t> </a:t>
            </a:r>
            <a:r>
              <a:rPr sz="3900" i="1" u="heavy" spc="-14" baseline="1114" dirty="0" smtClean="0">
                <a:cs typeface="Times New Roman"/>
              </a:rPr>
              <a:t>c</a:t>
            </a:r>
            <a:r>
              <a:rPr sz="3900" i="1" u="heavy" spc="0" baseline="1114" dirty="0" smtClean="0">
                <a:cs typeface="Times New Roman"/>
              </a:rPr>
              <a:t>ho</a:t>
            </a:r>
            <a:r>
              <a:rPr sz="3900" i="1" u="heavy" spc="-14" baseline="1114" dirty="0" smtClean="0">
                <a:cs typeface="Times New Roman"/>
              </a:rPr>
              <a:t>c</a:t>
            </a:r>
            <a:r>
              <a:rPr sz="3900" i="1" u="heavy" spc="0" baseline="1114" dirty="0" smtClean="0">
                <a:cs typeface="Times New Roman"/>
              </a:rPr>
              <a:t>o</a:t>
            </a:r>
            <a:r>
              <a:rPr sz="3900" i="1" u="heavy" spc="-4" baseline="1114" dirty="0" smtClean="0">
                <a:cs typeface="Times New Roman"/>
              </a:rPr>
              <a:t>l</a:t>
            </a:r>
            <a:r>
              <a:rPr sz="3900" i="1" u="heavy" spc="0" baseline="1114" dirty="0" smtClean="0">
                <a:cs typeface="Times New Roman"/>
              </a:rPr>
              <a:t>a</a:t>
            </a:r>
            <a:r>
              <a:rPr sz="3900" i="1" u="heavy" spc="-4" baseline="1114" dirty="0" smtClean="0">
                <a:cs typeface="Times New Roman"/>
              </a:rPr>
              <a:t>t</a:t>
            </a:r>
            <a:r>
              <a:rPr sz="3900" i="1" u="heavy" spc="-159" baseline="1114" dirty="0" smtClean="0">
                <a:cs typeface="Times New Roman"/>
              </a:rPr>
              <a:t>e</a:t>
            </a:r>
            <a:r>
              <a:rPr sz="3900" u="heavy" spc="0" baseline="1114" dirty="0" smtClean="0">
                <a:cs typeface="Times New Roman"/>
              </a:rPr>
              <a:t>,</a:t>
            </a:r>
            <a:r>
              <a:rPr sz="3900" u="heavy" spc="-325" baseline="1114" dirty="0" smtClean="0">
                <a:cs typeface="Times New Roman"/>
              </a:rPr>
              <a:t> </a:t>
            </a:r>
            <a:r>
              <a:rPr sz="3900" i="1" u="heavy" spc="-14" baseline="1114" dirty="0" smtClean="0">
                <a:cs typeface="Times New Roman"/>
              </a:rPr>
              <a:t>c</a:t>
            </a:r>
            <a:r>
              <a:rPr sz="3900" i="1" u="heavy" spc="-4" baseline="1114" dirty="0" smtClean="0">
                <a:cs typeface="Times New Roman"/>
              </a:rPr>
              <a:t>r</a:t>
            </a:r>
            <a:r>
              <a:rPr sz="3900" i="1" u="heavy" spc="-14" baseline="1114" dirty="0" smtClean="0">
                <a:cs typeface="Times New Roman"/>
              </a:rPr>
              <a:t>e</a:t>
            </a:r>
            <a:r>
              <a:rPr sz="3900" i="1" u="heavy" spc="0" baseline="1114" dirty="0" smtClean="0">
                <a:cs typeface="Times New Roman"/>
              </a:rPr>
              <a:t>a</a:t>
            </a:r>
            <a:r>
              <a:rPr sz="3900" i="1" u="heavy" spc="-14" baseline="1114" dirty="0" smtClean="0">
                <a:cs typeface="Times New Roman"/>
              </a:rPr>
              <a:t>m</a:t>
            </a:r>
            <a:r>
              <a:rPr sz="3900" u="heavy" spc="0" baseline="1114" dirty="0" smtClean="0">
                <a:cs typeface="Times New Roman"/>
              </a:rPr>
              <a:t>}) 	</a:t>
            </a:r>
            <a:endParaRPr sz="3900" dirty="0">
              <a:cs typeface="Times New Roman"/>
            </a:endParaRPr>
          </a:p>
        </p:txBody>
      </p:sp>
      <p:sp>
        <p:nvSpPr>
          <p:cNvPr id="5" name="object 5"/>
          <p:cNvSpPr txBox="1"/>
          <p:nvPr/>
        </p:nvSpPr>
        <p:spPr>
          <a:xfrm>
            <a:off x="573053" y="5620904"/>
            <a:ext cx="445998" cy="37051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5"/>
              </a:lnSpc>
              <a:spcBef>
                <a:spcPts val="130"/>
              </a:spcBef>
            </a:pPr>
            <a:r>
              <a:rPr sz="3900" baseline="1114" dirty="0" smtClean="0">
                <a:cs typeface="Times New Roman"/>
              </a:rPr>
              <a:t>1</a:t>
            </a:r>
            <a:r>
              <a:rPr sz="3900" spc="-459" baseline="1114" dirty="0" smtClean="0">
                <a:cs typeface="Times New Roman"/>
              </a:rPr>
              <a:t> </a:t>
            </a:r>
            <a:r>
              <a:rPr sz="3900" spc="0" baseline="1114" dirty="0" smtClean="0">
                <a:cs typeface="Times New Roman"/>
              </a:rPr>
              <a:t>−</a:t>
            </a:r>
            <a:endParaRPr sz="3900">
              <a:cs typeface="Times New Roman"/>
            </a:endParaRPr>
          </a:p>
        </p:txBody>
      </p:sp>
      <p:sp>
        <p:nvSpPr>
          <p:cNvPr id="4" name="object 4"/>
          <p:cNvSpPr txBox="1"/>
          <p:nvPr/>
        </p:nvSpPr>
        <p:spPr>
          <a:xfrm>
            <a:off x="1011455" y="5883112"/>
            <a:ext cx="7121621" cy="354445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5"/>
              </a:lnSpc>
              <a:spcBef>
                <a:spcPts val="130"/>
              </a:spcBef>
            </a:pPr>
            <a:r>
              <a:rPr sz="3900" i="1" spc="-4" baseline="1114" dirty="0" smtClean="0">
                <a:cs typeface="Times New Roman"/>
              </a:rPr>
              <a:t>l</a:t>
            </a:r>
            <a:r>
              <a:rPr sz="3900" i="1" spc="-14" baseline="1114" dirty="0" smtClean="0">
                <a:cs typeface="Times New Roman"/>
              </a:rPr>
              <a:t>e</a:t>
            </a:r>
            <a:r>
              <a:rPr sz="3900" i="1" spc="39" baseline="1114" dirty="0" smtClean="0">
                <a:cs typeface="Times New Roman"/>
              </a:rPr>
              <a:t>n</a:t>
            </a:r>
            <a:r>
              <a:rPr sz="3900" spc="-19" baseline="1114" dirty="0" smtClean="0">
                <a:cs typeface="Times New Roman"/>
              </a:rPr>
              <a:t>(</a:t>
            </a:r>
            <a:r>
              <a:rPr sz="3900" spc="50" baseline="1114" dirty="0" smtClean="0">
                <a:cs typeface="Times New Roman"/>
              </a:rPr>
              <a:t>{</a:t>
            </a:r>
            <a:r>
              <a:rPr sz="3900" i="1" spc="75" baseline="1114" dirty="0" smtClean="0">
                <a:cs typeface="Times New Roman"/>
              </a:rPr>
              <a:t>I</a:t>
            </a:r>
            <a:r>
              <a:rPr sz="3900" spc="0" baseline="1114" dirty="0" smtClean="0">
                <a:cs typeface="Times New Roman"/>
              </a:rPr>
              <a:t>,</a:t>
            </a:r>
            <a:r>
              <a:rPr sz="3900" spc="-364" baseline="1114" dirty="0" smtClean="0">
                <a:cs typeface="Times New Roman"/>
              </a:rPr>
              <a:t> </a:t>
            </a:r>
            <a:r>
              <a:rPr sz="3900" i="1" spc="-4" baseline="1114" dirty="0" smtClean="0">
                <a:cs typeface="Times New Roman"/>
              </a:rPr>
              <a:t>li</a:t>
            </a:r>
            <a:r>
              <a:rPr sz="3900" i="1" spc="-14" baseline="1114" dirty="0" smtClean="0">
                <a:cs typeface="Times New Roman"/>
              </a:rPr>
              <a:t>k</a:t>
            </a:r>
            <a:r>
              <a:rPr sz="3900" i="1" spc="-159" baseline="1114" dirty="0" smtClean="0">
                <a:cs typeface="Times New Roman"/>
              </a:rPr>
              <a:t>e</a:t>
            </a:r>
            <a:r>
              <a:rPr sz="3900" spc="0" baseline="1114" dirty="0" smtClean="0">
                <a:cs typeface="Times New Roman"/>
              </a:rPr>
              <a:t>,</a:t>
            </a:r>
            <a:r>
              <a:rPr sz="3900" spc="-325" baseline="1114" dirty="0" smtClean="0">
                <a:cs typeface="Times New Roman"/>
              </a:rPr>
              <a:t> </a:t>
            </a:r>
            <a:r>
              <a:rPr sz="3900" i="1" spc="-14" baseline="1114" dirty="0" smtClean="0">
                <a:cs typeface="Times New Roman"/>
              </a:rPr>
              <a:t>c</a:t>
            </a:r>
            <a:r>
              <a:rPr sz="3900" i="1" spc="0" baseline="1114" dirty="0" smtClean="0">
                <a:cs typeface="Times New Roman"/>
              </a:rPr>
              <a:t>ho</a:t>
            </a:r>
            <a:r>
              <a:rPr sz="3900" i="1" spc="-14" baseline="1114" dirty="0" smtClean="0">
                <a:cs typeface="Times New Roman"/>
              </a:rPr>
              <a:t>c</a:t>
            </a:r>
            <a:r>
              <a:rPr sz="3900" i="1" spc="0" baseline="1114" dirty="0" smtClean="0">
                <a:cs typeface="Times New Roman"/>
              </a:rPr>
              <a:t>o</a:t>
            </a:r>
            <a:r>
              <a:rPr sz="3900" i="1" spc="-4" baseline="1114" dirty="0" smtClean="0">
                <a:cs typeface="Times New Roman"/>
              </a:rPr>
              <a:t>l</a:t>
            </a:r>
            <a:r>
              <a:rPr sz="3900" i="1" spc="0" baseline="1114" dirty="0" smtClean="0">
                <a:cs typeface="Times New Roman"/>
              </a:rPr>
              <a:t>a</a:t>
            </a:r>
            <a:r>
              <a:rPr sz="3900" i="1" spc="-4" baseline="1114" dirty="0" smtClean="0">
                <a:cs typeface="Times New Roman"/>
              </a:rPr>
              <a:t>t</a:t>
            </a:r>
            <a:r>
              <a:rPr sz="3900" i="1" spc="-159" baseline="1114" dirty="0" smtClean="0">
                <a:cs typeface="Times New Roman"/>
              </a:rPr>
              <a:t>e</a:t>
            </a:r>
            <a:r>
              <a:rPr sz="3900" spc="0" baseline="1114" dirty="0" smtClean="0">
                <a:cs typeface="Times New Roman"/>
              </a:rPr>
              <a:t>,</a:t>
            </a:r>
            <a:r>
              <a:rPr sz="3900" spc="-379" baseline="1114" dirty="0" smtClean="0">
                <a:cs typeface="Times New Roman"/>
              </a:rPr>
              <a:t> </a:t>
            </a:r>
            <a:r>
              <a:rPr sz="3900" i="1" spc="-4" baseline="1114" dirty="0" smtClean="0">
                <a:cs typeface="Times New Roman"/>
              </a:rPr>
              <a:t>i</a:t>
            </a:r>
            <a:r>
              <a:rPr sz="3900" i="1" spc="-14" baseline="1114" dirty="0" smtClean="0">
                <a:cs typeface="Times New Roman"/>
              </a:rPr>
              <a:t>c</a:t>
            </a:r>
            <a:r>
              <a:rPr sz="3900" i="1" spc="-159" baseline="1114" dirty="0" smtClean="0">
                <a:cs typeface="Times New Roman"/>
              </a:rPr>
              <a:t>e</a:t>
            </a:r>
            <a:r>
              <a:rPr sz="3900" spc="0" baseline="1114" dirty="0" smtClean="0">
                <a:cs typeface="Times New Roman"/>
              </a:rPr>
              <a:t>,</a:t>
            </a:r>
            <a:r>
              <a:rPr sz="3900" spc="-325" baseline="1114" dirty="0" smtClean="0">
                <a:cs typeface="Times New Roman"/>
              </a:rPr>
              <a:t> </a:t>
            </a:r>
            <a:r>
              <a:rPr sz="3900" i="1" spc="-14" baseline="1114" dirty="0" smtClean="0">
                <a:cs typeface="Times New Roman"/>
              </a:rPr>
              <a:t>c</a:t>
            </a:r>
            <a:r>
              <a:rPr sz="3900" i="1" spc="-4" baseline="1114" dirty="0" smtClean="0">
                <a:cs typeface="Times New Roman"/>
              </a:rPr>
              <a:t>r</a:t>
            </a:r>
            <a:r>
              <a:rPr sz="3900" i="1" spc="-14" baseline="1114" dirty="0" smtClean="0">
                <a:cs typeface="Times New Roman"/>
              </a:rPr>
              <a:t>e</a:t>
            </a:r>
            <a:r>
              <a:rPr sz="3900" i="1" spc="0" baseline="1114" dirty="0" smtClean="0">
                <a:cs typeface="Times New Roman"/>
              </a:rPr>
              <a:t>a</a:t>
            </a:r>
            <a:r>
              <a:rPr sz="3900" i="1" spc="-122" baseline="1114" dirty="0" smtClean="0">
                <a:cs typeface="Times New Roman"/>
              </a:rPr>
              <a:t>m</a:t>
            </a:r>
            <a:r>
              <a:rPr sz="3900" spc="0" baseline="1114" dirty="0" smtClean="0">
                <a:cs typeface="Times New Roman"/>
              </a:rPr>
              <a:t>,</a:t>
            </a:r>
            <a:r>
              <a:rPr sz="3900" spc="-213" baseline="1114" dirty="0" smtClean="0">
                <a:cs typeface="Times New Roman"/>
              </a:rPr>
              <a:t> </a:t>
            </a:r>
            <a:r>
              <a:rPr sz="3900" i="1" spc="0" baseline="1114" dirty="0" smtClean="0">
                <a:cs typeface="Times New Roman"/>
              </a:rPr>
              <a:t>d</a:t>
            </a:r>
            <a:r>
              <a:rPr sz="3900" i="1" spc="-159" baseline="1114" dirty="0" smtClean="0">
                <a:cs typeface="Times New Roman"/>
              </a:rPr>
              <a:t>o</a:t>
            </a:r>
            <a:r>
              <a:rPr sz="3900" spc="0" baseline="1114" dirty="0" smtClean="0">
                <a:cs typeface="Times New Roman"/>
              </a:rPr>
              <a:t>,</a:t>
            </a:r>
            <a:r>
              <a:rPr sz="3900" spc="-294" baseline="1114" dirty="0" smtClean="0">
                <a:cs typeface="Times New Roman"/>
              </a:rPr>
              <a:t> </a:t>
            </a:r>
            <a:r>
              <a:rPr sz="3900" i="1" spc="0" baseline="1114" dirty="0" smtClean="0">
                <a:cs typeface="Times New Roman"/>
              </a:rPr>
              <a:t>wan</a:t>
            </a:r>
            <a:r>
              <a:rPr sz="3900" i="1" spc="-29" baseline="1114" dirty="0" smtClean="0">
                <a:cs typeface="Times New Roman"/>
              </a:rPr>
              <a:t>t</a:t>
            </a:r>
            <a:r>
              <a:rPr sz="3900" spc="0" baseline="1114" dirty="0" smtClean="0">
                <a:cs typeface="Times New Roman"/>
              </a:rPr>
              <a:t>,</a:t>
            </a:r>
            <a:r>
              <a:rPr sz="3900" spc="-325" baseline="1114" dirty="0" smtClean="0">
                <a:cs typeface="Times New Roman"/>
              </a:rPr>
              <a:t> </a:t>
            </a:r>
            <a:r>
              <a:rPr sz="3900" i="1" spc="0" baseline="1114" dirty="0" smtClean="0">
                <a:cs typeface="Times New Roman"/>
              </a:rPr>
              <a:t>o</a:t>
            </a:r>
            <a:r>
              <a:rPr sz="3900" i="1" spc="-69" baseline="1114" dirty="0" smtClean="0">
                <a:cs typeface="Times New Roman"/>
              </a:rPr>
              <a:t>r</a:t>
            </a:r>
            <a:r>
              <a:rPr sz="3900" spc="0" baseline="1114" dirty="0" smtClean="0">
                <a:cs typeface="Times New Roman"/>
              </a:rPr>
              <a:t>,</a:t>
            </a:r>
            <a:r>
              <a:rPr sz="3900" spc="-314" baseline="1114" dirty="0" smtClean="0">
                <a:cs typeface="Times New Roman"/>
              </a:rPr>
              <a:t> </a:t>
            </a:r>
            <a:r>
              <a:rPr sz="3900" i="1" spc="-14" baseline="1114" dirty="0" smtClean="0">
                <a:cs typeface="Times New Roman"/>
              </a:rPr>
              <a:t>v</a:t>
            </a:r>
            <a:r>
              <a:rPr sz="3900" i="1" spc="0" baseline="1114" dirty="0" smtClean="0">
                <a:cs typeface="Times New Roman"/>
              </a:rPr>
              <a:t>an</a:t>
            </a:r>
            <a:r>
              <a:rPr sz="3900" i="1" spc="-4" baseline="1114" dirty="0" smtClean="0">
                <a:cs typeface="Times New Roman"/>
              </a:rPr>
              <a:t>ill</a:t>
            </a:r>
            <a:r>
              <a:rPr sz="3900" i="1" spc="-14" baseline="1114" dirty="0" smtClean="0">
                <a:cs typeface="Times New Roman"/>
              </a:rPr>
              <a:t>a</a:t>
            </a:r>
            <a:r>
              <a:rPr sz="3900" spc="0" baseline="1114" dirty="0" smtClean="0">
                <a:cs typeface="Times New Roman"/>
              </a:rPr>
              <a:t>})</a:t>
            </a:r>
            <a:endParaRPr sz="3900" dirty="0">
              <a:cs typeface="Times New Roman"/>
            </a:endParaRPr>
          </a:p>
        </p:txBody>
      </p:sp>
      <p:sp>
        <p:nvSpPr>
          <p:cNvPr id="3" name="object 3"/>
          <p:cNvSpPr txBox="1"/>
          <p:nvPr/>
        </p:nvSpPr>
        <p:spPr>
          <a:xfrm>
            <a:off x="1012168" y="5542746"/>
            <a:ext cx="1847796" cy="1524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3900"/>
          </a:p>
        </p:txBody>
      </p:sp>
      <p:sp>
        <p:nvSpPr>
          <p:cNvPr id="2" name="object 2"/>
          <p:cNvSpPr txBox="1"/>
          <p:nvPr/>
        </p:nvSpPr>
        <p:spPr>
          <a:xfrm>
            <a:off x="6236068" y="5542746"/>
            <a:ext cx="1841909" cy="1524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3900"/>
          </a:p>
        </p:txBody>
      </p:sp>
      <p:sp>
        <p:nvSpPr>
          <p:cNvPr id="11" name="object 8"/>
          <p:cNvSpPr txBox="1"/>
          <p:nvPr/>
        </p:nvSpPr>
        <p:spPr>
          <a:xfrm>
            <a:off x="604886" y="1394897"/>
            <a:ext cx="7874384" cy="3449662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>
              <a:lnSpc>
                <a:spcPts val="3000"/>
              </a:lnSpc>
              <a:spcBef>
                <a:spcPts val="150"/>
              </a:spcBef>
            </a:pPr>
            <a:r>
              <a:rPr sz="3800" spc="0" baseline="1950" dirty="0" smtClean="0">
                <a:solidFill>
                  <a:srgbClr val="7F7E7E"/>
                </a:solidFill>
                <a:cs typeface="Calibri"/>
              </a:rPr>
              <a:t>Applies to sets (like bag of words)</a:t>
            </a:r>
            <a:endParaRPr lang="en-US" sz="3800" spc="0" baseline="1950" dirty="0" smtClean="0">
              <a:solidFill>
                <a:srgbClr val="7F7E7E"/>
              </a:solidFill>
              <a:cs typeface="Calibri"/>
            </a:endParaRPr>
          </a:p>
          <a:p>
            <a:pPr marL="12700">
              <a:lnSpc>
                <a:spcPts val="3000"/>
              </a:lnSpc>
              <a:spcBef>
                <a:spcPts val="150"/>
              </a:spcBef>
            </a:pPr>
            <a:endParaRPr lang="en-US" sz="3800" spc="0" baseline="1950" dirty="0" smtClean="0">
              <a:solidFill>
                <a:srgbClr val="7F7E7E"/>
              </a:solidFill>
              <a:cs typeface="Calibri"/>
            </a:endParaRPr>
          </a:p>
          <a:p>
            <a:pPr marL="12700">
              <a:lnSpc>
                <a:spcPts val="2615"/>
              </a:lnSpc>
              <a:spcBef>
                <a:spcPts val="130"/>
              </a:spcBef>
            </a:pPr>
            <a:r>
              <a:rPr lang="en-US" sz="3800" baseline="2275" dirty="0" smtClean="0">
                <a:solidFill>
                  <a:srgbClr val="4E81BC"/>
                </a:solidFill>
                <a:cs typeface="Calibri"/>
              </a:rPr>
              <a:t>Sentence </a:t>
            </a:r>
            <a:r>
              <a:rPr lang="en-US" sz="3800" baseline="2275" dirty="0">
                <a:solidFill>
                  <a:srgbClr val="4E81BC"/>
                </a:solidFill>
                <a:cs typeface="Calibri"/>
              </a:rPr>
              <a:t>A</a:t>
            </a:r>
            <a:r>
              <a:rPr lang="en-US" sz="3800" baseline="2275" dirty="0">
                <a:solidFill>
                  <a:srgbClr val="7F7E7E"/>
                </a:solidFill>
                <a:cs typeface="Calibri"/>
              </a:rPr>
              <a:t>: “I like chocolate ice cream.”</a:t>
            </a:r>
            <a:endParaRPr lang="en-US" sz="3800" dirty="0">
              <a:cs typeface="Calibri"/>
            </a:endParaRPr>
          </a:p>
          <a:p>
            <a:pPr marL="12700" marR="45720">
              <a:lnSpc>
                <a:spcPts val="2885"/>
              </a:lnSpc>
              <a:spcBef>
                <a:spcPts val="13"/>
              </a:spcBef>
            </a:pPr>
            <a:r>
              <a:rPr lang="en-US" sz="3800" baseline="1137" dirty="0">
                <a:solidFill>
                  <a:srgbClr val="7F7E7E"/>
                </a:solidFill>
                <a:cs typeface="Calibri"/>
              </a:rPr>
              <a:t>set A = {</a:t>
            </a:r>
            <a:r>
              <a:rPr lang="en-US" sz="3800" baseline="1137" dirty="0">
                <a:solidFill>
                  <a:srgbClr val="F69545"/>
                </a:solidFill>
                <a:cs typeface="Calibri"/>
              </a:rPr>
              <a:t>I</a:t>
            </a:r>
            <a:r>
              <a:rPr lang="en-US" sz="3800" baseline="1137" dirty="0">
                <a:solidFill>
                  <a:srgbClr val="7F7E7E"/>
                </a:solidFill>
                <a:cs typeface="Calibri"/>
              </a:rPr>
              <a:t>, like, </a:t>
            </a:r>
            <a:r>
              <a:rPr lang="en-US" sz="3800" baseline="1137" dirty="0">
                <a:solidFill>
                  <a:srgbClr val="F69545"/>
                </a:solidFill>
                <a:cs typeface="Calibri"/>
              </a:rPr>
              <a:t>chocolate</a:t>
            </a:r>
            <a:r>
              <a:rPr lang="en-US" sz="3800" baseline="1137" dirty="0">
                <a:solidFill>
                  <a:srgbClr val="7F7E7E"/>
                </a:solidFill>
                <a:cs typeface="Calibri"/>
              </a:rPr>
              <a:t>, ice, </a:t>
            </a:r>
            <a:r>
              <a:rPr lang="en-US" sz="3800" baseline="1137" dirty="0">
                <a:solidFill>
                  <a:srgbClr val="F69545"/>
                </a:solidFill>
                <a:cs typeface="Calibri"/>
              </a:rPr>
              <a:t>cream</a:t>
            </a:r>
            <a:r>
              <a:rPr lang="en-US" sz="3800" baseline="1137" dirty="0">
                <a:solidFill>
                  <a:srgbClr val="7F7E7E"/>
                </a:solidFill>
                <a:cs typeface="Calibri"/>
              </a:rPr>
              <a:t>}</a:t>
            </a:r>
            <a:endParaRPr lang="en-US" sz="3800" dirty="0">
              <a:cs typeface="Calibri"/>
            </a:endParaRPr>
          </a:p>
          <a:p>
            <a:pPr marL="12700">
              <a:lnSpc>
                <a:spcPts val="3000"/>
              </a:lnSpc>
              <a:spcBef>
                <a:spcPts val="150"/>
              </a:spcBef>
            </a:pPr>
            <a:endParaRPr lang="en-US" sz="3800" dirty="0" smtClean="0">
              <a:cs typeface="Calibri"/>
            </a:endParaRPr>
          </a:p>
          <a:p>
            <a:pPr marL="12700">
              <a:lnSpc>
                <a:spcPts val="2615"/>
              </a:lnSpc>
              <a:spcBef>
                <a:spcPts val="130"/>
              </a:spcBef>
            </a:pPr>
            <a:r>
              <a:rPr lang="en-US" sz="3800" baseline="2275" dirty="0" smtClean="0">
                <a:solidFill>
                  <a:srgbClr val="4E81BC"/>
                </a:solidFill>
                <a:cs typeface="Calibri"/>
              </a:rPr>
              <a:t>Sentence </a:t>
            </a:r>
            <a:r>
              <a:rPr lang="en-US" sz="3800" baseline="2275" dirty="0">
                <a:solidFill>
                  <a:srgbClr val="4E81BC"/>
                </a:solidFill>
                <a:cs typeface="Calibri"/>
              </a:rPr>
              <a:t>B</a:t>
            </a:r>
            <a:r>
              <a:rPr lang="en-US" sz="3800" baseline="2275" dirty="0">
                <a:solidFill>
                  <a:srgbClr val="7F7E7E"/>
                </a:solidFill>
                <a:cs typeface="Calibri"/>
              </a:rPr>
              <a:t>: “Do I want chocolate cream or vanilla cream?”</a:t>
            </a:r>
            <a:endParaRPr lang="en-US" sz="3800" dirty="0">
              <a:cs typeface="Calibri"/>
            </a:endParaRPr>
          </a:p>
          <a:p>
            <a:pPr marL="12700" marR="45720">
              <a:lnSpc>
                <a:spcPts val="2785"/>
              </a:lnSpc>
              <a:spcBef>
                <a:spcPts val="8"/>
              </a:spcBef>
            </a:pPr>
            <a:r>
              <a:rPr lang="en-US" sz="3800" baseline="1137" dirty="0">
                <a:solidFill>
                  <a:srgbClr val="7F7E7E"/>
                </a:solidFill>
                <a:cs typeface="Calibri"/>
              </a:rPr>
              <a:t>set B = {Do, </a:t>
            </a:r>
            <a:r>
              <a:rPr lang="en-US" sz="3800" baseline="1137" dirty="0">
                <a:solidFill>
                  <a:srgbClr val="F69545"/>
                </a:solidFill>
                <a:cs typeface="Calibri"/>
              </a:rPr>
              <a:t>I</a:t>
            </a:r>
            <a:r>
              <a:rPr lang="en-US" sz="3800" baseline="1137" dirty="0">
                <a:solidFill>
                  <a:srgbClr val="7F7E7E"/>
                </a:solidFill>
                <a:cs typeface="Calibri"/>
              </a:rPr>
              <a:t>, want, </a:t>
            </a:r>
            <a:r>
              <a:rPr lang="en-US" sz="3800" baseline="1137" dirty="0">
                <a:solidFill>
                  <a:srgbClr val="F69545"/>
                </a:solidFill>
                <a:cs typeface="Calibri"/>
              </a:rPr>
              <a:t>chocolate</a:t>
            </a:r>
            <a:r>
              <a:rPr lang="en-US" sz="3800" baseline="1137" dirty="0">
                <a:solidFill>
                  <a:srgbClr val="7F7E7E"/>
                </a:solidFill>
                <a:cs typeface="Calibri"/>
              </a:rPr>
              <a:t>, </a:t>
            </a:r>
            <a:r>
              <a:rPr lang="en-US" sz="3800" baseline="1137" dirty="0">
                <a:solidFill>
                  <a:srgbClr val="F69545"/>
                </a:solidFill>
                <a:cs typeface="Calibri"/>
              </a:rPr>
              <a:t>cream</a:t>
            </a:r>
            <a:r>
              <a:rPr lang="en-US" sz="3800" baseline="1137" dirty="0">
                <a:solidFill>
                  <a:srgbClr val="7F7E7E"/>
                </a:solidFill>
                <a:cs typeface="Calibri"/>
              </a:rPr>
              <a:t>, or, vanilla}</a:t>
            </a:r>
            <a:endParaRPr lang="en-US" sz="3800" dirty="0">
              <a:cs typeface="Calibri"/>
            </a:endParaRPr>
          </a:p>
          <a:p>
            <a:pPr marL="12700">
              <a:lnSpc>
                <a:spcPts val="3000"/>
              </a:lnSpc>
              <a:spcBef>
                <a:spcPts val="150"/>
              </a:spcBef>
            </a:pPr>
            <a:endParaRPr lang="en-US" sz="3800" dirty="0" smtClean="0">
              <a:cs typeface="Calibri"/>
            </a:endParaRPr>
          </a:p>
          <a:p>
            <a:pPr marL="12700">
              <a:lnSpc>
                <a:spcPts val="3000"/>
              </a:lnSpc>
              <a:spcBef>
                <a:spcPts val="150"/>
              </a:spcBef>
            </a:pPr>
            <a:r>
              <a:rPr lang="en-US" sz="3800" baseline="1950" dirty="0" err="1">
                <a:solidFill>
                  <a:srgbClr val="7F7E7E"/>
                </a:solidFill>
                <a:cs typeface="Calibri"/>
              </a:rPr>
              <a:t>Jaccard</a:t>
            </a:r>
            <a:r>
              <a:rPr lang="en-US" sz="3800" baseline="1950" dirty="0">
                <a:solidFill>
                  <a:srgbClr val="7F7E7E"/>
                </a:solidFill>
                <a:cs typeface="Calibri"/>
              </a:rPr>
              <a:t> </a:t>
            </a:r>
            <a:r>
              <a:rPr lang="en-US" sz="3800" baseline="1950" dirty="0" err="1" smtClean="0">
                <a:solidFill>
                  <a:srgbClr val="7F7E7E"/>
                </a:solidFill>
                <a:cs typeface="Calibri"/>
              </a:rPr>
              <a:t>dist</a:t>
            </a:r>
            <a:endParaRPr lang="en-US" sz="3800" dirty="0" smtClean="0">
              <a:cs typeface="Calibri"/>
            </a:endParaRPr>
          </a:p>
        </p:txBody>
      </p:sp>
      <p:sp>
        <p:nvSpPr>
          <p:cNvPr id="12" name="object 5"/>
          <p:cNvSpPr txBox="1"/>
          <p:nvPr/>
        </p:nvSpPr>
        <p:spPr>
          <a:xfrm>
            <a:off x="604887" y="545066"/>
            <a:ext cx="7874384" cy="489493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 lvl="0">
              <a:lnSpc>
                <a:spcPts val="3400"/>
              </a:lnSpc>
              <a:spcBef>
                <a:spcPts val="170"/>
              </a:spcBef>
            </a:pPr>
            <a:r>
              <a:rPr lang="en-US" sz="4800" baseline="1706" dirty="0" err="1">
                <a:solidFill>
                  <a:srgbClr val="4E81BC"/>
                </a:solidFill>
                <a:latin typeface="+mj-lt"/>
                <a:cs typeface="Calibri"/>
              </a:rPr>
              <a:t>Jaccard</a:t>
            </a:r>
            <a:r>
              <a:rPr lang="en-US" sz="4800" baseline="1706" dirty="0">
                <a:solidFill>
                  <a:srgbClr val="4E81BC"/>
                </a:solidFill>
                <a:latin typeface="+mj-lt"/>
                <a:cs typeface="Calibri"/>
              </a:rPr>
              <a:t> </a:t>
            </a:r>
            <a:r>
              <a:rPr sz="4800" spc="0" baseline="1706" dirty="0" smtClean="0">
                <a:solidFill>
                  <a:srgbClr val="4E81BC"/>
                </a:solidFill>
                <a:latin typeface="+mj-lt"/>
                <a:cs typeface="Calibri"/>
              </a:rPr>
              <a:t>Distance</a:t>
            </a:r>
            <a:r>
              <a:rPr lang="en-US" sz="4800" spc="0" baseline="1706" dirty="0" smtClean="0">
                <a:solidFill>
                  <a:srgbClr val="4E81BC"/>
                </a:solidFill>
                <a:latin typeface="+mj-lt"/>
                <a:cs typeface="Calibri"/>
              </a:rPr>
              <a:t>  </a:t>
            </a:r>
            <a:endParaRPr lang="en-US" sz="4800" dirty="0">
              <a:solidFill>
                <a:prstClr val="black"/>
              </a:solidFill>
              <a:latin typeface="+mj-lt"/>
              <a:cs typeface="Calibri"/>
            </a:endParaRPr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object 8"/>
          <p:cNvSpPr txBox="1"/>
          <p:nvPr/>
        </p:nvSpPr>
        <p:spPr>
          <a:xfrm>
            <a:off x="604886" y="1394897"/>
            <a:ext cx="7874384" cy="3449662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>
              <a:lnSpc>
                <a:spcPts val="3000"/>
              </a:lnSpc>
              <a:spcBef>
                <a:spcPts val="150"/>
              </a:spcBef>
            </a:pPr>
            <a:r>
              <a:rPr sz="3800" spc="0" baseline="1950" dirty="0" smtClean="0">
                <a:solidFill>
                  <a:srgbClr val="7F7E7E"/>
                </a:solidFill>
                <a:cs typeface="Calibri"/>
              </a:rPr>
              <a:t>Applies to sets (like bag of words)</a:t>
            </a:r>
            <a:endParaRPr lang="en-US" sz="3800" spc="0" baseline="1950" dirty="0" smtClean="0">
              <a:solidFill>
                <a:srgbClr val="7F7E7E"/>
              </a:solidFill>
              <a:cs typeface="Calibri"/>
            </a:endParaRPr>
          </a:p>
          <a:p>
            <a:pPr marL="12700">
              <a:lnSpc>
                <a:spcPts val="3000"/>
              </a:lnSpc>
              <a:spcBef>
                <a:spcPts val="150"/>
              </a:spcBef>
            </a:pPr>
            <a:endParaRPr lang="en-US" sz="3800" spc="0" baseline="1950" dirty="0" smtClean="0">
              <a:solidFill>
                <a:srgbClr val="7F7E7E"/>
              </a:solidFill>
              <a:cs typeface="Calibri"/>
            </a:endParaRPr>
          </a:p>
          <a:p>
            <a:pPr marL="12700">
              <a:lnSpc>
                <a:spcPts val="2615"/>
              </a:lnSpc>
              <a:spcBef>
                <a:spcPts val="130"/>
              </a:spcBef>
            </a:pPr>
            <a:r>
              <a:rPr lang="en-US" sz="3800" baseline="2275" dirty="0" smtClean="0">
                <a:solidFill>
                  <a:srgbClr val="4E81BC"/>
                </a:solidFill>
                <a:cs typeface="Calibri"/>
              </a:rPr>
              <a:t>Sentence </a:t>
            </a:r>
            <a:r>
              <a:rPr lang="en-US" sz="3800" baseline="2275" dirty="0">
                <a:solidFill>
                  <a:srgbClr val="4E81BC"/>
                </a:solidFill>
                <a:cs typeface="Calibri"/>
              </a:rPr>
              <a:t>A</a:t>
            </a:r>
            <a:r>
              <a:rPr lang="en-US" sz="3800" baseline="2275" dirty="0">
                <a:solidFill>
                  <a:srgbClr val="7F7E7E"/>
                </a:solidFill>
                <a:cs typeface="Calibri"/>
              </a:rPr>
              <a:t>: “I like chocolate ice cream.”</a:t>
            </a:r>
            <a:endParaRPr lang="en-US" sz="3800" dirty="0">
              <a:cs typeface="Calibri"/>
            </a:endParaRPr>
          </a:p>
          <a:p>
            <a:pPr marL="12700" marR="45720">
              <a:lnSpc>
                <a:spcPts val="2885"/>
              </a:lnSpc>
              <a:spcBef>
                <a:spcPts val="13"/>
              </a:spcBef>
            </a:pPr>
            <a:r>
              <a:rPr lang="en-US" sz="3800" baseline="1137" dirty="0">
                <a:solidFill>
                  <a:srgbClr val="7F7E7E"/>
                </a:solidFill>
                <a:cs typeface="Calibri"/>
              </a:rPr>
              <a:t>set A = {</a:t>
            </a:r>
            <a:r>
              <a:rPr lang="en-US" sz="3800" baseline="1137" dirty="0">
                <a:solidFill>
                  <a:srgbClr val="F69545"/>
                </a:solidFill>
                <a:cs typeface="Calibri"/>
              </a:rPr>
              <a:t>I</a:t>
            </a:r>
            <a:r>
              <a:rPr lang="en-US" sz="3800" baseline="1137" dirty="0">
                <a:solidFill>
                  <a:srgbClr val="7F7E7E"/>
                </a:solidFill>
                <a:cs typeface="Calibri"/>
              </a:rPr>
              <a:t>, like, </a:t>
            </a:r>
            <a:r>
              <a:rPr lang="en-US" sz="3800" baseline="1137" dirty="0">
                <a:solidFill>
                  <a:srgbClr val="F69545"/>
                </a:solidFill>
                <a:cs typeface="Calibri"/>
              </a:rPr>
              <a:t>chocolate</a:t>
            </a:r>
            <a:r>
              <a:rPr lang="en-US" sz="3800" baseline="1137" dirty="0">
                <a:solidFill>
                  <a:srgbClr val="7F7E7E"/>
                </a:solidFill>
                <a:cs typeface="Calibri"/>
              </a:rPr>
              <a:t>, ice, </a:t>
            </a:r>
            <a:r>
              <a:rPr lang="en-US" sz="3800" baseline="1137" dirty="0">
                <a:solidFill>
                  <a:srgbClr val="F69545"/>
                </a:solidFill>
                <a:cs typeface="Calibri"/>
              </a:rPr>
              <a:t>cream</a:t>
            </a:r>
            <a:r>
              <a:rPr lang="en-US" sz="3800" baseline="1137" dirty="0">
                <a:solidFill>
                  <a:srgbClr val="7F7E7E"/>
                </a:solidFill>
                <a:cs typeface="Calibri"/>
              </a:rPr>
              <a:t>}</a:t>
            </a:r>
            <a:endParaRPr lang="en-US" sz="3800" dirty="0">
              <a:cs typeface="Calibri"/>
            </a:endParaRPr>
          </a:p>
          <a:p>
            <a:pPr marL="12700">
              <a:lnSpc>
                <a:spcPts val="3000"/>
              </a:lnSpc>
              <a:spcBef>
                <a:spcPts val="150"/>
              </a:spcBef>
            </a:pPr>
            <a:endParaRPr lang="en-US" sz="3800" dirty="0" smtClean="0">
              <a:cs typeface="Calibri"/>
            </a:endParaRPr>
          </a:p>
          <a:p>
            <a:pPr marL="12700">
              <a:lnSpc>
                <a:spcPts val="2615"/>
              </a:lnSpc>
              <a:spcBef>
                <a:spcPts val="130"/>
              </a:spcBef>
            </a:pPr>
            <a:r>
              <a:rPr lang="en-US" sz="3800" baseline="2275" dirty="0" smtClean="0">
                <a:solidFill>
                  <a:srgbClr val="4E81BC"/>
                </a:solidFill>
                <a:cs typeface="Calibri"/>
              </a:rPr>
              <a:t>Sentence </a:t>
            </a:r>
            <a:r>
              <a:rPr lang="en-US" sz="3800" baseline="2275" dirty="0">
                <a:solidFill>
                  <a:srgbClr val="4E81BC"/>
                </a:solidFill>
                <a:cs typeface="Calibri"/>
              </a:rPr>
              <a:t>B</a:t>
            </a:r>
            <a:r>
              <a:rPr lang="en-US" sz="3800" baseline="2275" dirty="0">
                <a:solidFill>
                  <a:srgbClr val="7F7E7E"/>
                </a:solidFill>
                <a:cs typeface="Calibri"/>
              </a:rPr>
              <a:t>: “Do I want chocolate cream or vanilla cream?”</a:t>
            </a:r>
            <a:endParaRPr lang="en-US" sz="3800" dirty="0">
              <a:cs typeface="Calibri"/>
            </a:endParaRPr>
          </a:p>
          <a:p>
            <a:pPr marL="12700" marR="45720">
              <a:lnSpc>
                <a:spcPts val="2785"/>
              </a:lnSpc>
              <a:spcBef>
                <a:spcPts val="8"/>
              </a:spcBef>
            </a:pPr>
            <a:r>
              <a:rPr lang="en-US" sz="3800" baseline="1137" dirty="0">
                <a:solidFill>
                  <a:srgbClr val="7F7E7E"/>
                </a:solidFill>
                <a:cs typeface="Calibri"/>
              </a:rPr>
              <a:t>set B = {Do, </a:t>
            </a:r>
            <a:r>
              <a:rPr lang="en-US" sz="3800" baseline="1137" dirty="0">
                <a:solidFill>
                  <a:srgbClr val="F69545"/>
                </a:solidFill>
                <a:cs typeface="Calibri"/>
              </a:rPr>
              <a:t>I</a:t>
            </a:r>
            <a:r>
              <a:rPr lang="en-US" sz="3800" baseline="1137" dirty="0">
                <a:solidFill>
                  <a:srgbClr val="7F7E7E"/>
                </a:solidFill>
                <a:cs typeface="Calibri"/>
              </a:rPr>
              <a:t>, want, </a:t>
            </a:r>
            <a:r>
              <a:rPr lang="en-US" sz="3800" baseline="1137" dirty="0">
                <a:solidFill>
                  <a:srgbClr val="F69545"/>
                </a:solidFill>
                <a:cs typeface="Calibri"/>
              </a:rPr>
              <a:t>chocolate</a:t>
            </a:r>
            <a:r>
              <a:rPr lang="en-US" sz="3800" baseline="1137" dirty="0">
                <a:solidFill>
                  <a:srgbClr val="7F7E7E"/>
                </a:solidFill>
                <a:cs typeface="Calibri"/>
              </a:rPr>
              <a:t>, </a:t>
            </a:r>
            <a:r>
              <a:rPr lang="en-US" sz="3800" baseline="1137" dirty="0">
                <a:solidFill>
                  <a:srgbClr val="F69545"/>
                </a:solidFill>
                <a:cs typeface="Calibri"/>
              </a:rPr>
              <a:t>cream</a:t>
            </a:r>
            <a:r>
              <a:rPr lang="en-US" sz="3800" baseline="1137" dirty="0">
                <a:solidFill>
                  <a:srgbClr val="7F7E7E"/>
                </a:solidFill>
                <a:cs typeface="Calibri"/>
              </a:rPr>
              <a:t>, or, vanilla}</a:t>
            </a:r>
            <a:endParaRPr lang="en-US" sz="3800" dirty="0">
              <a:cs typeface="Calibri"/>
            </a:endParaRPr>
          </a:p>
          <a:p>
            <a:pPr marL="12700">
              <a:lnSpc>
                <a:spcPts val="3000"/>
              </a:lnSpc>
              <a:spcBef>
                <a:spcPts val="150"/>
              </a:spcBef>
            </a:pPr>
            <a:endParaRPr lang="en-US" sz="3800" dirty="0" smtClean="0">
              <a:cs typeface="Calibri"/>
            </a:endParaRPr>
          </a:p>
          <a:p>
            <a:pPr marL="12700">
              <a:lnSpc>
                <a:spcPts val="3000"/>
              </a:lnSpc>
              <a:spcBef>
                <a:spcPts val="150"/>
              </a:spcBef>
            </a:pPr>
            <a:r>
              <a:rPr lang="en-US" sz="3800" baseline="1950" dirty="0" err="1">
                <a:solidFill>
                  <a:srgbClr val="7F7E7E"/>
                </a:solidFill>
                <a:cs typeface="Calibri"/>
              </a:rPr>
              <a:t>Jaccard</a:t>
            </a:r>
            <a:r>
              <a:rPr lang="en-US" sz="3800" baseline="1950" dirty="0">
                <a:solidFill>
                  <a:srgbClr val="7F7E7E"/>
                </a:solidFill>
                <a:cs typeface="Calibri"/>
              </a:rPr>
              <a:t> </a:t>
            </a:r>
            <a:r>
              <a:rPr lang="en-US" sz="3800" baseline="1950" dirty="0" err="1" smtClean="0">
                <a:solidFill>
                  <a:srgbClr val="7F7E7E"/>
                </a:solidFill>
                <a:cs typeface="Calibri"/>
              </a:rPr>
              <a:t>dist</a:t>
            </a:r>
            <a:endParaRPr lang="en-US" sz="3800" dirty="0" smtClean="0">
              <a:cs typeface="Calibri"/>
            </a:endParaRPr>
          </a:p>
        </p:txBody>
      </p:sp>
      <p:sp>
        <p:nvSpPr>
          <p:cNvPr id="10" name="object 5"/>
          <p:cNvSpPr txBox="1"/>
          <p:nvPr/>
        </p:nvSpPr>
        <p:spPr>
          <a:xfrm>
            <a:off x="604887" y="545066"/>
            <a:ext cx="7874384" cy="489493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 lvl="0">
              <a:lnSpc>
                <a:spcPts val="3400"/>
              </a:lnSpc>
              <a:spcBef>
                <a:spcPts val="170"/>
              </a:spcBef>
            </a:pPr>
            <a:r>
              <a:rPr lang="en-US" sz="4800" baseline="1706" dirty="0" err="1">
                <a:solidFill>
                  <a:srgbClr val="4E81BC"/>
                </a:solidFill>
                <a:latin typeface="+mj-lt"/>
                <a:cs typeface="Calibri"/>
              </a:rPr>
              <a:t>Jaccard</a:t>
            </a:r>
            <a:r>
              <a:rPr lang="en-US" sz="4800" baseline="1706" dirty="0">
                <a:solidFill>
                  <a:srgbClr val="4E81BC"/>
                </a:solidFill>
                <a:latin typeface="+mj-lt"/>
                <a:cs typeface="Calibri"/>
              </a:rPr>
              <a:t> </a:t>
            </a:r>
            <a:r>
              <a:rPr sz="4800" spc="0" baseline="1706" dirty="0" smtClean="0">
                <a:solidFill>
                  <a:srgbClr val="4E81BC"/>
                </a:solidFill>
                <a:latin typeface="+mj-lt"/>
                <a:cs typeface="Calibri"/>
              </a:rPr>
              <a:t>Distance</a:t>
            </a:r>
            <a:r>
              <a:rPr lang="en-US" sz="4800" spc="0" baseline="1706" dirty="0" smtClean="0">
                <a:solidFill>
                  <a:srgbClr val="4E81BC"/>
                </a:solidFill>
                <a:latin typeface="+mj-lt"/>
                <a:cs typeface="Calibri"/>
              </a:rPr>
              <a:t>  </a:t>
            </a:r>
            <a:endParaRPr lang="en-US" sz="4800" dirty="0">
              <a:solidFill>
                <a:prstClr val="black"/>
              </a:solidFill>
              <a:latin typeface="+mj-lt"/>
              <a:cs typeface="Calibri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1" name="TextBox 10"/>
              <p:cNvSpPr txBox="1"/>
              <p:nvPr/>
            </p:nvSpPr>
            <p:spPr>
              <a:xfrm>
                <a:off x="2514600" y="4293730"/>
                <a:ext cx="3200400" cy="667738"/>
              </a:xfrm>
              <a:prstGeom prst="rect">
                <a:avLst/>
              </a:prstGeom>
              <a:noFill/>
            </p:spPr>
            <p:txBody>
              <a:bodyPr wrap="none" lIns="0" tIns="0" rIns="0" bIns="0" rtlCol="0" anchor="ctr" anchorCtr="0">
                <a:noAutofit/>
              </a:bodyPr>
              <a:lstStyle/>
              <a:p>
                <a14:m>
                  <m:oMathPara xmlns:m="http://schemas.openxmlformats.org/officeDocument/2006/math" xmlns="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en-US" sz="2000" b="0" i="1" smtClean="0">
                          <a:latin typeface="Cambria Math" charset="0"/>
                        </a:rPr>
                        <m:t>=1 −</m:t>
                      </m:r>
                      <m:f>
                        <m:fPr>
                          <m:ctrlPr>
                            <a:rPr lang="en-US" sz="2000" b="0" i="1" smtClean="0">
                              <a:latin typeface="Cambria Math" charset="0"/>
                            </a:rPr>
                          </m:ctrlPr>
                        </m:fPr>
                        <m:num>
                          <m:r>
                            <a:rPr lang="en-US" sz="2000" b="0" i="1" smtClean="0">
                              <a:latin typeface="Cambria Math" charset="0"/>
                            </a:rPr>
                            <m:t>3</m:t>
                          </m:r>
                        </m:num>
                        <m:den>
                          <m:r>
                            <a:rPr lang="en-US" sz="2000" b="0" i="1" smtClean="0">
                              <a:latin typeface="Cambria Math" charset="0"/>
                            </a:rPr>
                            <m:t>9</m:t>
                          </m:r>
                        </m:den>
                      </m:f>
                      <m:box>
                        <m:boxPr>
                          <m:ctrlPr>
                            <a:rPr lang="en-US" sz="2000" b="0" i="1" smtClean="0">
                              <a:latin typeface="Cambria Math" charset="0"/>
                            </a:rPr>
                          </m:ctrlPr>
                        </m:boxPr>
                        <m:e>
                          <m:argPr>
                            <m:argSz m:val="-1"/>
                          </m:argPr>
                          <m:f>
                            <m:fPr>
                              <m:ctrlPr>
                                <a:rPr lang="en-US" sz="2000" b="0" i="1" smtClean="0">
                                  <a:latin typeface="Cambria Math" charset="0"/>
                                </a:rPr>
                              </m:ctrlPr>
                            </m:fPr>
                            <m:num/>
                            <m:den/>
                          </m:f>
                        </m:e>
                      </m:box>
                      <m:r>
                        <a:rPr lang="en-US" sz="2000" b="0" i="1" smtClean="0">
                          <a:latin typeface="Cambria Math" charset="0"/>
                        </a:rPr>
                        <m:t>=1 −0.333=0.667</m:t>
                      </m:r>
                    </m:oMath>
                  </m:oMathPara>
                </a14:m>
                <a:endParaRPr lang="en-US" sz="2000" dirty="0"/>
              </a:p>
            </p:txBody>
          </p:sp>
        </mc:Choice>
        <mc:Fallback xmlns="">
          <p:sp>
            <p:nvSpPr>
              <p:cNvPr id="11" name="TextBox 10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514600" y="4293730"/>
                <a:ext cx="3200400" cy="667738"/>
              </a:xfrm>
              <a:prstGeom prst="rect">
                <a:avLst/>
              </a:prstGeom>
              <a:blipFill rotWithShape="1">
                <a:blip r:embed="rId2"/>
                <a:stretch>
                  <a:fillRect l="-760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ject 3"/>
          <p:cNvSpPr/>
          <p:nvPr/>
        </p:nvSpPr>
        <p:spPr>
          <a:xfrm>
            <a:off x="1041400" y="3691729"/>
            <a:ext cx="7048498" cy="2218004"/>
          </a:xfrm>
          <a:prstGeom prst="rect">
            <a:avLst/>
          </a:prstGeom>
          <a:blipFill>
            <a:blip r:embed="rId2" cstate="print"/>
            <a:srcRect/>
            <a:stretch>
              <a:fillRect b="-36276"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2" name="object 2"/>
          <p:cNvSpPr txBox="1"/>
          <p:nvPr/>
        </p:nvSpPr>
        <p:spPr>
          <a:xfrm>
            <a:off x="940428" y="2138996"/>
            <a:ext cx="7593972" cy="1206933"/>
          </a:xfrm>
          <a:prstGeom prst="rect">
            <a:avLst/>
          </a:prstGeom>
        </p:spPr>
        <p:txBody>
          <a:bodyPr wrap="square" lIns="0" tIns="0" rIns="0" bIns="0" rtlCol="0" anchor="b" anchorCtr="0">
            <a:spAutoFit/>
          </a:bodyPr>
          <a:lstStyle/>
          <a:p>
            <a:pPr marL="12700" algn="ctr">
              <a:lnSpc>
                <a:spcPts val="4600"/>
              </a:lnSpc>
              <a:spcBef>
                <a:spcPts val="230"/>
              </a:spcBef>
            </a:pPr>
            <a:r>
              <a:rPr lang="en-US" sz="6600" baseline="1861" dirty="0">
                <a:solidFill>
                  <a:srgbClr val="F69545"/>
                </a:solidFill>
                <a:cs typeface="Calibri"/>
              </a:rPr>
              <a:t>Back to Other</a:t>
            </a:r>
          </a:p>
          <a:p>
            <a:pPr marL="12700" algn="ctr">
              <a:lnSpc>
                <a:spcPts val="4600"/>
              </a:lnSpc>
              <a:spcBef>
                <a:spcPts val="230"/>
              </a:spcBef>
            </a:pPr>
            <a:r>
              <a:rPr lang="en-US" sz="6600" baseline="1861" dirty="0">
                <a:solidFill>
                  <a:srgbClr val="F69545"/>
                </a:solidFill>
                <a:cs typeface="Calibri"/>
              </a:rPr>
              <a:t>Clustering Algorithms</a:t>
            </a:r>
          </a:p>
        </p:txBody>
      </p:sp>
    </p:spTree>
    <p:extLst>
      <p:ext uri="{BB962C8B-B14F-4D97-AF65-F5344CB8AC3E}">
        <p14:creationId xmlns:p14="http://schemas.microsoft.com/office/powerpoint/2010/main" val="497718161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ject 3"/>
          <p:cNvSpPr/>
          <p:nvPr/>
        </p:nvSpPr>
        <p:spPr>
          <a:xfrm>
            <a:off x="1041400" y="3691729"/>
            <a:ext cx="7048498" cy="2201071"/>
          </a:xfrm>
          <a:prstGeom prst="rect">
            <a:avLst/>
          </a:prstGeom>
          <a:blipFill>
            <a:blip r:embed="rId2" cstate="print"/>
            <a:srcRect/>
            <a:stretch>
              <a:fillRect b="-37324"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2" name="object 2"/>
          <p:cNvSpPr txBox="1"/>
          <p:nvPr/>
        </p:nvSpPr>
        <p:spPr>
          <a:xfrm>
            <a:off x="940428" y="2754549"/>
            <a:ext cx="7593972" cy="591380"/>
          </a:xfrm>
          <a:prstGeom prst="rect">
            <a:avLst/>
          </a:prstGeom>
        </p:spPr>
        <p:txBody>
          <a:bodyPr wrap="square" lIns="0" tIns="0" rIns="0" bIns="0" rtlCol="0" anchor="b" anchorCtr="0">
            <a:spAutoFit/>
          </a:bodyPr>
          <a:lstStyle/>
          <a:p>
            <a:pPr marL="12700" algn="ctr">
              <a:lnSpc>
                <a:spcPts val="4600"/>
              </a:lnSpc>
              <a:spcBef>
                <a:spcPts val="230"/>
              </a:spcBef>
            </a:pPr>
            <a:r>
              <a:rPr lang="en-US" sz="6600" baseline="1861" dirty="0">
                <a:solidFill>
                  <a:srgbClr val="F69545"/>
                </a:solidFill>
                <a:cs typeface="Calibri"/>
              </a:rPr>
              <a:t>DBSCAN</a:t>
            </a:r>
          </a:p>
        </p:txBody>
      </p:sp>
    </p:spTree>
    <p:extLst>
      <p:ext uri="{BB962C8B-B14F-4D97-AF65-F5344CB8AC3E}">
        <p14:creationId xmlns:p14="http://schemas.microsoft.com/office/powerpoint/2010/main" val="1535679427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object 5"/>
          <p:cNvSpPr txBox="1"/>
          <p:nvPr/>
        </p:nvSpPr>
        <p:spPr>
          <a:xfrm>
            <a:off x="2101916" y="369650"/>
            <a:ext cx="6889684" cy="769441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 marR="41909">
              <a:lnSpc>
                <a:spcPts val="3454"/>
              </a:lnSpc>
              <a:spcBef>
                <a:spcPts val="172"/>
              </a:spcBef>
            </a:pPr>
            <a:r>
              <a:rPr sz="4800" spc="0" baseline="2560" dirty="0" smtClean="0">
                <a:solidFill>
                  <a:srgbClr val="4E81BC"/>
                </a:solidFill>
                <a:latin typeface="+mj-lt"/>
                <a:cs typeface="Calibri"/>
              </a:rPr>
              <a:t>DBSC</a:t>
            </a:r>
            <a:r>
              <a:rPr sz="4800" spc="-4" baseline="2560" dirty="0" smtClean="0">
                <a:solidFill>
                  <a:srgbClr val="4E81BC"/>
                </a:solidFill>
                <a:latin typeface="+mj-lt"/>
                <a:cs typeface="Calibri"/>
              </a:rPr>
              <a:t>A</a:t>
            </a:r>
            <a:r>
              <a:rPr sz="4800" spc="0" baseline="2560" dirty="0" smtClean="0">
                <a:solidFill>
                  <a:srgbClr val="4E81BC"/>
                </a:solidFill>
                <a:latin typeface="+mj-lt"/>
                <a:cs typeface="Calibri"/>
              </a:rPr>
              <a:t>N</a:t>
            </a:r>
            <a:endParaRPr sz="3200" dirty="0">
              <a:latin typeface="+mj-lt"/>
              <a:cs typeface="Calibri"/>
            </a:endParaRPr>
          </a:p>
          <a:p>
            <a:pPr marL="12700">
              <a:lnSpc>
                <a:spcPts val="2525"/>
              </a:lnSpc>
            </a:pPr>
            <a:r>
              <a:rPr sz="3300" baseline="2482" dirty="0" smtClean="0">
                <a:solidFill>
                  <a:srgbClr val="7F7E7E"/>
                </a:solidFill>
                <a:latin typeface="+mj-lt"/>
                <a:cs typeface="Calibri"/>
              </a:rPr>
              <a:t>Density-­‐based </a:t>
            </a:r>
            <a:r>
              <a:rPr sz="3300" spc="0" baseline="2482" dirty="0" smtClean="0">
                <a:solidFill>
                  <a:srgbClr val="7F7E7E"/>
                </a:solidFill>
                <a:latin typeface="+mj-lt"/>
                <a:cs typeface="Calibri"/>
              </a:rPr>
              <a:t>spa</a:t>
            </a:r>
            <a:r>
              <a:rPr lang="en-US" sz="3300" spc="0" baseline="2482" dirty="0" smtClean="0">
                <a:solidFill>
                  <a:srgbClr val="7F7E7E"/>
                </a:solidFill>
                <a:latin typeface="+mj-lt"/>
                <a:cs typeface="Calibri"/>
              </a:rPr>
              <a:t>ti</a:t>
            </a:r>
            <a:r>
              <a:rPr sz="3300" spc="0" baseline="2482" dirty="0" smtClean="0">
                <a:solidFill>
                  <a:srgbClr val="7F7E7E"/>
                </a:solidFill>
                <a:latin typeface="+mj-lt"/>
                <a:cs typeface="Calibri"/>
              </a:rPr>
              <a:t>al</a:t>
            </a:r>
            <a:r>
              <a:rPr sz="3300" spc="-170" baseline="2482" dirty="0" smtClean="0">
                <a:solidFill>
                  <a:srgbClr val="7F7E7E"/>
                </a:solidFill>
                <a:latin typeface="+mj-lt"/>
                <a:cs typeface="Calibri"/>
              </a:rPr>
              <a:t> </a:t>
            </a:r>
            <a:r>
              <a:rPr sz="3300" spc="0" baseline="2482" dirty="0" smtClean="0">
                <a:solidFill>
                  <a:srgbClr val="7F7E7E"/>
                </a:solidFill>
                <a:latin typeface="+mj-lt"/>
                <a:cs typeface="Calibri"/>
              </a:rPr>
              <a:t>clustering of </a:t>
            </a:r>
            <a:r>
              <a:rPr lang="en-US" sz="3300" spc="0" baseline="2482" dirty="0" smtClean="0">
                <a:solidFill>
                  <a:srgbClr val="7F7E7E"/>
                </a:solidFill>
                <a:latin typeface="+mj-lt"/>
                <a:cs typeface="Calibri"/>
              </a:rPr>
              <a:t>applications </a:t>
            </a:r>
            <a:r>
              <a:rPr sz="3300" spc="0" baseline="2482" dirty="0" smtClean="0">
                <a:solidFill>
                  <a:srgbClr val="7F7E7E"/>
                </a:solidFill>
                <a:latin typeface="+mj-lt"/>
                <a:cs typeface="Calibri"/>
              </a:rPr>
              <a:t>with</a:t>
            </a:r>
            <a:r>
              <a:rPr lang="en-US" sz="3300" spc="0" baseline="2482" dirty="0" smtClean="0">
                <a:solidFill>
                  <a:srgbClr val="7F7E7E"/>
                </a:solidFill>
                <a:latin typeface="+mj-lt"/>
                <a:cs typeface="Calibri"/>
              </a:rPr>
              <a:t> </a:t>
            </a:r>
            <a:r>
              <a:rPr sz="3300" spc="0" baseline="2482" dirty="0" smtClean="0">
                <a:solidFill>
                  <a:srgbClr val="7F7E7E"/>
                </a:solidFill>
                <a:latin typeface="+mj-lt"/>
                <a:cs typeface="Calibri"/>
              </a:rPr>
              <a:t>noise</a:t>
            </a:r>
            <a:endParaRPr lang="en-US" sz="3300" spc="0" baseline="2482" dirty="0" smtClean="0">
              <a:solidFill>
                <a:srgbClr val="7F7E7E"/>
              </a:solidFill>
              <a:latin typeface="+mj-lt"/>
              <a:cs typeface="Calibri"/>
            </a:endParaRPr>
          </a:p>
        </p:txBody>
      </p:sp>
      <p:sp>
        <p:nvSpPr>
          <p:cNvPr id="76" name="object 82"/>
          <p:cNvSpPr/>
          <p:nvPr/>
        </p:nvSpPr>
        <p:spPr>
          <a:xfrm>
            <a:off x="4414372" y="54871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7" name="object 84"/>
          <p:cNvSpPr/>
          <p:nvPr/>
        </p:nvSpPr>
        <p:spPr>
          <a:xfrm>
            <a:off x="5399747" y="55212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8" name="object 86"/>
          <p:cNvSpPr/>
          <p:nvPr/>
        </p:nvSpPr>
        <p:spPr>
          <a:xfrm>
            <a:off x="6251551" y="55023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9" name="object 74"/>
          <p:cNvSpPr/>
          <p:nvPr/>
        </p:nvSpPr>
        <p:spPr>
          <a:xfrm>
            <a:off x="2668469" y="519520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0" name="object 72"/>
          <p:cNvSpPr/>
          <p:nvPr/>
        </p:nvSpPr>
        <p:spPr>
          <a:xfrm>
            <a:off x="5959366" y="251737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40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80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1" name="object 70"/>
          <p:cNvSpPr/>
          <p:nvPr/>
        </p:nvSpPr>
        <p:spPr>
          <a:xfrm>
            <a:off x="5560113" y="213564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2" name="object 68"/>
          <p:cNvSpPr/>
          <p:nvPr/>
        </p:nvSpPr>
        <p:spPr>
          <a:xfrm>
            <a:off x="5148028" y="1723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3" name="object 66"/>
          <p:cNvSpPr/>
          <p:nvPr/>
        </p:nvSpPr>
        <p:spPr>
          <a:xfrm>
            <a:off x="6872003" y="34121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4" name="object 63"/>
          <p:cNvSpPr/>
          <p:nvPr/>
        </p:nvSpPr>
        <p:spPr>
          <a:xfrm>
            <a:off x="5880842" y="502152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6"/>
                </a:lnTo>
                <a:lnTo>
                  <a:pt x="1583" y="198179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6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2"/>
                </a:lnTo>
                <a:lnTo>
                  <a:pt x="49876" y="299561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6"/>
                </a:lnTo>
                <a:lnTo>
                  <a:pt x="196530" y="342926"/>
                </a:lnTo>
                <a:lnTo>
                  <a:pt x="209650" y="339004"/>
                </a:lnTo>
                <a:lnTo>
                  <a:pt x="222295" y="333936"/>
                </a:lnTo>
                <a:lnTo>
                  <a:pt x="234413" y="327778"/>
                </a:lnTo>
                <a:lnTo>
                  <a:pt x="245953" y="320583"/>
                </a:lnTo>
                <a:lnTo>
                  <a:pt x="256864" y="312409"/>
                </a:lnTo>
                <a:lnTo>
                  <a:pt x="267095" y="303311"/>
                </a:lnTo>
                <a:lnTo>
                  <a:pt x="276595" y="293343"/>
                </a:lnTo>
                <a:lnTo>
                  <a:pt x="285312" y="282562"/>
                </a:lnTo>
                <a:lnTo>
                  <a:pt x="293195" y="271023"/>
                </a:lnTo>
                <a:lnTo>
                  <a:pt x="300193" y="258781"/>
                </a:lnTo>
                <a:lnTo>
                  <a:pt x="306255" y="245892"/>
                </a:lnTo>
                <a:lnTo>
                  <a:pt x="311330" y="232411"/>
                </a:lnTo>
                <a:lnTo>
                  <a:pt x="315366" y="218394"/>
                </a:lnTo>
                <a:lnTo>
                  <a:pt x="318312" y="203896"/>
                </a:lnTo>
                <a:lnTo>
                  <a:pt x="320117" y="188973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9" y="93485"/>
                </a:lnTo>
                <a:lnTo>
                  <a:pt x="296006" y="80986"/>
                </a:lnTo>
                <a:lnTo>
                  <a:pt x="288459" y="69169"/>
                </a:lnTo>
                <a:lnTo>
                  <a:pt x="280058" y="58089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4"/>
                </a:lnTo>
                <a:lnTo>
                  <a:pt x="86318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5" name="object 62"/>
          <p:cNvSpPr/>
          <p:nvPr/>
        </p:nvSpPr>
        <p:spPr>
          <a:xfrm>
            <a:off x="4326962" y="34938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6" name="object 60"/>
          <p:cNvSpPr/>
          <p:nvPr/>
        </p:nvSpPr>
        <p:spPr>
          <a:xfrm>
            <a:off x="3451263" y="457102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7" name="object 58"/>
          <p:cNvSpPr/>
          <p:nvPr/>
        </p:nvSpPr>
        <p:spPr>
          <a:xfrm>
            <a:off x="7513462" y="204543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8" name="object 56"/>
          <p:cNvSpPr/>
          <p:nvPr/>
        </p:nvSpPr>
        <p:spPr>
          <a:xfrm>
            <a:off x="6553321" y="196196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9" name="object 54"/>
          <p:cNvSpPr/>
          <p:nvPr/>
        </p:nvSpPr>
        <p:spPr>
          <a:xfrm>
            <a:off x="7353097" y="275391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0" name="object 52"/>
          <p:cNvSpPr/>
          <p:nvPr/>
        </p:nvSpPr>
        <p:spPr>
          <a:xfrm>
            <a:off x="4696124" y="412086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1" name="object 50"/>
          <p:cNvSpPr/>
          <p:nvPr/>
        </p:nvSpPr>
        <p:spPr>
          <a:xfrm>
            <a:off x="4441297" y="46123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2" name="object 48"/>
          <p:cNvSpPr/>
          <p:nvPr/>
        </p:nvSpPr>
        <p:spPr>
          <a:xfrm>
            <a:off x="3130532" y="40499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3" name="object 42"/>
          <p:cNvSpPr/>
          <p:nvPr/>
        </p:nvSpPr>
        <p:spPr>
          <a:xfrm>
            <a:off x="5748103" y="33118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4" name="object 44"/>
          <p:cNvSpPr/>
          <p:nvPr/>
        </p:nvSpPr>
        <p:spPr>
          <a:xfrm>
            <a:off x="5560113" y="25802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5" name="object 46"/>
          <p:cNvSpPr/>
          <p:nvPr/>
        </p:nvSpPr>
        <p:spPr>
          <a:xfrm>
            <a:off x="5421508" y="296447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6" name="object 40"/>
          <p:cNvSpPr/>
          <p:nvPr/>
        </p:nvSpPr>
        <p:spPr>
          <a:xfrm>
            <a:off x="5213120" y="49216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7" name="object 38"/>
          <p:cNvSpPr/>
          <p:nvPr/>
        </p:nvSpPr>
        <p:spPr>
          <a:xfrm>
            <a:off x="7032365" y="221911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8" name="object 36"/>
          <p:cNvSpPr/>
          <p:nvPr/>
        </p:nvSpPr>
        <p:spPr>
          <a:xfrm>
            <a:off x="7385165" y="340218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6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7"/>
                </a:lnTo>
                <a:lnTo>
                  <a:pt x="310251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9" name="object 34"/>
          <p:cNvSpPr/>
          <p:nvPr/>
        </p:nvSpPr>
        <p:spPr>
          <a:xfrm>
            <a:off x="5038354" y="24830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0" name="object 32"/>
          <p:cNvSpPr/>
          <p:nvPr/>
        </p:nvSpPr>
        <p:spPr>
          <a:xfrm>
            <a:off x="7192732" y="159327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1" name="object 30"/>
          <p:cNvSpPr/>
          <p:nvPr/>
        </p:nvSpPr>
        <p:spPr>
          <a:xfrm>
            <a:off x="6201572" y="316997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2" name="object 28"/>
          <p:cNvSpPr/>
          <p:nvPr/>
        </p:nvSpPr>
        <p:spPr>
          <a:xfrm>
            <a:off x="4877989" y="532865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3" name="object 26"/>
          <p:cNvSpPr/>
          <p:nvPr/>
        </p:nvSpPr>
        <p:spPr>
          <a:xfrm>
            <a:off x="5581873" y="4521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4" name="object 24"/>
          <p:cNvSpPr/>
          <p:nvPr/>
        </p:nvSpPr>
        <p:spPr>
          <a:xfrm>
            <a:off x="3528670" y="35173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5" name="object 22"/>
          <p:cNvSpPr/>
          <p:nvPr/>
        </p:nvSpPr>
        <p:spPr>
          <a:xfrm>
            <a:off x="3252845" y="520650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6" name="object 20"/>
          <p:cNvSpPr/>
          <p:nvPr/>
        </p:nvSpPr>
        <p:spPr>
          <a:xfrm>
            <a:off x="3849401" y="4051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7" name="object 18"/>
          <p:cNvSpPr/>
          <p:nvPr/>
        </p:nvSpPr>
        <p:spPr>
          <a:xfrm>
            <a:off x="6713687" y="269105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8" name="object 6"/>
          <p:cNvSpPr txBox="1"/>
          <p:nvPr/>
        </p:nvSpPr>
        <p:spPr>
          <a:xfrm>
            <a:off x="1332125" y="3759280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sp>
        <p:nvSpPr>
          <p:cNvPr id="109" name="object 5"/>
          <p:cNvSpPr txBox="1"/>
          <p:nvPr/>
        </p:nvSpPr>
        <p:spPr>
          <a:xfrm>
            <a:off x="5426815" y="6116930"/>
            <a:ext cx="542241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Age</a:t>
            </a:r>
            <a:endParaRPr sz="2400">
              <a:cs typeface="Calibri"/>
            </a:endParaRPr>
          </a:p>
        </p:txBody>
      </p:sp>
      <p:grpSp>
        <p:nvGrpSpPr>
          <p:cNvPr id="110" name="Group 109"/>
          <p:cNvGrpSpPr/>
          <p:nvPr/>
        </p:nvGrpSpPr>
        <p:grpSpPr>
          <a:xfrm>
            <a:off x="2383438" y="1888930"/>
            <a:ext cx="6303362" cy="4054670"/>
            <a:chOff x="2343901" y="1923700"/>
            <a:chExt cx="6303362" cy="4054670"/>
          </a:xfrm>
        </p:grpSpPr>
        <p:sp>
          <p:nvSpPr>
            <p:cNvPr id="111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112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" name="object 5"/>
          <p:cNvSpPr txBox="1"/>
          <p:nvPr/>
        </p:nvSpPr>
        <p:spPr>
          <a:xfrm>
            <a:off x="2101916" y="369650"/>
            <a:ext cx="6889684" cy="769441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 marR="41909">
              <a:lnSpc>
                <a:spcPts val="3454"/>
              </a:lnSpc>
              <a:spcBef>
                <a:spcPts val="172"/>
              </a:spcBef>
            </a:pPr>
            <a:r>
              <a:rPr sz="4800" spc="0" baseline="2560" dirty="0" smtClean="0">
                <a:solidFill>
                  <a:srgbClr val="4E81BC"/>
                </a:solidFill>
                <a:latin typeface="+mj-lt"/>
                <a:cs typeface="Calibri"/>
              </a:rPr>
              <a:t>DBSC</a:t>
            </a:r>
            <a:r>
              <a:rPr sz="4800" spc="-4" baseline="2560" dirty="0" smtClean="0">
                <a:solidFill>
                  <a:srgbClr val="4E81BC"/>
                </a:solidFill>
                <a:latin typeface="+mj-lt"/>
                <a:cs typeface="Calibri"/>
              </a:rPr>
              <a:t>A</a:t>
            </a:r>
            <a:r>
              <a:rPr sz="4800" spc="0" baseline="2560" dirty="0" smtClean="0">
                <a:solidFill>
                  <a:srgbClr val="4E81BC"/>
                </a:solidFill>
                <a:latin typeface="+mj-lt"/>
                <a:cs typeface="Calibri"/>
              </a:rPr>
              <a:t>N</a:t>
            </a:r>
            <a:endParaRPr sz="3200" dirty="0">
              <a:latin typeface="+mj-lt"/>
              <a:cs typeface="Calibri"/>
            </a:endParaRPr>
          </a:p>
          <a:p>
            <a:pPr marL="12700">
              <a:lnSpc>
                <a:spcPts val="2525"/>
              </a:lnSpc>
            </a:pPr>
            <a:r>
              <a:rPr lang="en-US" sz="3300" baseline="2482" dirty="0" smtClean="0">
                <a:solidFill>
                  <a:srgbClr val="7F7E7E"/>
                </a:solidFill>
                <a:latin typeface="+mj-lt"/>
                <a:cs typeface="Calibri"/>
              </a:rPr>
              <a:t>Start at a random point</a:t>
            </a:r>
            <a:endParaRPr lang="en-US" sz="3300" spc="0" baseline="2482" dirty="0" smtClean="0">
              <a:solidFill>
                <a:srgbClr val="7F7E7E"/>
              </a:solidFill>
              <a:latin typeface="+mj-lt"/>
              <a:cs typeface="Calibri"/>
            </a:endParaRPr>
          </a:p>
        </p:txBody>
      </p:sp>
      <p:sp>
        <p:nvSpPr>
          <p:cNvPr id="82" name="object 82"/>
          <p:cNvSpPr/>
          <p:nvPr/>
        </p:nvSpPr>
        <p:spPr>
          <a:xfrm>
            <a:off x="4414372" y="54871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3" name="object 84"/>
          <p:cNvSpPr/>
          <p:nvPr/>
        </p:nvSpPr>
        <p:spPr>
          <a:xfrm>
            <a:off x="5399747" y="55212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4" name="object 86"/>
          <p:cNvSpPr/>
          <p:nvPr/>
        </p:nvSpPr>
        <p:spPr>
          <a:xfrm>
            <a:off x="6251551" y="55023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5" name="object 74"/>
          <p:cNvSpPr/>
          <p:nvPr/>
        </p:nvSpPr>
        <p:spPr>
          <a:xfrm>
            <a:off x="2668469" y="519520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6" name="object 72"/>
          <p:cNvSpPr/>
          <p:nvPr/>
        </p:nvSpPr>
        <p:spPr>
          <a:xfrm>
            <a:off x="5959366" y="251737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40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80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7" name="object 70"/>
          <p:cNvSpPr/>
          <p:nvPr/>
        </p:nvSpPr>
        <p:spPr>
          <a:xfrm>
            <a:off x="5560113" y="213564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8" name="object 68"/>
          <p:cNvSpPr/>
          <p:nvPr/>
        </p:nvSpPr>
        <p:spPr>
          <a:xfrm>
            <a:off x="5148028" y="1723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9" name="object 66"/>
          <p:cNvSpPr/>
          <p:nvPr/>
        </p:nvSpPr>
        <p:spPr>
          <a:xfrm>
            <a:off x="6872003" y="34121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0" name="object 63"/>
          <p:cNvSpPr/>
          <p:nvPr/>
        </p:nvSpPr>
        <p:spPr>
          <a:xfrm>
            <a:off x="5880842" y="502152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6"/>
                </a:lnTo>
                <a:lnTo>
                  <a:pt x="1583" y="198179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6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2"/>
                </a:lnTo>
                <a:lnTo>
                  <a:pt x="49876" y="299561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6"/>
                </a:lnTo>
                <a:lnTo>
                  <a:pt x="196530" y="342926"/>
                </a:lnTo>
                <a:lnTo>
                  <a:pt x="209650" y="339004"/>
                </a:lnTo>
                <a:lnTo>
                  <a:pt x="222295" y="333936"/>
                </a:lnTo>
                <a:lnTo>
                  <a:pt x="234413" y="327778"/>
                </a:lnTo>
                <a:lnTo>
                  <a:pt x="245953" y="320583"/>
                </a:lnTo>
                <a:lnTo>
                  <a:pt x="256864" y="312409"/>
                </a:lnTo>
                <a:lnTo>
                  <a:pt x="267095" y="303311"/>
                </a:lnTo>
                <a:lnTo>
                  <a:pt x="276595" y="293343"/>
                </a:lnTo>
                <a:lnTo>
                  <a:pt x="285312" y="282562"/>
                </a:lnTo>
                <a:lnTo>
                  <a:pt x="293195" y="271023"/>
                </a:lnTo>
                <a:lnTo>
                  <a:pt x="300193" y="258781"/>
                </a:lnTo>
                <a:lnTo>
                  <a:pt x="306255" y="245892"/>
                </a:lnTo>
                <a:lnTo>
                  <a:pt x="311330" y="232411"/>
                </a:lnTo>
                <a:lnTo>
                  <a:pt x="315366" y="218394"/>
                </a:lnTo>
                <a:lnTo>
                  <a:pt x="318312" y="203896"/>
                </a:lnTo>
                <a:lnTo>
                  <a:pt x="320117" y="188973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9" y="93485"/>
                </a:lnTo>
                <a:lnTo>
                  <a:pt x="296006" y="80986"/>
                </a:lnTo>
                <a:lnTo>
                  <a:pt x="288459" y="69169"/>
                </a:lnTo>
                <a:lnTo>
                  <a:pt x="280058" y="58089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4"/>
                </a:lnTo>
                <a:lnTo>
                  <a:pt x="86318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1" name="object 62"/>
          <p:cNvSpPr/>
          <p:nvPr/>
        </p:nvSpPr>
        <p:spPr>
          <a:xfrm>
            <a:off x="4326962" y="34938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2" name="object 60"/>
          <p:cNvSpPr/>
          <p:nvPr/>
        </p:nvSpPr>
        <p:spPr>
          <a:xfrm>
            <a:off x="3451263" y="457102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3" name="object 58"/>
          <p:cNvSpPr/>
          <p:nvPr/>
        </p:nvSpPr>
        <p:spPr>
          <a:xfrm>
            <a:off x="7513462" y="204543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4" name="object 56"/>
          <p:cNvSpPr/>
          <p:nvPr/>
        </p:nvSpPr>
        <p:spPr>
          <a:xfrm>
            <a:off x="6553321" y="196196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5" name="object 54"/>
          <p:cNvSpPr/>
          <p:nvPr/>
        </p:nvSpPr>
        <p:spPr>
          <a:xfrm>
            <a:off x="7353097" y="275391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6" name="object 52"/>
          <p:cNvSpPr/>
          <p:nvPr/>
        </p:nvSpPr>
        <p:spPr>
          <a:xfrm>
            <a:off x="4696124" y="412086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7" name="object 50"/>
          <p:cNvSpPr/>
          <p:nvPr/>
        </p:nvSpPr>
        <p:spPr>
          <a:xfrm>
            <a:off x="4441297" y="46123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8" name="object 48"/>
          <p:cNvSpPr/>
          <p:nvPr/>
        </p:nvSpPr>
        <p:spPr>
          <a:xfrm>
            <a:off x="3130532" y="40499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9" name="object 42"/>
          <p:cNvSpPr/>
          <p:nvPr/>
        </p:nvSpPr>
        <p:spPr>
          <a:xfrm>
            <a:off x="5748103" y="33118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0" name="object 44"/>
          <p:cNvSpPr/>
          <p:nvPr/>
        </p:nvSpPr>
        <p:spPr>
          <a:xfrm>
            <a:off x="5560113" y="25802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1" name="object 46"/>
          <p:cNvSpPr/>
          <p:nvPr/>
        </p:nvSpPr>
        <p:spPr>
          <a:xfrm>
            <a:off x="5421508" y="296447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2" name="object 40"/>
          <p:cNvSpPr/>
          <p:nvPr/>
        </p:nvSpPr>
        <p:spPr>
          <a:xfrm>
            <a:off x="5213120" y="49216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3" name="object 38"/>
          <p:cNvSpPr/>
          <p:nvPr/>
        </p:nvSpPr>
        <p:spPr>
          <a:xfrm>
            <a:off x="7032365" y="221911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4" name="object 36"/>
          <p:cNvSpPr/>
          <p:nvPr/>
        </p:nvSpPr>
        <p:spPr>
          <a:xfrm>
            <a:off x="7385165" y="340218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6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7"/>
                </a:lnTo>
                <a:lnTo>
                  <a:pt x="310251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5" name="object 34"/>
          <p:cNvSpPr/>
          <p:nvPr/>
        </p:nvSpPr>
        <p:spPr>
          <a:xfrm>
            <a:off x="5038354" y="24830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6" name="object 32"/>
          <p:cNvSpPr/>
          <p:nvPr/>
        </p:nvSpPr>
        <p:spPr>
          <a:xfrm>
            <a:off x="7192732" y="159327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7" name="object 30"/>
          <p:cNvSpPr/>
          <p:nvPr/>
        </p:nvSpPr>
        <p:spPr>
          <a:xfrm>
            <a:off x="6201572" y="316997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8" name="object 28"/>
          <p:cNvSpPr/>
          <p:nvPr/>
        </p:nvSpPr>
        <p:spPr>
          <a:xfrm>
            <a:off x="4877989" y="532865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9" name="object 26"/>
          <p:cNvSpPr/>
          <p:nvPr/>
        </p:nvSpPr>
        <p:spPr>
          <a:xfrm>
            <a:off x="5581873" y="4521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0" name="object 24"/>
          <p:cNvSpPr/>
          <p:nvPr/>
        </p:nvSpPr>
        <p:spPr>
          <a:xfrm>
            <a:off x="3528670" y="35173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1" name="object 22"/>
          <p:cNvSpPr/>
          <p:nvPr/>
        </p:nvSpPr>
        <p:spPr>
          <a:xfrm>
            <a:off x="3252845" y="520650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2" name="object 20"/>
          <p:cNvSpPr/>
          <p:nvPr/>
        </p:nvSpPr>
        <p:spPr>
          <a:xfrm>
            <a:off x="3849401" y="4051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3" name="object 18"/>
          <p:cNvSpPr/>
          <p:nvPr/>
        </p:nvSpPr>
        <p:spPr>
          <a:xfrm>
            <a:off x="6713687" y="269105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4" name="object 6"/>
          <p:cNvSpPr txBox="1"/>
          <p:nvPr/>
        </p:nvSpPr>
        <p:spPr>
          <a:xfrm>
            <a:off x="1332125" y="3759280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sp>
        <p:nvSpPr>
          <p:cNvPr id="115" name="object 5"/>
          <p:cNvSpPr txBox="1"/>
          <p:nvPr/>
        </p:nvSpPr>
        <p:spPr>
          <a:xfrm>
            <a:off x="5426815" y="6116930"/>
            <a:ext cx="542241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Age</a:t>
            </a:r>
            <a:endParaRPr sz="2400">
              <a:cs typeface="Calibri"/>
            </a:endParaRPr>
          </a:p>
        </p:txBody>
      </p:sp>
      <p:grpSp>
        <p:nvGrpSpPr>
          <p:cNvPr id="116" name="Group 115"/>
          <p:cNvGrpSpPr/>
          <p:nvPr/>
        </p:nvGrpSpPr>
        <p:grpSpPr>
          <a:xfrm>
            <a:off x="2383438" y="1888930"/>
            <a:ext cx="6303362" cy="4054670"/>
            <a:chOff x="2343901" y="1923700"/>
            <a:chExt cx="6303362" cy="4054670"/>
          </a:xfrm>
        </p:grpSpPr>
        <p:sp>
          <p:nvSpPr>
            <p:cNvPr id="117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118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alpha val="4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5" name="Object 12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0451244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7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6" name="object 66"/>
          <p:cNvSpPr/>
          <p:nvPr/>
        </p:nvSpPr>
        <p:spPr>
          <a:xfrm>
            <a:off x="4833383" y="1869959"/>
            <a:ext cx="1810252" cy="1760707"/>
          </a:xfrm>
          <a:custGeom>
            <a:avLst/>
            <a:gdLst/>
            <a:ahLst/>
            <a:cxnLst/>
            <a:rect l="l" t="t" r="r" b="b"/>
            <a:pathLst>
              <a:path w="1810252" h="1760707">
                <a:moveTo>
                  <a:pt x="0" y="880353"/>
                </a:moveTo>
                <a:lnTo>
                  <a:pt x="3000" y="952556"/>
                </a:lnTo>
                <a:lnTo>
                  <a:pt x="11846" y="1023151"/>
                </a:lnTo>
                <a:lnTo>
                  <a:pt x="26305" y="1091913"/>
                </a:lnTo>
                <a:lnTo>
                  <a:pt x="46143" y="1158614"/>
                </a:lnTo>
                <a:lnTo>
                  <a:pt x="71129" y="1223027"/>
                </a:lnTo>
                <a:lnTo>
                  <a:pt x="101028" y="1284927"/>
                </a:lnTo>
                <a:lnTo>
                  <a:pt x="135608" y="1344087"/>
                </a:lnTo>
                <a:lnTo>
                  <a:pt x="174636" y="1400279"/>
                </a:lnTo>
                <a:lnTo>
                  <a:pt x="217880" y="1453279"/>
                </a:lnTo>
                <a:lnTo>
                  <a:pt x="265105" y="1502858"/>
                </a:lnTo>
                <a:lnTo>
                  <a:pt x="316079" y="1548791"/>
                </a:lnTo>
                <a:lnTo>
                  <a:pt x="370570" y="1590850"/>
                </a:lnTo>
                <a:lnTo>
                  <a:pt x="428344" y="1628810"/>
                </a:lnTo>
                <a:lnTo>
                  <a:pt x="489168" y="1662444"/>
                </a:lnTo>
                <a:lnTo>
                  <a:pt x="552810" y="1691525"/>
                </a:lnTo>
                <a:lnTo>
                  <a:pt x="619036" y="1715826"/>
                </a:lnTo>
                <a:lnTo>
                  <a:pt x="687614" y="1735122"/>
                </a:lnTo>
                <a:lnTo>
                  <a:pt x="758310" y="1749185"/>
                </a:lnTo>
                <a:lnTo>
                  <a:pt x="830892" y="1757789"/>
                </a:lnTo>
                <a:lnTo>
                  <a:pt x="905126" y="1760707"/>
                </a:lnTo>
                <a:lnTo>
                  <a:pt x="979361" y="1757789"/>
                </a:lnTo>
                <a:lnTo>
                  <a:pt x="1051942" y="1749185"/>
                </a:lnTo>
                <a:lnTo>
                  <a:pt x="1122639" y="1735122"/>
                </a:lnTo>
                <a:lnTo>
                  <a:pt x="1191216" y="1715826"/>
                </a:lnTo>
                <a:lnTo>
                  <a:pt x="1257442" y="1691525"/>
                </a:lnTo>
                <a:lnTo>
                  <a:pt x="1321084" y="1662444"/>
                </a:lnTo>
                <a:lnTo>
                  <a:pt x="1381908" y="1628810"/>
                </a:lnTo>
                <a:lnTo>
                  <a:pt x="1439682" y="1590850"/>
                </a:lnTo>
                <a:lnTo>
                  <a:pt x="1494173" y="1548791"/>
                </a:lnTo>
                <a:lnTo>
                  <a:pt x="1545147" y="1502858"/>
                </a:lnTo>
                <a:lnTo>
                  <a:pt x="1592373" y="1453279"/>
                </a:lnTo>
                <a:lnTo>
                  <a:pt x="1635616" y="1400279"/>
                </a:lnTo>
                <a:lnTo>
                  <a:pt x="1674644" y="1344087"/>
                </a:lnTo>
                <a:lnTo>
                  <a:pt x="1709224" y="1284927"/>
                </a:lnTo>
                <a:lnTo>
                  <a:pt x="1739123" y="1223027"/>
                </a:lnTo>
                <a:lnTo>
                  <a:pt x="1764109" y="1158614"/>
                </a:lnTo>
                <a:lnTo>
                  <a:pt x="1783947" y="1091913"/>
                </a:lnTo>
                <a:lnTo>
                  <a:pt x="1798406" y="1023151"/>
                </a:lnTo>
                <a:lnTo>
                  <a:pt x="1807252" y="952556"/>
                </a:lnTo>
                <a:lnTo>
                  <a:pt x="1810252" y="880353"/>
                </a:lnTo>
                <a:lnTo>
                  <a:pt x="1807252" y="808151"/>
                </a:lnTo>
                <a:lnTo>
                  <a:pt x="1798406" y="737555"/>
                </a:lnTo>
                <a:lnTo>
                  <a:pt x="1783947" y="668794"/>
                </a:lnTo>
                <a:lnTo>
                  <a:pt x="1764109" y="602094"/>
                </a:lnTo>
                <a:lnTo>
                  <a:pt x="1739123" y="537680"/>
                </a:lnTo>
                <a:lnTo>
                  <a:pt x="1709224" y="475780"/>
                </a:lnTo>
                <a:lnTo>
                  <a:pt x="1674644" y="416621"/>
                </a:lnTo>
                <a:lnTo>
                  <a:pt x="1635616" y="360428"/>
                </a:lnTo>
                <a:lnTo>
                  <a:pt x="1592373" y="307429"/>
                </a:lnTo>
                <a:lnTo>
                  <a:pt x="1545147" y="257849"/>
                </a:lnTo>
                <a:lnTo>
                  <a:pt x="1494173" y="211917"/>
                </a:lnTo>
                <a:lnTo>
                  <a:pt x="1439682" y="169857"/>
                </a:lnTo>
                <a:lnTo>
                  <a:pt x="1381908" y="131897"/>
                </a:lnTo>
                <a:lnTo>
                  <a:pt x="1321084" y="98263"/>
                </a:lnTo>
                <a:lnTo>
                  <a:pt x="1257442" y="69182"/>
                </a:lnTo>
                <a:lnTo>
                  <a:pt x="1191216" y="44881"/>
                </a:lnTo>
                <a:lnTo>
                  <a:pt x="1122639" y="25585"/>
                </a:lnTo>
                <a:lnTo>
                  <a:pt x="1051942" y="11522"/>
                </a:lnTo>
                <a:lnTo>
                  <a:pt x="979361" y="2918"/>
                </a:lnTo>
                <a:lnTo>
                  <a:pt x="905126" y="0"/>
                </a:lnTo>
                <a:lnTo>
                  <a:pt x="830892" y="2918"/>
                </a:lnTo>
                <a:lnTo>
                  <a:pt x="758310" y="11522"/>
                </a:lnTo>
                <a:lnTo>
                  <a:pt x="687614" y="25585"/>
                </a:lnTo>
                <a:lnTo>
                  <a:pt x="619036" y="44881"/>
                </a:lnTo>
                <a:lnTo>
                  <a:pt x="552810" y="69182"/>
                </a:lnTo>
                <a:lnTo>
                  <a:pt x="489168" y="98263"/>
                </a:lnTo>
                <a:lnTo>
                  <a:pt x="428344" y="131897"/>
                </a:lnTo>
                <a:lnTo>
                  <a:pt x="370570" y="169857"/>
                </a:lnTo>
                <a:lnTo>
                  <a:pt x="316079" y="211917"/>
                </a:lnTo>
                <a:lnTo>
                  <a:pt x="265105" y="257849"/>
                </a:lnTo>
                <a:lnTo>
                  <a:pt x="217880" y="307429"/>
                </a:lnTo>
                <a:lnTo>
                  <a:pt x="174636" y="360428"/>
                </a:lnTo>
                <a:lnTo>
                  <a:pt x="135608" y="416621"/>
                </a:lnTo>
                <a:lnTo>
                  <a:pt x="101028" y="475780"/>
                </a:lnTo>
                <a:lnTo>
                  <a:pt x="71129" y="537680"/>
                </a:lnTo>
                <a:lnTo>
                  <a:pt x="46143" y="602094"/>
                </a:lnTo>
                <a:lnTo>
                  <a:pt x="26305" y="668794"/>
                </a:lnTo>
                <a:lnTo>
                  <a:pt x="11846" y="737555"/>
                </a:lnTo>
                <a:lnTo>
                  <a:pt x="3000" y="808151"/>
                </a:lnTo>
                <a:lnTo>
                  <a:pt x="0" y="880353"/>
                </a:lnTo>
                <a:close/>
              </a:path>
            </a:pathLst>
          </a:custGeom>
          <a:solidFill>
            <a:srgbClr val="FAA657">
              <a:alpha val="51000"/>
            </a:srgbClr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7" name="object 5"/>
          <p:cNvSpPr txBox="1"/>
          <p:nvPr/>
        </p:nvSpPr>
        <p:spPr>
          <a:xfrm>
            <a:off x="2101916" y="369650"/>
            <a:ext cx="6889684" cy="1192699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 marR="41909">
              <a:lnSpc>
                <a:spcPts val="3454"/>
              </a:lnSpc>
              <a:spcBef>
                <a:spcPts val="172"/>
              </a:spcBef>
            </a:pPr>
            <a:r>
              <a:rPr sz="4800" spc="0" baseline="2560" dirty="0" smtClean="0">
                <a:solidFill>
                  <a:srgbClr val="4E81BC"/>
                </a:solidFill>
                <a:latin typeface="+mj-lt"/>
                <a:cs typeface="Calibri"/>
              </a:rPr>
              <a:t>DBSC</a:t>
            </a:r>
            <a:r>
              <a:rPr sz="4800" spc="-4" baseline="2560" dirty="0" smtClean="0">
                <a:solidFill>
                  <a:srgbClr val="4E81BC"/>
                </a:solidFill>
                <a:latin typeface="+mj-lt"/>
                <a:cs typeface="Calibri"/>
              </a:rPr>
              <a:t>A</a:t>
            </a:r>
            <a:r>
              <a:rPr sz="4800" spc="0" baseline="2560" dirty="0" smtClean="0">
                <a:solidFill>
                  <a:srgbClr val="4E81BC"/>
                </a:solidFill>
                <a:latin typeface="+mj-lt"/>
                <a:cs typeface="Calibri"/>
              </a:rPr>
              <a:t>N</a:t>
            </a:r>
            <a:endParaRPr sz="3200" dirty="0">
              <a:latin typeface="+mj-lt"/>
              <a:cs typeface="Calibri"/>
            </a:endParaRPr>
          </a:p>
          <a:p>
            <a:pPr marL="12700">
              <a:lnSpc>
                <a:spcPts val="2770"/>
              </a:lnSpc>
            </a:pPr>
            <a:r>
              <a:rPr lang="en-US" sz="3200" baseline="1137" dirty="0">
                <a:solidFill>
                  <a:srgbClr val="7F7E7E"/>
                </a:solidFill>
                <a:latin typeface="+mj-lt"/>
                <a:cs typeface="Calibri"/>
              </a:rPr>
              <a:t>Look at the radius </a:t>
            </a:r>
            <a:r>
              <a:rPr lang="en-US" sz="3200" i="1" baseline="1137" dirty="0">
                <a:solidFill>
                  <a:srgbClr val="4E81BC"/>
                </a:solidFill>
                <a:latin typeface="+mj-lt"/>
                <a:cs typeface="Calibri"/>
              </a:rPr>
              <a:t>epsilon</a:t>
            </a:r>
            <a:r>
              <a:rPr lang="en-US" sz="3200" i="1" spc="-4" baseline="1137" dirty="0">
                <a:solidFill>
                  <a:srgbClr val="4E81BC"/>
                </a:solidFill>
                <a:latin typeface="+mj-lt"/>
                <a:cs typeface="Calibri"/>
              </a:rPr>
              <a:t> </a:t>
            </a:r>
            <a:r>
              <a:rPr lang="en-US" sz="3200" baseline="1137" dirty="0">
                <a:solidFill>
                  <a:srgbClr val="7F7E7E"/>
                </a:solidFill>
                <a:latin typeface="+mj-lt"/>
                <a:cs typeface="Calibri"/>
              </a:rPr>
              <a:t>around </a:t>
            </a:r>
            <a:r>
              <a:rPr lang="en-US" sz="3200" baseline="1137" dirty="0" smtClean="0">
                <a:solidFill>
                  <a:srgbClr val="7F7E7E"/>
                </a:solidFill>
                <a:latin typeface="+mj-lt"/>
                <a:cs typeface="Calibri"/>
              </a:rPr>
              <a:t>point</a:t>
            </a:r>
          </a:p>
          <a:p>
            <a:pPr marL="12700" lvl="0">
              <a:lnSpc>
                <a:spcPts val="2600"/>
              </a:lnSpc>
              <a:spcBef>
                <a:spcPts val="130"/>
              </a:spcBef>
            </a:pPr>
            <a:r>
              <a:rPr lang="en-US" sz="3200" baseline="1137" dirty="0" smtClean="0">
                <a:solidFill>
                  <a:srgbClr val="7F7E7E"/>
                </a:solidFill>
                <a:latin typeface="+mj-lt"/>
                <a:cs typeface="Calibri"/>
              </a:rPr>
              <a:t>If enough points (</a:t>
            </a:r>
            <a:r>
              <a:rPr lang="en-US" sz="3200" i="1" baseline="2275" dirty="0" err="1" smtClean="0">
                <a:solidFill>
                  <a:srgbClr val="4E81BC"/>
                </a:solidFill>
                <a:latin typeface="+mj-lt"/>
                <a:cs typeface="Calibri"/>
              </a:rPr>
              <a:t>n_clu</a:t>
            </a:r>
            <a:r>
              <a:rPr lang="en-US" sz="3200" baseline="2275" dirty="0" smtClean="0">
                <a:solidFill>
                  <a:srgbClr val="7F7E7E"/>
                </a:solidFill>
                <a:latin typeface="+mj-lt"/>
                <a:cs typeface="Calibri"/>
              </a:rPr>
              <a:t>) within circle, start cluster</a:t>
            </a:r>
            <a:endParaRPr lang="en-US" sz="3200" dirty="0">
              <a:solidFill>
                <a:srgbClr val="7F7E7E"/>
              </a:solidFill>
              <a:latin typeface="+mj-lt"/>
              <a:cs typeface="Calibri"/>
            </a:endParaRPr>
          </a:p>
        </p:txBody>
      </p:sp>
      <p:sp>
        <p:nvSpPr>
          <p:cNvPr id="88" name="object 82"/>
          <p:cNvSpPr/>
          <p:nvPr/>
        </p:nvSpPr>
        <p:spPr>
          <a:xfrm>
            <a:off x="4414372" y="54871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9" name="object 84"/>
          <p:cNvSpPr/>
          <p:nvPr/>
        </p:nvSpPr>
        <p:spPr>
          <a:xfrm>
            <a:off x="5399747" y="55212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0" name="object 86"/>
          <p:cNvSpPr/>
          <p:nvPr/>
        </p:nvSpPr>
        <p:spPr>
          <a:xfrm>
            <a:off x="6251551" y="55023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1" name="object 74"/>
          <p:cNvSpPr/>
          <p:nvPr/>
        </p:nvSpPr>
        <p:spPr>
          <a:xfrm>
            <a:off x="2668469" y="519520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2" name="object 72"/>
          <p:cNvSpPr/>
          <p:nvPr/>
        </p:nvSpPr>
        <p:spPr>
          <a:xfrm>
            <a:off x="5959366" y="251737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40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80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3" name="object 70"/>
          <p:cNvSpPr/>
          <p:nvPr/>
        </p:nvSpPr>
        <p:spPr>
          <a:xfrm>
            <a:off x="5560113" y="213564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4" name="object 68"/>
          <p:cNvSpPr/>
          <p:nvPr/>
        </p:nvSpPr>
        <p:spPr>
          <a:xfrm>
            <a:off x="5148028" y="1723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5" name="object 66"/>
          <p:cNvSpPr/>
          <p:nvPr/>
        </p:nvSpPr>
        <p:spPr>
          <a:xfrm>
            <a:off x="6872003" y="34121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6" name="object 63"/>
          <p:cNvSpPr/>
          <p:nvPr/>
        </p:nvSpPr>
        <p:spPr>
          <a:xfrm>
            <a:off x="5880842" y="502152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6"/>
                </a:lnTo>
                <a:lnTo>
                  <a:pt x="1583" y="198179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6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2"/>
                </a:lnTo>
                <a:lnTo>
                  <a:pt x="49876" y="299561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6"/>
                </a:lnTo>
                <a:lnTo>
                  <a:pt x="196530" y="342926"/>
                </a:lnTo>
                <a:lnTo>
                  <a:pt x="209650" y="339004"/>
                </a:lnTo>
                <a:lnTo>
                  <a:pt x="222295" y="333936"/>
                </a:lnTo>
                <a:lnTo>
                  <a:pt x="234413" y="327778"/>
                </a:lnTo>
                <a:lnTo>
                  <a:pt x="245953" y="320583"/>
                </a:lnTo>
                <a:lnTo>
                  <a:pt x="256864" y="312409"/>
                </a:lnTo>
                <a:lnTo>
                  <a:pt x="267095" y="303311"/>
                </a:lnTo>
                <a:lnTo>
                  <a:pt x="276595" y="293343"/>
                </a:lnTo>
                <a:lnTo>
                  <a:pt x="285312" y="282562"/>
                </a:lnTo>
                <a:lnTo>
                  <a:pt x="293195" y="271023"/>
                </a:lnTo>
                <a:lnTo>
                  <a:pt x="300193" y="258781"/>
                </a:lnTo>
                <a:lnTo>
                  <a:pt x="306255" y="245892"/>
                </a:lnTo>
                <a:lnTo>
                  <a:pt x="311330" y="232411"/>
                </a:lnTo>
                <a:lnTo>
                  <a:pt x="315366" y="218394"/>
                </a:lnTo>
                <a:lnTo>
                  <a:pt x="318312" y="203896"/>
                </a:lnTo>
                <a:lnTo>
                  <a:pt x="320117" y="188973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9" y="93485"/>
                </a:lnTo>
                <a:lnTo>
                  <a:pt x="296006" y="80986"/>
                </a:lnTo>
                <a:lnTo>
                  <a:pt x="288459" y="69169"/>
                </a:lnTo>
                <a:lnTo>
                  <a:pt x="280058" y="58089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4"/>
                </a:lnTo>
                <a:lnTo>
                  <a:pt x="86318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7" name="object 62"/>
          <p:cNvSpPr/>
          <p:nvPr/>
        </p:nvSpPr>
        <p:spPr>
          <a:xfrm>
            <a:off x="4326962" y="34938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8" name="object 60"/>
          <p:cNvSpPr/>
          <p:nvPr/>
        </p:nvSpPr>
        <p:spPr>
          <a:xfrm>
            <a:off x="3451263" y="457102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9" name="object 58"/>
          <p:cNvSpPr/>
          <p:nvPr/>
        </p:nvSpPr>
        <p:spPr>
          <a:xfrm>
            <a:off x="7513462" y="204543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0" name="object 56"/>
          <p:cNvSpPr/>
          <p:nvPr/>
        </p:nvSpPr>
        <p:spPr>
          <a:xfrm>
            <a:off x="6553321" y="196196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1" name="object 54"/>
          <p:cNvSpPr/>
          <p:nvPr/>
        </p:nvSpPr>
        <p:spPr>
          <a:xfrm>
            <a:off x="7353097" y="275391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2" name="object 52"/>
          <p:cNvSpPr/>
          <p:nvPr/>
        </p:nvSpPr>
        <p:spPr>
          <a:xfrm>
            <a:off x="4696124" y="412086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3" name="object 50"/>
          <p:cNvSpPr/>
          <p:nvPr/>
        </p:nvSpPr>
        <p:spPr>
          <a:xfrm>
            <a:off x="4441297" y="46123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4" name="object 48"/>
          <p:cNvSpPr/>
          <p:nvPr/>
        </p:nvSpPr>
        <p:spPr>
          <a:xfrm>
            <a:off x="3130532" y="40499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5" name="object 42"/>
          <p:cNvSpPr/>
          <p:nvPr/>
        </p:nvSpPr>
        <p:spPr>
          <a:xfrm>
            <a:off x="5748103" y="33118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6" name="object 44"/>
          <p:cNvSpPr/>
          <p:nvPr/>
        </p:nvSpPr>
        <p:spPr>
          <a:xfrm>
            <a:off x="5560113" y="25802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7" name="object 46"/>
          <p:cNvSpPr/>
          <p:nvPr/>
        </p:nvSpPr>
        <p:spPr>
          <a:xfrm>
            <a:off x="5421508" y="296447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8" name="object 40"/>
          <p:cNvSpPr/>
          <p:nvPr/>
        </p:nvSpPr>
        <p:spPr>
          <a:xfrm>
            <a:off x="5213120" y="49216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9" name="object 38"/>
          <p:cNvSpPr/>
          <p:nvPr/>
        </p:nvSpPr>
        <p:spPr>
          <a:xfrm>
            <a:off x="7032365" y="221911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0" name="object 36"/>
          <p:cNvSpPr/>
          <p:nvPr/>
        </p:nvSpPr>
        <p:spPr>
          <a:xfrm>
            <a:off x="7385165" y="340218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6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7"/>
                </a:lnTo>
                <a:lnTo>
                  <a:pt x="310251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1" name="object 34"/>
          <p:cNvSpPr/>
          <p:nvPr/>
        </p:nvSpPr>
        <p:spPr>
          <a:xfrm>
            <a:off x="5038354" y="24830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2" name="object 32"/>
          <p:cNvSpPr/>
          <p:nvPr/>
        </p:nvSpPr>
        <p:spPr>
          <a:xfrm>
            <a:off x="7192732" y="159327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3" name="object 30"/>
          <p:cNvSpPr/>
          <p:nvPr/>
        </p:nvSpPr>
        <p:spPr>
          <a:xfrm>
            <a:off x="6201572" y="316997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4" name="object 28"/>
          <p:cNvSpPr/>
          <p:nvPr/>
        </p:nvSpPr>
        <p:spPr>
          <a:xfrm>
            <a:off x="4877989" y="532865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5" name="object 26"/>
          <p:cNvSpPr/>
          <p:nvPr/>
        </p:nvSpPr>
        <p:spPr>
          <a:xfrm>
            <a:off x="5581873" y="4521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6" name="object 24"/>
          <p:cNvSpPr/>
          <p:nvPr/>
        </p:nvSpPr>
        <p:spPr>
          <a:xfrm>
            <a:off x="3528670" y="35173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7" name="object 22"/>
          <p:cNvSpPr/>
          <p:nvPr/>
        </p:nvSpPr>
        <p:spPr>
          <a:xfrm>
            <a:off x="3252845" y="520650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8" name="object 20"/>
          <p:cNvSpPr/>
          <p:nvPr/>
        </p:nvSpPr>
        <p:spPr>
          <a:xfrm>
            <a:off x="3849401" y="4051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9" name="object 18"/>
          <p:cNvSpPr/>
          <p:nvPr/>
        </p:nvSpPr>
        <p:spPr>
          <a:xfrm>
            <a:off x="6713687" y="269105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0" name="object 6"/>
          <p:cNvSpPr txBox="1"/>
          <p:nvPr/>
        </p:nvSpPr>
        <p:spPr>
          <a:xfrm>
            <a:off x="1332125" y="3759280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sp>
        <p:nvSpPr>
          <p:cNvPr id="121" name="object 5"/>
          <p:cNvSpPr txBox="1"/>
          <p:nvPr/>
        </p:nvSpPr>
        <p:spPr>
          <a:xfrm>
            <a:off x="5426815" y="6116930"/>
            <a:ext cx="542241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Age</a:t>
            </a:r>
            <a:endParaRPr sz="2400">
              <a:cs typeface="Calibri"/>
            </a:endParaRPr>
          </a:p>
        </p:txBody>
      </p:sp>
      <p:grpSp>
        <p:nvGrpSpPr>
          <p:cNvPr id="122" name="Group 121"/>
          <p:cNvGrpSpPr/>
          <p:nvPr/>
        </p:nvGrpSpPr>
        <p:grpSpPr>
          <a:xfrm>
            <a:off x="2383438" y="1888930"/>
            <a:ext cx="6303362" cy="4054670"/>
            <a:chOff x="2343901" y="1923700"/>
            <a:chExt cx="6303362" cy="4054670"/>
          </a:xfrm>
        </p:grpSpPr>
        <p:sp>
          <p:nvSpPr>
            <p:cNvPr id="123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124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  <p:sp>
        <p:nvSpPr>
          <p:cNvPr id="126" name="object 15"/>
          <p:cNvSpPr txBox="1"/>
          <p:nvPr/>
        </p:nvSpPr>
        <p:spPr>
          <a:xfrm>
            <a:off x="349882" y="365536"/>
            <a:ext cx="1351013" cy="5207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985"/>
              </a:lnSpc>
              <a:spcBef>
                <a:spcPts val="99"/>
              </a:spcBef>
            </a:pPr>
            <a:r>
              <a:rPr sz="2700" spc="0" baseline="3034" dirty="0" smtClean="0">
                <a:solidFill>
                  <a:srgbClr val="215867"/>
                </a:solidFill>
                <a:latin typeface="+mj-lt"/>
                <a:cs typeface="Calibri"/>
              </a:rPr>
              <a:t>epsilon = 1.75</a:t>
            </a:r>
            <a:endParaRPr sz="1800" dirty="0">
              <a:latin typeface="+mj-lt"/>
              <a:cs typeface="Calibri"/>
            </a:endParaRPr>
          </a:p>
          <a:p>
            <a:pPr marL="12700" marR="34289">
              <a:lnSpc>
                <a:spcPts val="2100"/>
              </a:lnSpc>
              <a:spcBef>
                <a:spcPts val="5"/>
              </a:spcBef>
            </a:pPr>
            <a:r>
              <a:rPr sz="2700" spc="0" baseline="1517" dirty="0" smtClean="0">
                <a:solidFill>
                  <a:srgbClr val="215867"/>
                </a:solidFill>
                <a:latin typeface="+mj-lt"/>
                <a:cs typeface="Calibri"/>
              </a:rPr>
              <a:t>n_clu = 3</a:t>
            </a:r>
            <a:endParaRPr sz="1800" dirty="0">
              <a:latin typeface="+mj-lt"/>
              <a:cs typeface="Calibri"/>
            </a:endParaRPr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object 12"/>
          <p:cNvSpPr txBox="1"/>
          <p:nvPr/>
        </p:nvSpPr>
        <p:spPr>
          <a:xfrm>
            <a:off x="2101916" y="369650"/>
            <a:ext cx="6584884" cy="4318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3400"/>
              </a:lnSpc>
              <a:spcBef>
                <a:spcPts val="170"/>
              </a:spcBef>
            </a:pPr>
            <a:r>
              <a:rPr sz="4800" spc="0" baseline="1706" dirty="0" smtClean="0">
                <a:solidFill>
                  <a:srgbClr val="4E81BC"/>
                </a:solidFill>
                <a:latin typeface="+mj-lt"/>
                <a:cs typeface="Calibri"/>
              </a:rPr>
              <a:t>Agglomera</a:t>
            </a:r>
            <a:r>
              <a:rPr lang="en-US" sz="4800" spc="0" baseline="1706" dirty="0" smtClean="0">
                <a:solidFill>
                  <a:srgbClr val="4E81BC"/>
                </a:solidFill>
                <a:latin typeface="+mj-lt"/>
                <a:cs typeface="Calibri"/>
              </a:rPr>
              <a:t>tiv</a:t>
            </a:r>
            <a:r>
              <a:rPr sz="4800" spc="0" baseline="1706" dirty="0" smtClean="0">
                <a:solidFill>
                  <a:srgbClr val="4E81BC"/>
                </a:solidFill>
                <a:latin typeface="+mj-lt"/>
                <a:cs typeface="Calibri"/>
              </a:rPr>
              <a:t>e</a:t>
            </a:r>
            <a:r>
              <a:rPr sz="4800" spc="-248" baseline="1706" dirty="0" smtClean="0">
                <a:solidFill>
                  <a:srgbClr val="4E81BC"/>
                </a:solidFill>
                <a:latin typeface="+mj-lt"/>
                <a:cs typeface="Calibri"/>
              </a:rPr>
              <a:t> </a:t>
            </a:r>
            <a:r>
              <a:rPr sz="4800" spc="0" baseline="1706" dirty="0" smtClean="0">
                <a:solidFill>
                  <a:srgbClr val="4E81BC"/>
                </a:solidFill>
                <a:latin typeface="+mj-lt"/>
                <a:cs typeface="Calibri"/>
              </a:rPr>
              <a:t>Hierarchical Clustering</a:t>
            </a:r>
            <a:endParaRPr sz="3200" dirty="0">
              <a:latin typeface="+mj-lt"/>
              <a:cs typeface="Calibri"/>
            </a:endParaRPr>
          </a:p>
        </p:txBody>
      </p:sp>
      <p:sp>
        <p:nvSpPr>
          <p:cNvPr id="11" name="object 11"/>
          <p:cNvSpPr txBox="1"/>
          <p:nvPr/>
        </p:nvSpPr>
        <p:spPr>
          <a:xfrm>
            <a:off x="2101916" y="852250"/>
            <a:ext cx="6584884" cy="4318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3400"/>
              </a:lnSpc>
              <a:spcBef>
                <a:spcPts val="170"/>
              </a:spcBef>
            </a:pPr>
            <a:r>
              <a:rPr sz="4800" spc="0" baseline="1706" dirty="0" smtClean="0">
                <a:solidFill>
                  <a:srgbClr val="7F7E7E"/>
                </a:solidFill>
                <a:latin typeface="+mj-lt"/>
                <a:cs typeface="Calibri"/>
              </a:rPr>
              <a:t>Find</a:t>
            </a:r>
            <a:r>
              <a:rPr lang="en-US" sz="4800" spc="0" baseline="1706" dirty="0" smtClean="0">
                <a:solidFill>
                  <a:srgbClr val="7F7E7E"/>
                </a:solidFill>
                <a:latin typeface="+mj-lt"/>
                <a:cs typeface="Calibri"/>
              </a:rPr>
              <a:t> closet pair, merge into a cluster</a:t>
            </a:r>
            <a:endParaRPr sz="3200" dirty="0">
              <a:latin typeface="+mj-lt"/>
              <a:cs typeface="Calibri"/>
            </a:endParaRPr>
          </a:p>
        </p:txBody>
      </p:sp>
      <p:sp>
        <p:nvSpPr>
          <p:cNvPr id="155" name="object 82"/>
          <p:cNvSpPr/>
          <p:nvPr/>
        </p:nvSpPr>
        <p:spPr>
          <a:xfrm>
            <a:off x="4414372" y="54871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56" name="object 84"/>
          <p:cNvSpPr/>
          <p:nvPr/>
        </p:nvSpPr>
        <p:spPr>
          <a:xfrm>
            <a:off x="5399747" y="55212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57" name="object 86"/>
          <p:cNvSpPr/>
          <p:nvPr/>
        </p:nvSpPr>
        <p:spPr>
          <a:xfrm>
            <a:off x="6251551" y="55023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58" name="object 74"/>
          <p:cNvSpPr/>
          <p:nvPr/>
        </p:nvSpPr>
        <p:spPr>
          <a:xfrm>
            <a:off x="2668469" y="519520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59" name="object 72"/>
          <p:cNvSpPr/>
          <p:nvPr/>
        </p:nvSpPr>
        <p:spPr>
          <a:xfrm>
            <a:off x="5959366" y="251737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40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80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60" name="object 70"/>
          <p:cNvSpPr/>
          <p:nvPr/>
        </p:nvSpPr>
        <p:spPr>
          <a:xfrm>
            <a:off x="5560113" y="213564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61" name="object 68"/>
          <p:cNvSpPr/>
          <p:nvPr/>
        </p:nvSpPr>
        <p:spPr>
          <a:xfrm>
            <a:off x="5148028" y="1723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62" name="object 66"/>
          <p:cNvSpPr/>
          <p:nvPr/>
        </p:nvSpPr>
        <p:spPr>
          <a:xfrm>
            <a:off x="6872003" y="34121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63" name="object 63"/>
          <p:cNvSpPr/>
          <p:nvPr/>
        </p:nvSpPr>
        <p:spPr>
          <a:xfrm>
            <a:off x="5880842" y="502152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6"/>
                </a:lnTo>
                <a:lnTo>
                  <a:pt x="1583" y="198179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6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2"/>
                </a:lnTo>
                <a:lnTo>
                  <a:pt x="49876" y="299561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6"/>
                </a:lnTo>
                <a:lnTo>
                  <a:pt x="196530" y="342926"/>
                </a:lnTo>
                <a:lnTo>
                  <a:pt x="209650" y="339004"/>
                </a:lnTo>
                <a:lnTo>
                  <a:pt x="222295" y="333936"/>
                </a:lnTo>
                <a:lnTo>
                  <a:pt x="234413" y="327778"/>
                </a:lnTo>
                <a:lnTo>
                  <a:pt x="245953" y="320583"/>
                </a:lnTo>
                <a:lnTo>
                  <a:pt x="256864" y="312409"/>
                </a:lnTo>
                <a:lnTo>
                  <a:pt x="267095" y="303311"/>
                </a:lnTo>
                <a:lnTo>
                  <a:pt x="276595" y="293343"/>
                </a:lnTo>
                <a:lnTo>
                  <a:pt x="285312" y="282562"/>
                </a:lnTo>
                <a:lnTo>
                  <a:pt x="293195" y="271023"/>
                </a:lnTo>
                <a:lnTo>
                  <a:pt x="300193" y="258781"/>
                </a:lnTo>
                <a:lnTo>
                  <a:pt x="306255" y="245892"/>
                </a:lnTo>
                <a:lnTo>
                  <a:pt x="311330" y="232411"/>
                </a:lnTo>
                <a:lnTo>
                  <a:pt x="315366" y="218394"/>
                </a:lnTo>
                <a:lnTo>
                  <a:pt x="318312" y="203896"/>
                </a:lnTo>
                <a:lnTo>
                  <a:pt x="320117" y="188973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9" y="93485"/>
                </a:lnTo>
                <a:lnTo>
                  <a:pt x="296006" y="80986"/>
                </a:lnTo>
                <a:lnTo>
                  <a:pt x="288459" y="69169"/>
                </a:lnTo>
                <a:lnTo>
                  <a:pt x="280058" y="58089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4"/>
                </a:lnTo>
                <a:lnTo>
                  <a:pt x="86318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64" name="object 62"/>
          <p:cNvSpPr/>
          <p:nvPr/>
        </p:nvSpPr>
        <p:spPr>
          <a:xfrm>
            <a:off x="4326962" y="34938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65" name="object 60"/>
          <p:cNvSpPr/>
          <p:nvPr/>
        </p:nvSpPr>
        <p:spPr>
          <a:xfrm>
            <a:off x="3451263" y="457102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66" name="object 58"/>
          <p:cNvSpPr/>
          <p:nvPr/>
        </p:nvSpPr>
        <p:spPr>
          <a:xfrm>
            <a:off x="7513462" y="204543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67" name="object 56"/>
          <p:cNvSpPr/>
          <p:nvPr/>
        </p:nvSpPr>
        <p:spPr>
          <a:xfrm>
            <a:off x="6553321" y="196196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68" name="object 54"/>
          <p:cNvSpPr/>
          <p:nvPr/>
        </p:nvSpPr>
        <p:spPr>
          <a:xfrm>
            <a:off x="7353097" y="275391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69" name="object 52"/>
          <p:cNvSpPr/>
          <p:nvPr/>
        </p:nvSpPr>
        <p:spPr>
          <a:xfrm>
            <a:off x="4696124" y="412086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70" name="object 50"/>
          <p:cNvSpPr/>
          <p:nvPr/>
        </p:nvSpPr>
        <p:spPr>
          <a:xfrm>
            <a:off x="4441297" y="46123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71" name="object 48"/>
          <p:cNvSpPr/>
          <p:nvPr/>
        </p:nvSpPr>
        <p:spPr>
          <a:xfrm>
            <a:off x="3130532" y="40499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72" name="object 42"/>
          <p:cNvSpPr/>
          <p:nvPr/>
        </p:nvSpPr>
        <p:spPr>
          <a:xfrm>
            <a:off x="5748103" y="33118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73" name="object 44"/>
          <p:cNvSpPr/>
          <p:nvPr/>
        </p:nvSpPr>
        <p:spPr>
          <a:xfrm>
            <a:off x="5560113" y="25802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74" name="object 46"/>
          <p:cNvSpPr/>
          <p:nvPr/>
        </p:nvSpPr>
        <p:spPr>
          <a:xfrm>
            <a:off x="5421508" y="296447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75" name="object 40"/>
          <p:cNvSpPr/>
          <p:nvPr/>
        </p:nvSpPr>
        <p:spPr>
          <a:xfrm>
            <a:off x="5213120" y="49216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76" name="object 38"/>
          <p:cNvSpPr/>
          <p:nvPr/>
        </p:nvSpPr>
        <p:spPr>
          <a:xfrm>
            <a:off x="7032365" y="221911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77" name="object 36"/>
          <p:cNvSpPr/>
          <p:nvPr/>
        </p:nvSpPr>
        <p:spPr>
          <a:xfrm>
            <a:off x="7385165" y="340218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6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7"/>
                </a:lnTo>
                <a:lnTo>
                  <a:pt x="310251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78" name="object 34"/>
          <p:cNvSpPr/>
          <p:nvPr/>
        </p:nvSpPr>
        <p:spPr>
          <a:xfrm>
            <a:off x="5038354" y="24830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79" name="object 32"/>
          <p:cNvSpPr/>
          <p:nvPr/>
        </p:nvSpPr>
        <p:spPr>
          <a:xfrm>
            <a:off x="7192732" y="159327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80" name="object 30"/>
          <p:cNvSpPr/>
          <p:nvPr/>
        </p:nvSpPr>
        <p:spPr>
          <a:xfrm>
            <a:off x="6201572" y="316997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81" name="object 28"/>
          <p:cNvSpPr/>
          <p:nvPr/>
        </p:nvSpPr>
        <p:spPr>
          <a:xfrm>
            <a:off x="4877989" y="532865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82" name="object 26"/>
          <p:cNvSpPr/>
          <p:nvPr/>
        </p:nvSpPr>
        <p:spPr>
          <a:xfrm>
            <a:off x="5581873" y="4521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83" name="object 24"/>
          <p:cNvSpPr/>
          <p:nvPr/>
        </p:nvSpPr>
        <p:spPr>
          <a:xfrm>
            <a:off x="3528670" y="35173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84" name="object 22"/>
          <p:cNvSpPr/>
          <p:nvPr/>
        </p:nvSpPr>
        <p:spPr>
          <a:xfrm>
            <a:off x="3252845" y="520650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85" name="object 20"/>
          <p:cNvSpPr/>
          <p:nvPr/>
        </p:nvSpPr>
        <p:spPr>
          <a:xfrm>
            <a:off x="3849401" y="4051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86" name="object 18"/>
          <p:cNvSpPr/>
          <p:nvPr/>
        </p:nvSpPr>
        <p:spPr>
          <a:xfrm>
            <a:off x="6713687" y="269105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87" name="object 6"/>
          <p:cNvSpPr txBox="1"/>
          <p:nvPr/>
        </p:nvSpPr>
        <p:spPr>
          <a:xfrm>
            <a:off x="1332125" y="3759280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sp>
        <p:nvSpPr>
          <p:cNvPr id="188" name="object 5"/>
          <p:cNvSpPr txBox="1"/>
          <p:nvPr/>
        </p:nvSpPr>
        <p:spPr>
          <a:xfrm>
            <a:off x="5426815" y="6116930"/>
            <a:ext cx="542241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Age</a:t>
            </a:r>
            <a:endParaRPr sz="2400">
              <a:cs typeface="Calibri"/>
            </a:endParaRPr>
          </a:p>
        </p:txBody>
      </p:sp>
      <p:grpSp>
        <p:nvGrpSpPr>
          <p:cNvPr id="189" name="Group 188"/>
          <p:cNvGrpSpPr/>
          <p:nvPr/>
        </p:nvGrpSpPr>
        <p:grpSpPr>
          <a:xfrm>
            <a:off x="2383438" y="1888930"/>
            <a:ext cx="6303362" cy="4054670"/>
            <a:chOff x="2343901" y="1923700"/>
            <a:chExt cx="6303362" cy="4054670"/>
          </a:xfrm>
        </p:grpSpPr>
        <p:sp>
          <p:nvSpPr>
            <p:cNvPr id="190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191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8" name="object 5"/>
          <p:cNvSpPr txBox="1"/>
          <p:nvPr/>
        </p:nvSpPr>
        <p:spPr>
          <a:xfrm>
            <a:off x="2101916" y="369650"/>
            <a:ext cx="6889684" cy="1166986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 marR="41909">
              <a:lnSpc>
                <a:spcPts val="3454"/>
              </a:lnSpc>
              <a:spcBef>
                <a:spcPts val="172"/>
              </a:spcBef>
            </a:pPr>
            <a:r>
              <a:rPr sz="4800" spc="0" baseline="2560" dirty="0" smtClean="0">
                <a:solidFill>
                  <a:srgbClr val="4E81BC"/>
                </a:solidFill>
                <a:latin typeface="+mj-lt"/>
                <a:cs typeface="Calibri"/>
              </a:rPr>
              <a:t>DBSC</a:t>
            </a:r>
            <a:r>
              <a:rPr sz="4800" spc="-4" baseline="2560" dirty="0" smtClean="0">
                <a:solidFill>
                  <a:srgbClr val="4E81BC"/>
                </a:solidFill>
                <a:latin typeface="+mj-lt"/>
                <a:cs typeface="Calibri"/>
              </a:rPr>
              <a:t>A</a:t>
            </a:r>
            <a:r>
              <a:rPr sz="4800" spc="0" baseline="2560" dirty="0" smtClean="0">
                <a:solidFill>
                  <a:srgbClr val="4E81BC"/>
                </a:solidFill>
                <a:latin typeface="+mj-lt"/>
                <a:cs typeface="Calibri"/>
              </a:rPr>
              <a:t>N</a:t>
            </a:r>
            <a:endParaRPr sz="3200" dirty="0">
              <a:latin typeface="+mj-lt"/>
              <a:cs typeface="Calibri"/>
            </a:endParaRPr>
          </a:p>
          <a:p>
            <a:pPr marL="12700">
              <a:lnSpc>
                <a:spcPts val="2770"/>
              </a:lnSpc>
            </a:pPr>
            <a:r>
              <a:rPr lang="en-US" sz="3200" baseline="1137" dirty="0">
                <a:solidFill>
                  <a:srgbClr val="7F7E7E"/>
                </a:solidFill>
                <a:cs typeface="Calibri"/>
              </a:rPr>
              <a:t>Everybody within </a:t>
            </a:r>
            <a:r>
              <a:rPr lang="en-US" sz="3200" i="1" baseline="1137" dirty="0">
                <a:solidFill>
                  <a:srgbClr val="7F7E7E"/>
                </a:solidFill>
                <a:cs typeface="Calibri"/>
              </a:rPr>
              <a:t>epsilon</a:t>
            </a:r>
            <a:r>
              <a:rPr lang="en-US" sz="3200" baseline="1137" dirty="0">
                <a:solidFill>
                  <a:srgbClr val="7F7E7E"/>
                </a:solidFill>
                <a:cs typeface="Calibri"/>
              </a:rPr>
              <a:t> </a:t>
            </a:r>
            <a:r>
              <a:rPr lang="en-US" sz="3200" baseline="1137" dirty="0" smtClean="0">
                <a:solidFill>
                  <a:srgbClr val="7F7E7E"/>
                </a:solidFill>
                <a:cs typeface="Calibri"/>
              </a:rPr>
              <a:t>are part of the cluster.</a:t>
            </a:r>
            <a:r>
              <a:rPr lang="en-US" sz="3200" dirty="0" smtClean="0">
                <a:solidFill>
                  <a:srgbClr val="7F7E7E"/>
                </a:solidFill>
                <a:cs typeface="Calibri"/>
              </a:rPr>
              <a:t> </a:t>
            </a:r>
          </a:p>
          <a:p>
            <a:pPr marL="12700">
              <a:lnSpc>
                <a:spcPts val="2770"/>
              </a:lnSpc>
            </a:pPr>
            <a:r>
              <a:rPr lang="en-US" sz="3200" baseline="1137" dirty="0" smtClean="0">
                <a:solidFill>
                  <a:srgbClr val="7F7E7E"/>
                </a:solidFill>
                <a:cs typeface="Calibri"/>
              </a:rPr>
              <a:t>Process each the same way.</a:t>
            </a:r>
            <a:endParaRPr lang="en-US" sz="3200" baseline="1137" dirty="0">
              <a:solidFill>
                <a:srgbClr val="7F7E7E"/>
              </a:solidFill>
              <a:cs typeface="Calibri"/>
            </a:endParaRPr>
          </a:p>
        </p:txBody>
      </p:sp>
      <p:sp>
        <p:nvSpPr>
          <p:cNvPr id="89" name="object 66"/>
          <p:cNvSpPr/>
          <p:nvPr/>
        </p:nvSpPr>
        <p:spPr>
          <a:xfrm>
            <a:off x="4833383" y="1869959"/>
            <a:ext cx="1810252" cy="1760707"/>
          </a:xfrm>
          <a:custGeom>
            <a:avLst/>
            <a:gdLst/>
            <a:ahLst/>
            <a:cxnLst/>
            <a:rect l="l" t="t" r="r" b="b"/>
            <a:pathLst>
              <a:path w="1810252" h="1760707">
                <a:moveTo>
                  <a:pt x="0" y="880353"/>
                </a:moveTo>
                <a:lnTo>
                  <a:pt x="3000" y="952556"/>
                </a:lnTo>
                <a:lnTo>
                  <a:pt x="11846" y="1023151"/>
                </a:lnTo>
                <a:lnTo>
                  <a:pt x="26305" y="1091913"/>
                </a:lnTo>
                <a:lnTo>
                  <a:pt x="46143" y="1158614"/>
                </a:lnTo>
                <a:lnTo>
                  <a:pt x="71129" y="1223027"/>
                </a:lnTo>
                <a:lnTo>
                  <a:pt x="101028" y="1284927"/>
                </a:lnTo>
                <a:lnTo>
                  <a:pt x="135608" y="1344087"/>
                </a:lnTo>
                <a:lnTo>
                  <a:pt x="174636" y="1400279"/>
                </a:lnTo>
                <a:lnTo>
                  <a:pt x="217880" y="1453279"/>
                </a:lnTo>
                <a:lnTo>
                  <a:pt x="265105" y="1502858"/>
                </a:lnTo>
                <a:lnTo>
                  <a:pt x="316079" y="1548791"/>
                </a:lnTo>
                <a:lnTo>
                  <a:pt x="370570" y="1590850"/>
                </a:lnTo>
                <a:lnTo>
                  <a:pt x="428344" y="1628810"/>
                </a:lnTo>
                <a:lnTo>
                  <a:pt x="489168" y="1662444"/>
                </a:lnTo>
                <a:lnTo>
                  <a:pt x="552810" y="1691525"/>
                </a:lnTo>
                <a:lnTo>
                  <a:pt x="619036" y="1715826"/>
                </a:lnTo>
                <a:lnTo>
                  <a:pt x="687614" y="1735122"/>
                </a:lnTo>
                <a:lnTo>
                  <a:pt x="758310" y="1749185"/>
                </a:lnTo>
                <a:lnTo>
                  <a:pt x="830892" y="1757789"/>
                </a:lnTo>
                <a:lnTo>
                  <a:pt x="905126" y="1760707"/>
                </a:lnTo>
                <a:lnTo>
                  <a:pt x="979361" y="1757789"/>
                </a:lnTo>
                <a:lnTo>
                  <a:pt x="1051942" y="1749185"/>
                </a:lnTo>
                <a:lnTo>
                  <a:pt x="1122639" y="1735122"/>
                </a:lnTo>
                <a:lnTo>
                  <a:pt x="1191216" y="1715826"/>
                </a:lnTo>
                <a:lnTo>
                  <a:pt x="1257442" y="1691525"/>
                </a:lnTo>
                <a:lnTo>
                  <a:pt x="1321084" y="1662444"/>
                </a:lnTo>
                <a:lnTo>
                  <a:pt x="1381908" y="1628810"/>
                </a:lnTo>
                <a:lnTo>
                  <a:pt x="1439682" y="1590850"/>
                </a:lnTo>
                <a:lnTo>
                  <a:pt x="1494173" y="1548791"/>
                </a:lnTo>
                <a:lnTo>
                  <a:pt x="1545147" y="1502858"/>
                </a:lnTo>
                <a:lnTo>
                  <a:pt x="1592373" y="1453279"/>
                </a:lnTo>
                <a:lnTo>
                  <a:pt x="1635616" y="1400279"/>
                </a:lnTo>
                <a:lnTo>
                  <a:pt x="1674644" y="1344087"/>
                </a:lnTo>
                <a:lnTo>
                  <a:pt x="1709224" y="1284927"/>
                </a:lnTo>
                <a:lnTo>
                  <a:pt x="1739123" y="1223027"/>
                </a:lnTo>
                <a:lnTo>
                  <a:pt x="1764109" y="1158614"/>
                </a:lnTo>
                <a:lnTo>
                  <a:pt x="1783947" y="1091913"/>
                </a:lnTo>
                <a:lnTo>
                  <a:pt x="1798406" y="1023151"/>
                </a:lnTo>
                <a:lnTo>
                  <a:pt x="1807252" y="952556"/>
                </a:lnTo>
                <a:lnTo>
                  <a:pt x="1810252" y="880353"/>
                </a:lnTo>
                <a:lnTo>
                  <a:pt x="1807252" y="808151"/>
                </a:lnTo>
                <a:lnTo>
                  <a:pt x="1798406" y="737555"/>
                </a:lnTo>
                <a:lnTo>
                  <a:pt x="1783947" y="668794"/>
                </a:lnTo>
                <a:lnTo>
                  <a:pt x="1764109" y="602094"/>
                </a:lnTo>
                <a:lnTo>
                  <a:pt x="1739123" y="537680"/>
                </a:lnTo>
                <a:lnTo>
                  <a:pt x="1709224" y="475780"/>
                </a:lnTo>
                <a:lnTo>
                  <a:pt x="1674644" y="416621"/>
                </a:lnTo>
                <a:lnTo>
                  <a:pt x="1635616" y="360428"/>
                </a:lnTo>
                <a:lnTo>
                  <a:pt x="1592373" y="307429"/>
                </a:lnTo>
                <a:lnTo>
                  <a:pt x="1545147" y="257849"/>
                </a:lnTo>
                <a:lnTo>
                  <a:pt x="1494173" y="211917"/>
                </a:lnTo>
                <a:lnTo>
                  <a:pt x="1439682" y="169857"/>
                </a:lnTo>
                <a:lnTo>
                  <a:pt x="1381908" y="131897"/>
                </a:lnTo>
                <a:lnTo>
                  <a:pt x="1321084" y="98263"/>
                </a:lnTo>
                <a:lnTo>
                  <a:pt x="1257442" y="69182"/>
                </a:lnTo>
                <a:lnTo>
                  <a:pt x="1191216" y="44881"/>
                </a:lnTo>
                <a:lnTo>
                  <a:pt x="1122639" y="25585"/>
                </a:lnTo>
                <a:lnTo>
                  <a:pt x="1051942" y="11522"/>
                </a:lnTo>
                <a:lnTo>
                  <a:pt x="979361" y="2918"/>
                </a:lnTo>
                <a:lnTo>
                  <a:pt x="905126" y="0"/>
                </a:lnTo>
                <a:lnTo>
                  <a:pt x="830892" y="2918"/>
                </a:lnTo>
                <a:lnTo>
                  <a:pt x="758310" y="11522"/>
                </a:lnTo>
                <a:lnTo>
                  <a:pt x="687614" y="25585"/>
                </a:lnTo>
                <a:lnTo>
                  <a:pt x="619036" y="44881"/>
                </a:lnTo>
                <a:lnTo>
                  <a:pt x="552810" y="69182"/>
                </a:lnTo>
                <a:lnTo>
                  <a:pt x="489168" y="98263"/>
                </a:lnTo>
                <a:lnTo>
                  <a:pt x="428344" y="131897"/>
                </a:lnTo>
                <a:lnTo>
                  <a:pt x="370570" y="169857"/>
                </a:lnTo>
                <a:lnTo>
                  <a:pt x="316079" y="211917"/>
                </a:lnTo>
                <a:lnTo>
                  <a:pt x="265105" y="257849"/>
                </a:lnTo>
                <a:lnTo>
                  <a:pt x="217880" y="307429"/>
                </a:lnTo>
                <a:lnTo>
                  <a:pt x="174636" y="360428"/>
                </a:lnTo>
                <a:lnTo>
                  <a:pt x="135608" y="416621"/>
                </a:lnTo>
                <a:lnTo>
                  <a:pt x="101028" y="475780"/>
                </a:lnTo>
                <a:lnTo>
                  <a:pt x="71129" y="537680"/>
                </a:lnTo>
                <a:lnTo>
                  <a:pt x="46143" y="602094"/>
                </a:lnTo>
                <a:lnTo>
                  <a:pt x="26305" y="668794"/>
                </a:lnTo>
                <a:lnTo>
                  <a:pt x="11846" y="737555"/>
                </a:lnTo>
                <a:lnTo>
                  <a:pt x="3000" y="808151"/>
                </a:lnTo>
                <a:lnTo>
                  <a:pt x="0" y="880353"/>
                </a:lnTo>
                <a:close/>
              </a:path>
            </a:pathLst>
          </a:custGeom>
          <a:solidFill>
            <a:srgbClr val="FAA657">
              <a:alpha val="51000"/>
            </a:srgbClr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0" name="object 82"/>
          <p:cNvSpPr/>
          <p:nvPr/>
        </p:nvSpPr>
        <p:spPr>
          <a:xfrm>
            <a:off x="4414372" y="54871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1" name="object 84"/>
          <p:cNvSpPr/>
          <p:nvPr/>
        </p:nvSpPr>
        <p:spPr>
          <a:xfrm>
            <a:off x="5399747" y="55212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2" name="object 86"/>
          <p:cNvSpPr/>
          <p:nvPr/>
        </p:nvSpPr>
        <p:spPr>
          <a:xfrm>
            <a:off x="6251551" y="55023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3" name="object 74"/>
          <p:cNvSpPr/>
          <p:nvPr/>
        </p:nvSpPr>
        <p:spPr>
          <a:xfrm>
            <a:off x="2668469" y="519520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4" name="object 72"/>
          <p:cNvSpPr/>
          <p:nvPr/>
        </p:nvSpPr>
        <p:spPr>
          <a:xfrm>
            <a:off x="5959366" y="251737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40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80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57150">
            <a:solidFill>
              <a:srgbClr val="F69545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5" name="object 70"/>
          <p:cNvSpPr/>
          <p:nvPr/>
        </p:nvSpPr>
        <p:spPr>
          <a:xfrm>
            <a:off x="5560113" y="213564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57150">
            <a:solidFill>
              <a:srgbClr val="F69545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6" name="object 68"/>
          <p:cNvSpPr/>
          <p:nvPr/>
        </p:nvSpPr>
        <p:spPr>
          <a:xfrm>
            <a:off x="5148028" y="1723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7" name="object 66"/>
          <p:cNvSpPr/>
          <p:nvPr/>
        </p:nvSpPr>
        <p:spPr>
          <a:xfrm>
            <a:off x="6872003" y="34121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8" name="object 63"/>
          <p:cNvSpPr/>
          <p:nvPr/>
        </p:nvSpPr>
        <p:spPr>
          <a:xfrm>
            <a:off x="5880842" y="502152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6"/>
                </a:lnTo>
                <a:lnTo>
                  <a:pt x="1583" y="198179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6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2"/>
                </a:lnTo>
                <a:lnTo>
                  <a:pt x="49876" y="299561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6"/>
                </a:lnTo>
                <a:lnTo>
                  <a:pt x="196530" y="342926"/>
                </a:lnTo>
                <a:lnTo>
                  <a:pt x="209650" y="339004"/>
                </a:lnTo>
                <a:lnTo>
                  <a:pt x="222295" y="333936"/>
                </a:lnTo>
                <a:lnTo>
                  <a:pt x="234413" y="327778"/>
                </a:lnTo>
                <a:lnTo>
                  <a:pt x="245953" y="320583"/>
                </a:lnTo>
                <a:lnTo>
                  <a:pt x="256864" y="312409"/>
                </a:lnTo>
                <a:lnTo>
                  <a:pt x="267095" y="303311"/>
                </a:lnTo>
                <a:lnTo>
                  <a:pt x="276595" y="293343"/>
                </a:lnTo>
                <a:lnTo>
                  <a:pt x="285312" y="282562"/>
                </a:lnTo>
                <a:lnTo>
                  <a:pt x="293195" y="271023"/>
                </a:lnTo>
                <a:lnTo>
                  <a:pt x="300193" y="258781"/>
                </a:lnTo>
                <a:lnTo>
                  <a:pt x="306255" y="245892"/>
                </a:lnTo>
                <a:lnTo>
                  <a:pt x="311330" y="232411"/>
                </a:lnTo>
                <a:lnTo>
                  <a:pt x="315366" y="218394"/>
                </a:lnTo>
                <a:lnTo>
                  <a:pt x="318312" y="203896"/>
                </a:lnTo>
                <a:lnTo>
                  <a:pt x="320117" y="188973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9" y="93485"/>
                </a:lnTo>
                <a:lnTo>
                  <a:pt x="296006" y="80986"/>
                </a:lnTo>
                <a:lnTo>
                  <a:pt x="288459" y="69169"/>
                </a:lnTo>
                <a:lnTo>
                  <a:pt x="280058" y="58089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4"/>
                </a:lnTo>
                <a:lnTo>
                  <a:pt x="86318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9" name="object 62"/>
          <p:cNvSpPr/>
          <p:nvPr/>
        </p:nvSpPr>
        <p:spPr>
          <a:xfrm>
            <a:off x="4326962" y="34938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0" name="object 60"/>
          <p:cNvSpPr/>
          <p:nvPr/>
        </p:nvSpPr>
        <p:spPr>
          <a:xfrm>
            <a:off x="3451263" y="457102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1" name="object 58"/>
          <p:cNvSpPr/>
          <p:nvPr/>
        </p:nvSpPr>
        <p:spPr>
          <a:xfrm>
            <a:off x="7513462" y="204543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2" name="object 56"/>
          <p:cNvSpPr/>
          <p:nvPr/>
        </p:nvSpPr>
        <p:spPr>
          <a:xfrm>
            <a:off x="6553321" y="196196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3" name="object 54"/>
          <p:cNvSpPr/>
          <p:nvPr/>
        </p:nvSpPr>
        <p:spPr>
          <a:xfrm>
            <a:off x="7353097" y="275391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4" name="object 52"/>
          <p:cNvSpPr/>
          <p:nvPr/>
        </p:nvSpPr>
        <p:spPr>
          <a:xfrm>
            <a:off x="4696124" y="412086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5" name="object 50"/>
          <p:cNvSpPr/>
          <p:nvPr/>
        </p:nvSpPr>
        <p:spPr>
          <a:xfrm>
            <a:off x="4441297" y="46123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6" name="object 48"/>
          <p:cNvSpPr/>
          <p:nvPr/>
        </p:nvSpPr>
        <p:spPr>
          <a:xfrm>
            <a:off x="3130532" y="40499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7" name="object 42"/>
          <p:cNvSpPr/>
          <p:nvPr/>
        </p:nvSpPr>
        <p:spPr>
          <a:xfrm>
            <a:off x="5748103" y="33118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57150">
            <a:solidFill>
              <a:srgbClr val="F69545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8" name="object 44"/>
          <p:cNvSpPr/>
          <p:nvPr/>
        </p:nvSpPr>
        <p:spPr>
          <a:xfrm>
            <a:off x="5560113" y="25802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9" name="object 46"/>
          <p:cNvSpPr/>
          <p:nvPr/>
        </p:nvSpPr>
        <p:spPr>
          <a:xfrm>
            <a:off x="5421508" y="296447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57150">
            <a:solidFill>
              <a:srgbClr val="F69545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0" name="object 40"/>
          <p:cNvSpPr/>
          <p:nvPr/>
        </p:nvSpPr>
        <p:spPr>
          <a:xfrm>
            <a:off x="5213120" y="49216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1" name="object 38"/>
          <p:cNvSpPr/>
          <p:nvPr/>
        </p:nvSpPr>
        <p:spPr>
          <a:xfrm>
            <a:off x="7032365" y="221911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2" name="object 36"/>
          <p:cNvSpPr/>
          <p:nvPr/>
        </p:nvSpPr>
        <p:spPr>
          <a:xfrm>
            <a:off x="7385165" y="340218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6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7"/>
                </a:lnTo>
                <a:lnTo>
                  <a:pt x="310251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3" name="object 34"/>
          <p:cNvSpPr/>
          <p:nvPr/>
        </p:nvSpPr>
        <p:spPr>
          <a:xfrm>
            <a:off x="5038354" y="24830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57150">
            <a:solidFill>
              <a:srgbClr val="F69545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4" name="object 32"/>
          <p:cNvSpPr/>
          <p:nvPr/>
        </p:nvSpPr>
        <p:spPr>
          <a:xfrm>
            <a:off x="7192732" y="159327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5" name="object 30"/>
          <p:cNvSpPr/>
          <p:nvPr/>
        </p:nvSpPr>
        <p:spPr>
          <a:xfrm>
            <a:off x="6201572" y="316997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6" name="object 28"/>
          <p:cNvSpPr/>
          <p:nvPr/>
        </p:nvSpPr>
        <p:spPr>
          <a:xfrm>
            <a:off x="4877989" y="532865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7" name="object 26"/>
          <p:cNvSpPr/>
          <p:nvPr/>
        </p:nvSpPr>
        <p:spPr>
          <a:xfrm>
            <a:off x="5581873" y="4521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8" name="object 24"/>
          <p:cNvSpPr/>
          <p:nvPr/>
        </p:nvSpPr>
        <p:spPr>
          <a:xfrm>
            <a:off x="3528670" y="35173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9" name="object 22"/>
          <p:cNvSpPr/>
          <p:nvPr/>
        </p:nvSpPr>
        <p:spPr>
          <a:xfrm>
            <a:off x="3252845" y="520650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0" name="object 20"/>
          <p:cNvSpPr/>
          <p:nvPr/>
        </p:nvSpPr>
        <p:spPr>
          <a:xfrm>
            <a:off x="3849401" y="4051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1" name="object 18"/>
          <p:cNvSpPr/>
          <p:nvPr/>
        </p:nvSpPr>
        <p:spPr>
          <a:xfrm>
            <a:off x="6713687" y="269105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2" name="object 6"/>
          <p:cNvSpPr txBox="1"/>
          <p:nvPr/>
        </p:nvSpPr>
        <p:spPr>
          <a:xfrm>
            <a:off x="1332125" y="3759280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sp>
        <p:nvSpPr>
          <p:cNvPr id="123" name="object 5"/>
          <p:cNvSpPr txBox="1"/>
          <p:nvPr/>
        </p:nvSpPr>
        <p:spPr>
          <a:xfrm>
            <a:off x="5426815" y="6116930"/>
            <a:ext cx="542241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Age</a:t>
            </a:r>
            <a:endParaRPr sz="2400">
              <a:cs typeface="Calibri"/>
            </a:endParaRPr>
          </a:p>
        </p:txBody>
      </p:sp>
      <p:grpSp>
        <p:nvGrpSpPr>
          <p:cNvPr id="124" name="Group 123"/>
          <p:cNvGrpSpPr/>
          <p:nvPr/>
        </p:nvGrpSpPr>
        <p:grpSpPr>
          <a:xfrm>
            <a:off x="2383438" y="1888930"/>
            <a:ext cx="6303362" cy="4054670"/>
            <a:chOff x="2343901" y="1923700"/>
            <a:chExt cx="6303362" cy="4054670"/>
          </a:xfrm>
        </p:grpSpPr>
        <p:sp>
          <p:nvSpPr>
            <p:cNvPr id="125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126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  <p:sp>
        <p:nvSpPr>
          <p:cNvPr id="127" name="object 15"/>
          <p:cNvSpPr txBox="1"/>
          <p:nvPr/>
        </p:nvSpPr>
        <p:spPr>
          <a:xfrm>
            <a:off x="349882" y="365536"/>
            <a:ext cx="1351013" cy="5207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985"/>
              </a:lnSpc>
              <a:spcBef>
                <a:spcPts val="99"/>
              </a:spcBef>
            </a:pPr>
            <a:r>
              <a:rPr sz="2700" spc="0" baseline="3034" dirty="0" smtClean="0">
                <a:solidFill>
                  <a:srgbClr val="215867"/>
                </a:solidFill>
                <a:latin typeface="+mj-lt"/>
                <a:cs typeface="Calibri"/>
              </a:rPr>
              <a:t>epsilon = 1.75</a:t>
            </a:r>
            <a:endParaRPr sz="1800" dirty="0">
              <a:latin typeface="+mj-lt"/>
              <a:cs typeface="Calibri"/>
            </a:endParaRPr>
          </a:p>
          <a:p>
            <a:pPr marL="12700" marR="34289">
              <a:lnSpc>
                <a:spcPts val="2100"/>
              </a:lnSpc>
              <a:spcBef>
                <a:spcPts val="5"/>
              </a:spcBef>
            </a:pPr>
            <a:r>
              <a:rPr sz="2700" spc="0" baseline="1517" dirty="0" smtClean="0">
                <a:solidFill>
                  <a:srgbClr val="215867"/>
                </a:solidFill>
                <a:latin typeface="+mj-lt"/>
                <a:cs typeface="Calibri"/>
              </a:rPr>
              <a:t>n_clu = 3</a:t>
            </a:r>
            <a:endParaRPr sz="1800" dirty="0">
              <a:latin typeface="+mj-lt"/>
              <a:cs typeface="Calibri"/>
            </a:endParaRPr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object 15"/>
          <p:cNvSpPr txBox="1"/>
          <p:nvPr/>
        </p:nvSpPr>
        <p:spPr>
          <a:xfrm>
            <a:off x="349882" y="365536"/>
            <a:ext cx="1351013" cy="5207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985"/>
              </a:lnSpc>
              <a:spcBef>
                <a:spcPts val="99"/>
              </a:spcBef>
            </a:pPr>
            <a:r>
              <a:rPr sz="2700" spc="0" baseline="3034" dirty="0" smtClean="0">
                <a:solidFill>
                  <a:srgbClr val="215867"/>
                </a:solidFill>
                <a:latin typeface="+mj-lt"/>
                <a:cs typeface="Calibri"/>
              </a:rPr>
              <a:t>epsilon = 1.75</a:t>
            </a:r>
            <a:endParaRPr sz="1800" dirty="0">
              <a:latin typeface="+mj-lt"/>
              <a:cs typeface="Calibri"/>
            </a:endParaRPr>
          </a:p>
          <a:p>
            <a:pPr marL="12700" marR="34289">
              <a:lnSpc>
                <a:spcPts val="2100"/>
              </a:lnSpc>
              <a:spcBef>
                <a:spcPts val="5"/>
              </a:spcBef>
            </a:pPr>
            <a:r>
              <a:rPr sz="2700" spc="0" baseline="1517" dirty="0" smtClean="0">
                <a:solidFill>
                  <a:srgbClr val="215867"/>
                </a:solidFill>
                <a:latin typeface="+mj-lt"/>
                <a:cs typeface="Calibri"/>
              </a:rPr>
              <a:t>n_clu = 3</a:t>
            </a:r>
            <a:endParaRPr sz="1800" dirty="0">
              <a:latin typeface="+mj-lt"/>
              <a:cs typeface="Calibri"/>
            </a:endParaRPr>
          </a:p>
        </p:txBody>
      </p:sp>
      <p:sp>
        <p:nvSpPr>
          <p:cNvPr id="88" name="object 5"/>
          <p:cNvSpPr txBox="1"/>
          <p:nvPr/>
        </p:nvSpPr>
        <p:spPr>
          <a:xfrm>
            <a:off x="2101916" y="369650"/>
            <a:ext cx="6889684" cy="1166986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 marR="41909">
              <a:lnSpc>
                <a:spcPts val="3454"/>
              </a:lnSpc>
              <a:spcBef>
                <a:spcPts val="172"/>
              </a:spcBef>
            </a:pPr>
            <a:r>
              <a:rPr sz="4800" spc="0" baseline="2560" dirty="0" smtClean="0">
                <a:solidFill>
                  <a:srgbClr val="4E81BC"/>
                </a:solidFill>
                <a:latin typeface="+mj-lt"/>
                <a:cs typeface="Calibri"/>
              </a:rPr>
              <a:t>DBSC</a:t>
            </a:r>
            <a:r>
              <a:rPr sz="4800" spc="-4" baseline="2560" dirty="0" smtClean="0">
                <a:solidFill>
                  <a:srgbClr val="4E81BC"/>
                </a:solidFill>
                <a:latin typeface="+mj-lt"/>
                <a:cs typeface="Calibri"/>
              </a:rPr>
              <a:t>A</a:t>
            </a:r>
            <a:r>
              <a:rPr sz="4800" spc="0" baseline="2560" dirty="0" smtClean="0">
                <a:solidFill>
                  <a:srgbClr val="4E81BC"/>
                </a:solidFill>
                <a:latin typeface="+mj-lt"/>
                <a:cs typeface="Calibri"/>
              </a:rPr>
              <a:t>N</a:t>
            </a:r>
            <a:endParaRPr sz="3200" dirty="0">
              <a:latin typeface="+mj-lt"/>
              <a:cs typeface="Calibri"/>
            </a:endParaRPr>
          </a:p>
          <a:p>
            <a:pPr marL="12700">
              <a:lnSpc>
                <a:spcPts val="2770"/>
              </a:lnSpc>
            </a:pPr>
            <a:r>
              <a:rPr lang="en-US" sz="3200" baseline="1137" dirty="0">
                <a:solidFill>
                  <a:srgbClr val="7F7E7E"/>
                </a:solidFill>
                <a:cs typeface="Calibri"/>
              </a:rPr>
              <a:t>Everybody within </a:t>
            </a:r>
            <a:r>
              <a:rPr lang="en-US" sz="3200" i="1" baseline="1137" dirty="0">
                <a:solidFill>
                  <a:srgbClr val="7F7E7E"/>
                </a:solidFill>
                <a:cs typeface="Calibri"/>
              </a:rPr>
              <a:t>epsilon</a:t>
            </a:r>
            <a:r>
              <a:rPr lang="en-US" sz="3200" baseline="1137" dirty="0">
                <a:solidFill>
                  <a:srgbClr val="7F7E7E"/>
                </a:solidFill>
                <a:cs typeface="Calibri"/>
              </a:rPr>
              <a:t> </a:t>
            </a:r>
            <a:r>
              <a:rPr lang="en-US" sz="3200" baseline="1137" dirty="0" smtClean="0">
                <a:solidFill>
                  <a:srgbClr val="7F7E7E"/>
                </a:solidFill>
                <a:cs typeface="Calibri"/>
              </a:rPr>
              <a:t>are part of the cluster.</a:t>
            </a:r>
            <a:r>
              <a:rPr lang="en-US" sz="3200" dirty="0" smtClean="0">
                <a:solidFill>
                  <a:srgbClr val="7F7E7E"/>
                </a:solidFill>
                <a:cs typeface="Calibri"/>
              </a:rPr>
              <a:t> </a:t>
            </a:r>
          </a:p>
          <a:p>
            <a:pPr marL="12700">
              <a:lnSpc>
                <a:spcPts val="2770"/>
              </a:lnSpc>
            </a:pPr>
            <a:r>
              <a:rPr lang="en-US" sz="3200" baseline="1137" dirty="0" smtClean="0">
                <a:solidFill>
                  <a:srgbClr val="7F7E7E"/>
                </a:solidFill>
                <a:cs typeface="Calibri"/>
              </a:rPr>
              <a:t>Process each the same way.</a:t>
            </a:r>
            <a:endParaRPr lang="en-US" sz="3200" baseline="1137" dirty="0">
              <a:solidFill>
                <a:srgbClr val="7F7E7E"/>
              </a:solidFill>
              <a:cs typeface="Calibri"/>
            </a:endParaRPr>
          </a:p>
        </p:txBody>
      </p:sp>
      <p:sp>
        <p:nvSpPr>
          <p:cNvPr id="89" name="object 66"/>
          <p:cNvSpPr/>
          <p:nvPr/>
        </p:nvSpPr>
        <p:spPr>
          <a:xfrm>
            <a:off x="4802381" y="1440169"/>
            <a:ext cx="1810252" cy="1760707"/>
          </a:xfrm>
          <a:custGeom>
            <a:avLst/>
            <a:gdLst/>
            <a:ahLst/>
            <a:cxnLst/>
            <a:rect l="l" t="t" r="r" b="b"/>
            <a:pathLst>
              <a:path w="1810252" h="1760707">
                <a:moveTo>
                  <a:pt x="0" y="880353"/>
                </a:moveTo>
                <a:lnTo>
                  <a:pt x="3000" y="952556"/>
                </a:lnTo>
                <a:lnTo>
                  <a:pt x="11846" y="1023151"/>
                </a:lnTo>
                <a:lnTo>
                  <a:pt x="26305" y="1091913"/>
                </a:lnTo>
                <a:lnTo>
                  <a:pt x="46143" y="1158614"/>
                </a:lnTo>
                <a:lnTo>
                  <a:pt x="71129" y="1223027"/>
                </a:lnTo>
                <a:lnTo>
                  <a:pt x="101028" y="1284927"/>
                </a:lnTo>
                <a:lnTo>
                  <a:pt x="135608" y="1344087"/>
                </a:lnTo>
                <a:lnTo>
                  <a:pt x="174636" y="1400279"/>
                </a:lnTo>
                <a:lnTo>
                  <a:pt x="217880" y="1453279"/>
                </a:lnTo>
                <a:lnTo>
                  <a:pt x="265105" y="1502858"/>
                </a:lnTo>
                <a:lnTo>
                  <a:pt x="316079" y="1548791"/>
                </a:lnTo>
                <a:lnTo>
                  <a:pt x="370570" y="1590850"/>
                </a:lnTo>
                <a:lnTo>
                  <a:pt x="428344" y="1628810"/>
                </a:lnTo>
                <a:lnTo>
                  <a:pt x="489168" y="1662444"/>
                </a:lnTo>
                <a:lnTo>
                  <a:pt x="552810" y="1691525"/>
                </a:lnTo>
                <a:lnTo>
                  <a:pt x="619036" y="1715826"/>
                </a:lnTo>
                <a:lnTo>
                  <a:pt x="687614" y="1735122"/>
                </a:lnTo>
                <a:lnTo>
                  <a:pt x="758310" y="1749185"/>
                </a:lnTo>
                <a:lnTo>
                  <a:pt x="830892" y="1757789"/>
                </a:lnTo>
                <a:lnTo>
                  <a:pt x="905126" y="1760707"/>
                </a:lnTo>
                <a:lnTo>
                  <a:pt x="979361" y="1757789"/>
                </a:lnTo>
                <a:lnTo>
                  <a:pt x="1051942" y="1749185"/>
                </a:lnTo>
                <a:lnTo>
                  <a:pt x="1122639" y="1735122"/>
                </a:lnTo>
                <a:lnTo>
                  <a:pt x="1191216" y="1715826"/>
                </a:lnTo>
                <a:lnTo>
                  <a:pt x="1257442" y="1691525"/>
                </a:lnTo>
                <a:lnTo>
                  <a:pt x="1321084" y="1662444"/>
                </a:lnTo>
                <a:lnTo>
                  <a:pt x="1381908" y="1628810"/>
                </a:lnTo>
                <a:lnTo>
                  <a:pt x="1439682" y="1590850"/>
                </a:lnTo>
                <a:lnTo>
                  <a:pt x="1494173" y="1548791"/>
                </a:lnTo>
                <a:lnTo>
                  <a:pt x="1545147" y="1502858"/>
                </a:lnTo>
                <a:lnTo>
                  <a:pt x="1592373" y="1453279"/>
                </a:lnTo>
                <a:lnTo>
                  <a:pt x="1635616" y="1400279"/>
                </a:lnTo>
                <a:lnTo>
                  <a:pt x="1674644" y="1344087"/>
                </a:lnTo>
                <a:lnTo>
                  <a:pt x="1709224" y="1284927"/>
                </a:lnTo>
                <a:lnTo>
                  <a:pt x="1739123" y="1223027"/>
                </a:lnTo>
                <a:lnTo>
                  <a:pt x="1764109" y="1158614"/>
                </a:lnTo>
                <a:lnTo>
                  <a:pt x="1783947" y="1091913"/>
                </a:lnTo>
                <a:lnTo>
                  <a:pt x="1798406" y="1023151"/>
                </a:lnTo>
                <a:lnTo>
                  <a:pt x="1807252" y="952556"/>
                </a:lnTo>
                <a:lnTo>
                  <a:pt x="1810252" y="880353"/>
                </a:lnTo>
                <a:lnTo>
                  <a:pt x="1807252" y="808151"/>
                </a:lnTo>
                <a:lnTo>
                  <a:pt x="1798406" y="737555"/>
                </a:lnTo>
                <a:lnTo>
                  <a:pt x="1783947" y="668794"/>
                </a:lnTo>
                <a:lnTo>
                  <a:pt x="1764109" y="602094"/>
                </a:lnTo>
                <a:lnTo>
                  <a:pt x="1739123" y="537680"/>
                </a:lnTo>
                <a:lnTo>
                  <a:pt x="1709224" y="475780"/>
                </a:lnTo>
                <a:lnTo>
                  <a:pt x="1674644" y="416621"/>
                </a:lnTo>
                <a:lnTo>
                  <a:pt x="1635616" y="360428"/>
                </a:lnTo>
                <a:lnTo>
                  <a:pt x="1592373" y="307429"/>
                </a:lnTo>
                <a:lnTo>
                  <a:pt x="1545147" y="257849"/>
                </a:lnTo>
                <a:lnTo>
                  <a:pt x="1494173" y="211917"/>
                </a:lnTo>
                <a:lnTo>
                  <a:pt x="1439682" y="169857"/>
                </a:lnTo>
                <a:lnTo>
                  <a:pt x="1381908" y="131897"/>
                </a:lnTo>
                <a:lnTo>
                  <a:pt x="1321084" y="98263"/>
                </a:lnTo>
                <a:lnTo>
                  <a:pt x="1257442" y="69182"/>
                </a:lnTo>
                <a:lnTo>
                  <a:pt x="1191216" y="44881"/>
                </a:lnTo>
                <a:lnTo>
                  <a:pt x="1122639" y="25585"/>
                </a:lnTo>
                <a:lnTo>
                  <a:pt x="1051942" y="11522"/>
                </a:lnTo>
                <a:lnTo>
                  <a:pt x="979361" y="2918"/>
                </a:lnTo>
                <a:lnTo>
                  <a:pt x="905126" y="0"/>
                </a:lnTo>
                <a:lnTo>
                  <a:pt x="830892" y="2918"/>
                </a:lnTo>
                <a:lnTo>
                  <a:pt x="758310" y="11522"/>
                </a:lnTo>
                <a:lnTo>
                  <a:pt x="687614" y="25585"/>
                </a:lnTo>
                <a:lnTo>
                  <a:pt x="619036" y="44881"/>
                </a:lnTo>
                <a:lnTo>
                  <a:pt x="552810" y="69182"/>
                </a:lnTo>
                <a:lnTo>
                  <a:pt x="489168" y="98263"/>
                </a:lnTo>
                <a:lnTo>
                  <a:pt x="428344" y="131897"/>
                </a:lnTo>
                <a:lnTo>
                  <a:pt x="370570" y="169857"/>
                </a:lnTo>
                <a:lnTo>
                  <a:pt x="316079" y="211917"/>
                </a:lnTo>
                <a:lnTo>
                  <a:pt x="265105" y="257849"/>
                </a:lnTo>
                <a:lnTo>
                  <a:pt x="217880" y="307429"/>
                </a:lnTo>
                <a:lnTo>
                  <a:pt x="174636" y="360428"/>
                </a:lnTo>
                <a:lnTo>
                  <a:pt x="135608" y="416621"/>
                </a:lnTo>
                <a:lnTo>
                  <a:pt x="101028" y="475780"/>
                </a:lnTo>
                <a:lnTo>
                  <a:pt x="71129" y="537680"/>
                </a:lnTo>
                <a:lnTo>
                  <a:pt x="46143" y="602094"/>
                </a:lnTo>
                <a:lnTo>
                  <a:pt x="26305" y="668794"/>
                </a:lnTo>
                <a:lnTo>
                  <a:pt x="11846" y="737555"/>
                </a:lnTo>
                <a:lnTo>
                  <a:pt x="3000" y="808151"/>
                </a:lnTo>
                <a:lnTo>
                  <a:pt x="0" y="880353"/>
                </a:lnTo>
                <a:close/>
              </a:path>
            </a:pathLst>
          </a:custGeom>
          <a:solidFill>
            <a:srgbClr val="FAA657">
              <a:alpha val="51000"/>
            </a:srgbClr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0" name="object 82"/>
          <p:cNvSpPr/>
          <p:nvPr/>
        </p:nvSpPr>
        <p:spPr>
          <a:xfrm>
            <a:off x="4414372" y="54871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1" name="object 84"/>
          <p:cNvSpPr/>
          <p:nvPr/>
        </p:nvSpPr>
        <p:spPr>
          <a:xfrm>
            <a:off x="5399747" y="55212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2" name="object 86"/>
          <p:cNvSpPr/>
          <p:nvPr/>
        </p:nvSpPr>
        <p:spPr>
          <a:xfrm>
            <a:off x="6251551" y="55023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3" name="object 74"/>
          <p:cNvSpPr/>
          <p:nvPr/>
        </p:nvSpPr>
        <p:spPr>
          <a:xfrm>
            <a:off x="2668469" y="519520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4" name="object 72"/>
          <p:cNvSpPr/>
          <p:nvPr/>
        </p:nvSpPr>
        <p:spPr>
          <a:xfrm>
            <a:off x="5959366" y="251737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40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80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57150">
            <a:solidFill>
              <a:srgbClr val="F69545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5" name="object 70"/>
          <p:cNvSpPr/>
          <p:nvPr/>
        </p:nvSpPr>
        <p:spPr>
          <a:xfrm>
            <a:off x="5560113" y="213564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6" name="object 68"/>
          <p:cNvSpPr/>
          <p:nvPr/>
        </p:nvSpPr>
        <p:spPr>
          <a:xfrm>
            <a:off x="5148028" y="1723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57150">
            <a:solidFill>
              <a:srgbClr val="F69545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7" name="object 66"/>
          <p:cNvSpPr/>
          <p:nvPr/>
        </p:nvSpPr>
        <p:spPr>
          <a:xfrm>
            <a:off x="6872003" y="34121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8" name="object 63"/>
          <p:cNvSpPr/>
          <p:nvPr/>
        </p:nvSpPr>
        <p:spPr>
          <a:xfrm>
            <a:off x="5880842" y="502152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6"/>
                </a:lnTo>
                <a:lnTo>
                  <a:pt x="1583" y="198179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6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2"/>
                </a:lnTo>
                <a:lnTo>
                  <a:pt x="49876" y="299561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6"/>
                </a:lnTo>
                <a:lnTo>
                  <a:pt x="196530" y="342926"/>
                </a:lnTo>
                <a:lnTo>
                  <a:pt x="209650" y="339004"/>
                </a:lnTo>
                <a:lnTo>
                  <a:pt x="222295" y="333936"/>
                </a:lnTo>
                <a:lnTo>
                  <a:pt x="234413" y="327778"/>
                </a:lnTo>
                <a:lnTo>
                  <a:pt x="245953" y="320583"/>
                </a:lnTo>
                <a:lnTo>
                  <a:pt x="256864" y="312409"/>
                </a:lnTo>
                <a:lnTo>
                  <a:pt x="267095" y="303311"/>
                </a:lnTo>
                <a:lnTo>
                  <a:pt x="276595" y="293343"/>
                </a:lnTo>
                <a:lnTo>
                  <a:pt x="285312" y="282562"/>
                </a:lnTo>
                <a:lnTo>
                  <a:pt x="293195" y="271023"/>
                </a:lnTo>
                <a:lnTo>
                  <a:pt x="300193" y="258781"/>
                </a:lnTo>
                <a:lnTo>
                  <a:pt x="306255" y="245892"/>
                </a:lnTo>
                <a:lnTo>
                  <a:pt x="311330" y="232411"/>
                </a:lnTo>
                <a:lnTo>
                  <a:pt x="315366" y="218394"/>
                </a:lnTo>
                <a:lnTo>
                  <a:pt x="318312" y="203896"/>
                </a:lnTo>
                <a:lnTo>
                  <a:pt x="320117" y="188973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9" y="93485"/>
                </a:lnTo>
                <a:lnTo>
                  <a:pt x="296006" y="80986"/>
                </a:lnTo>
                <a:lnTo>
                  <a:pt x="288459" y="69169"/>
                </a:lnTo>
                <a:lnTo>
                  <a:pt x="280058" y="58089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4"/>
                </a:lnTo>
                <a:lnTo>
                  <a:pt x="86318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9" name="object 62"/>
          <p:cNvSpPr/>
          <p:nvPr/>
        </p:nvSpPr>
        <p:spPr>
          <a:xfrm>
            <a:off x="4326962" y="34938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0" name="object 60"/>
          <p:cNvSpPr/>
          <p:nvPr/>
        </p:nvSpPr>
        <p:spPr>
          <a:xfrm>
            <a:off x="3451263" y="457102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1" name="object 58"/>
          <p:cNvSpPr/>
          <p:nvPr/>
        </p:nvSpPr>
        <p:spPr>
          <a:xfrm>
            <a:off x="7513462" y="204543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2" name="object 56"/>
          <p:cNvSpPr/>
          <p:nvPr/>
        </p:nvSpPr>
        <p:spPr>
          <a:xfrm>
            <a:off x="6553321" y="196196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3" name="object 54"/>
          <p:cNvSpPr/>
          <p:nvPr/>
        </p:nvSpPr>
        <p:spPr>
          <a:xfrm>
            <a:off x="7353097" y="275391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4" name="object 52"/>
          <p:cNvSpPr/>
          <p:nvPr/>
        </p:nvSpPr>
        <p:spPr>
          <a:xfrm>
            <a:off x="4696124" y="412086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5" name="object 50"/>
          <p:cNvSpPr/>
          <p:nvPr/>
        </p:nvSpPr>
        <p:spPr>
          <a:xfrm>
            <a:off x="4441297" y="46123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6" name="object 48"/>
          <p:cNvSpPr/>
          <p:nvPr/>
        </p:nvSpPr>
        <p:spPr>
          <a:xfrm>
            <a:off x="3130532" y="40499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7" name="object 42"/>
          <p:cNvSpPr/>
          <p:nvPr/>
        </p:nvSpPr>
        <p:spPr>
          <a:xfrm>
            <a:off x="5748103" y="33118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57150">
            <a:solidFill>
              <a:srgbClr val="F69545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8" name="object 44"/>
          <p:cNvSpPr/>
          <p:nvPr/>
        </p:nvSpPr>
        <p:spPr>
          <a:xfrm>
            <a:off x="5560113" y="25802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9" name="object 46"/>
          <p:cNvSpPr/>
          <p:nvPr/>
        </p:nvSpPr>
        <p:spPr>
          <a:xfrm>
            <a:off x="5421508" y="296447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57150">
            <a:solidFill>
              <a:srgbClr val="F69545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0" name="object 40"/>
          <p:cNvSpPr/>
          <p:nvPr/>
        </p:nvSpPr>
        <p:spPr>
          <a:xfrm>
            <a:off x="5213120" y="49216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1" name="object 38"/>
          <p:cNvSpPr/>
          <p:nvPr/>
        </p:nvSpPr>
        <p:spPr>
          <a:xfrm>
            <a:off x="7032365" y="221911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2" name="object 36"/>
          <p:cNvSpPr/>
          <p:nvPr/>
        </p:nvSpPr>
        <p:spPr>
          <a:xfrm>
            <a:off x="7385165" y="340218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6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7"/>
                </a:lnTo>
                <a:lnTo>
                  <a:pt x="310251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3" name="object 34"/>
          <p:cNvSpPr/>
          <p:nvPr/>
        </p:nvSpPr>
        <p:spPr>
          <a:xfrm>
            <a:off x="5038354" y="24830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57150">
            <a:solidFill>
              <a:srgbClr val="F69545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4" name="object 32"/>
          <p:cNvSpPr/>
          <p:nvPr/>
        </p:nvSpPr>
        <p:spPr>
          <a:xfrm>
            <a:off x="7192732" y="159327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5" name="object 30"/>
          <p:cNvSpPr/>
          <p:nvPr/>
        </p:nvSpPr>
        <p:spPr>
          <a:xfrm>
            <a:off x="6201572" y="316997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6" name="object 28"/>
          <p:cNvSpPr/>
          <p:nvPr/>
        </p:nvSpPr>
        <p:spPr>
          <a:xfrm>
            <a:off x="4877989" y="532865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7" name="object 26"/>
          <p:cNvSpPr/>
          <p:nvPr/>
        </p:nvSpPr>
        <p:spPr>
          <a:xfrm>
            <a:off x="5581873" y="4521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8" name="object 24"/>
          <p:cNvSpPr/>
          <p:nvPr/>
        </p:nvSpPr>
        <p:spPr>
          <a:xfrm>
            <a:off x="3528670" y="35173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9" name="object 22"/>
          <p:cNvSpPr/>
          <p:nvPr/>
        </p:nvSpPr>
        <p:spPr>
          <a:xfrm>
            <a:off x="3252845" y="520650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0" name="object 20"/>
          <p:cNvSpPr/>
          <p:nvPr/>
        </p:nvSpPr>
        <p:spPr>
          <a:xfrm>
            <a:off x="3849401" y="4051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1" name="object 18"/>
          <p:cNvSpPr/>
          <p:nvPr/>
        </p:nvSpPr>
        <p:spPr>
          <a:xfrm>
            <a:off x="6713687" y="269105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2" name="object 6"/>
          <p:cNvSpPr txBox="1"/>
          <p:nvPr/>
        </p:nvSpPr>
        <p:spPr>
          <a:xfrm>
            <a:off x="1332125" y="3759280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sp>
        <p:nvSpPr>
          <p:cNvPr id="123" name="object 5"/>
          <p:cNvSpPr txBox="1"/>
          <p:nvPr/>
        </p:nvSpPr>
        <p:spPr>
          <a:xfrm>
            <a:off x="5426815" y="6116930"/>
            <a:ext cx="542241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Age</a:t>
            </a:r>
            <a:endParaRPr sz="2400">
              <a:cs typeface="Calibri"/>
            </a:endParaRPr>
          </a:p>
        </p:txBody>
      </p:sp>
      <p:grpSp>
        <p:nvGrpSpPr>
          <p:cNvPr id="124" name="Group 123"/>
          <p:cNvGrpSpPr/>
          <p:nvPr/>
        </p:nvGrpSpPr>
        <p:grpSpPr>
          <a:xfrm>
            <a:off x="2383438" y="1888930"/>
            <a:ext cx="6303362" cy="4054670"/>
            <a:chOff x="2343901" y="1923700"/>
            <a:chExt cx="6303362" cy="4054670"/>
          </a:xfrm>
        </p:grpSpPr>
        <p:sp>
          <p:nvSpPr>
            <p:cNvPr id="125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126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8" name="object 15"/>
          <p:cNvSpPr txBox="1"/>
          <p:nvPr/>
        </p:nvSpPr>
        <p:spPr>
          <a:xfrm>
            <a:off x="349882" y="369650"/>
            <a:ext cx="1351013" cy="5207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985"/>
              </a:lnSpc>
              <a:spcBef>
                <a:spcPts val="99"/>
              </a:spcBef>
            </a:pPr>
            <a:r>
              <a:rPr sz="2700" spc="0" baseline="3034" dirty="0" smtClean="0">
                <a:solidFill>
                  <a:srgbClr val="215867"/>
                </a:solidFill>
                <a:latin typeface="+mj-lt"/>
                <a:cs typeface="Calibri"/>
              </a:rPr>
              <a:t>epsilon = 1.75</a:t>
            </a:r>
            <a:endParaRPr sz="1800" dirty="0">
              <a:latin typeface="+mj-lt"/>
              <a:cs typeface="Calibri"/>
            </a:endParaRPr>
          </a:p>
          <a:p>
            <a:pPr marL="12700" marR="34289">
              <a:lnSpc>
                <a:spcPts val="2100"/>
              </a:lnSpc>
              <a:spcBef>
                <a:spcPts val="5"/>
              </a:spcBef>
            </a:pPr>
            <a:r>
              <a:rPr sz="2700" spc="0" baseline="1517" dirty="0" smtClean="0">
                <a:solidFill>
                  <a:srgbClr val="215867"/>
                </a:solidFill>
                <a:latin typeface="+mj-lt"/>
                <a:cs typeface="Calibri"/>
              </a:rPr>
              <a:t>n_clu = 3</a:t>
            </a:r>
            <a:endParaRPr sz="1800" dirty="0">
              <a:latin typeface="+mj-lt"/>
              <a:cs typeface="Calibri"/>
            </a:endParaRPr>
          </a:p>
        </p:txBody>
      </p:sp>
      <p:sp>
        <p:nvSpPr>
          <p:cNvPr id="89" name="object 5"/>
          <p:cNvSpPr txBox="1"/>
          <p:nvPr/>
        </p:nvSpPr>
        <p:spPr>
          <a:xfrm>
            <a:off x="2101916" y="369650"/>
            <a:ext cx="6889684" cy="1166986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 marR="41909">
              <a:lnSpc>
                <a:spcPts val="3454"/>
              </a:lnSpc>
              <a:spcBef>
                <a:spcPts val="172"/>
              </a:spcBef>
            </a:pPr>
            <a:r>
              <a:rPr sz="4800" spc="0" baseline="2560" dirty="0" smtClean="0">
                <a:solidFill>
                  <a:srgbClr val="4E81BC"/>
                </a:solidFill>
                <a:latin typeface="+mj-lt"/>
                <a:cs typeface="Calibri"/>
              </a:rPr>
              <a:t>DBSC</a:t>
            </a:r>
            <a:r>
              <a:rPr sz="4800" spc="-4" baseline="2560" dirty="0" smtClean="0">
                <a:solidFill>
                  <a:srgbClr val="4E81BC"/>
                </a:solidFill>
                <a:latin typeface="+mj-lt"/>
                <a:cs typeface="Calibri"/>
              </a:rPr>
              <a:t>A</a:t>
            </a:r>
            <a:r>
              <a:rPr sz="4800" spc="0" baseline="2560" dirty="0" smtClean="0">
                <a:solidFill>
                  <a:srgbClr val="4E81BC"/>
                </a:solidFill>
                <a:latin typeface="+mj-lt"/>
                <a:cs typeface="Calibri"/>
              </a:rPr>
              <a:t>N</a:t>
            </a:r>
            <a:endParaRPr sz="3200" dirty="0">
              <a:latin typeface="+mj-lt"/>
              <a:cs typeface="Calibri"/>
            </a:endParaRPr>
          </a:p>
          <a:p>
            <a:pPr marL="12700">
              <a:lnSpc>
                <a:spcPts val="2770"/>
              </a:lnSpc>
            </a:pPr>
            <a:r>
              <a:rPr lang="en-US" sz="3200" baseline="1137" dirty="0">
                <a:solidFill>
                  <a:srgbClr val="7F7E7E"/>
                </a:solidFill>
                <a:cs typeface="Calibri"/>
              </a:rPr>
              <a:t>Everybody within </a:t>
            </a:r>
            <a:r>
              <a:rPr lang="en-US" sz="3200" i="1" baseline="1137" dirty="0">
                <a:solidFill>
                  <a:srgbClr val="7F7E7E"/>
                </a:solidFill>
                <a:cs typeface="Calibri"/>
              </a:rPr>
              <a:t>epsilon</a:t>
            </a:r>
            <a:r>
              <a:rPr lang="en-US" sz="3200" baseline="1137" dirty="0">
                <a:solidFill>
                  <a:srgbClr val="7F7E7E"/>
                </a:solidFill>
                <a:cs typeface="Calibri"/>
              </a:rPr>
              <a:t> </a:t>
            </a:r>
            <a:r>
              <a:rPr lang="en-US" sz="3200" baseline="1137" dirty="0" smtClean="0">
                <a:solidFill>
                  <a:srgbClr val="7F7E7E"/>
                </a:solidFill>
                <a:cs typeface="Calibri"/>
              </a:rPr>
              <a:t>are part of the cluster.</a:t>
            </a:r>
            <a:r>
              <a:rPr lang="en-US" sz="3200" dirty="0" smtClean="0">
                <a:solidFill>
                  <a:srgbClr val="7F7E7E"/>
                </a:solidFill>
                <a:cs typeface="Calibri"/>
              </a:rPr>
              <a:t> </a:t>
            </a:r>
          </a:p>
          <a:p>
            <a:pPr marL="12700">
              <a:lnSpc>
                <a:spcPts val="2770"/>
              </a:lnSpc>
            </a:pPr>
            <a:r>
              <a:rPr lang="en-US" sz="3200" baseline="1137" dirty="0" smtClean="0">
                <a:solidFill>
                  <a:srgbClr val="7F7E7E"/>
                </a:solidFill>
                <a:cs typeface="Calibri"/>
              </a:rPr>
              <a:t>Process each the same way.</a:t>
            </a:r>
            <a:endParaRPr lang="en-US" sz="3200" baseline="1137" dirty="0">
              <a:solidFill>
                <a:srgbClr val="7F7E7E"/>
              </a:solidFill>
              <a:cs typeface="Calibri"/>
            </a:endParaRPr>
          </a:p>
        </p:txBody>
      </p:sp>
      <p:sp>
        <p:nvSpPr>
          <p:cNvPr id="90" name="object 66"/>
          <p:cNvSpPr/>
          <p:nvPr/>
        </p:nvSpPr>
        <p:spPr>
          <a:xfrm>
            <a:off x="4354855" y="1683090"/>
            <a:ext cx="1810252" cy="1760707"/>
          </a:xfrm>
          <a:custGeom>
            <a:avLst/>
            <a:gdLst/>
            <a:ahLst/>
            <a:cxnLst/>
            <a:rect l="l" t="t" r="r" b="b"/>
            <a:pathLst>
              <a:path w="1810252" h="1760707">
                <a:moveTo>
                  <a:pt x="0" y="880353"/>
                </a:moveTo>
                <a:lnTo>
                  <a:pt x="3000" y="952556"/>
                </a:lnTo>
                <a:lnTo>
                  <a:pt x="11846" y="1023151"/>
                </a:lnTo>
                <a:lnTo>
                  <a:pt x="26305" y="1091913"/>
                </a:lnTo>
                <a:lnTo>
                  <a:pt x="46143" y="1158614"/>
                </a:lnTo>
                <a:lnTo>
                  <a:pt x="71129" y="1223027"/>
                </a:lnTo>
                <a:lnTo>
                  <a:pt x="101028" y="1284927"/>
                </a:lnTo>
                <a:lnTo>
                  <a:pt x="135608" y="1344087"/>
                </a:lnTo>
                <a:lnTo>
                  <a:pt x="174636" y="1400279"/>
                </a:lnTo>
                <a:lnTo>
                  <a:pt x="217880" y="1453279"/>
                </a:lnTo>
                <a:lnTo>
                  <a:pt x="265105" y="1502858"/>
                </a:lnTo>
                <a:lnTo>
                  <a:pt x="316079" y="1548791"/>
                </a:lnTo>
                <a:lnTo>
                  <a:pt x="370570" y="1590850"/>
                </a:lnTo>
                <a:lnTo>
                  <a:pt x="428344" y="1628810"/>
                </a:lnTo>
                <a:lnTo>
                  <a:pt x="489168" y="1662444"/>
                </a:lnTo>
                <a:lnTo>
                  <a:pt x="552810" y="1691525"/>
                </a:lnTo>
                <a:lnTo>
                  <a:pt x="619036" y="1715826"/>
                </a:lnTo>
                <a:lnTo>
                  <a:pt x="687614" y="1735122"/>
                </a:lnTo>
                <a:lnTo>
                  <a:pt x="758310" y="1749185"/>
                </a:lnTo>
                <a:lnTo>
                  <a:pt x="830892" y="1757789"/>
                </a:lnTo>
                <a:lnTo>
                  <a:pt x="905126" y="1760707"/>
                </a:lnTo>
                <a:lnTo>
                  <a:pt x="979361" y="1757789"/>
                </a:lnTo>
                <a:lnTo>
                  <a:pt x="1051942" y="1749185"/>
                </a:lnTo>
                <a:lnTo>
                  <a:pt x="1122639" y="1735122"/>
                </a:lnTo>
                <a:lnTo>
                  <a:pt x="1191216" y="1715826"/>
                </a:lnTo>
                <a:lnTo>
                  <a:pt x="1257442" y="1691525"/>
                </a:lnTo>
                <a:lnTo>
                  <a:pt x="1321084" y="1662444"/>
                </a:lnTo>
                <a:lnTo>
                  <a:pt x="1381908" y="1628810"/>
                </a:lnTo>
                <a:lnTo>
                  <a:pt x="1439682" y="1590850"/>
                </a:lnTo>
                <a:lnTo>
                  <a:pt x="1494173" y="1548791"/>
                </a:lnTo>
                <a:lnTo>
                  <a:pt x="1545147" y="1502858"/>
                </a:lnTo>
                <a:lnTo>
                  <a:pt x="1592373" y="1453279"/>
                </a:lnTo>
                <a:lnTo>
                  <a:pt x="1635616" y="1400279"/>
                </a:lnTo>
                <a:lnTo>
                  <a:pt x="1674644" y="1344087"/>
                </a:lnTo>
                <a:lnTo>
                  <a:pt x="1709224" y="1284927"/>
                </a:lnTo>
                <a:lnTo>
                  <a:pt x="1739123" y="1223027"/>
                </a:lnTo>
                <a:lnTo>
                  <a:pt x="1764109" y="1158614"/>
                </a:lnTo>
                <a:lnTo>
                  <a:pt x="1783947" y="1091913"/>
                </a:lnTo>
                <a:lnTo>
                  <a:pt x="1798406" y="1023151"/>
                </a:lnTo>
                <a:lnTo>
                  <a:pt x="1807252" y="952556"/>
                </a:lnTo>
                <a:lnTo>
                  <a:pt x="1810252" y="880353"/>
                </a:lnTo>
                <a:lnTo>
                  <a:pt x="1807252" y="808151"/>
                </a:lnTo>
                <a:lnTo>
                  <a:pt x="1798406" y="737555"/>
                </a:lnTo>
                <a:lnTo>
                  <a:pt x="1783947" y="668794"/>
                </a:lnTo>
                <a:lnTo>
                  <a:pt x="1764109" y="602094"/>
                </a:lnTo>
                <a:lnTo>
                  <a:pt x="1739123" y="537680"/>
                </a:lnTo>
                <a:lnTo>
                  <a:pt x="1709224" y="475780"/>
                </a:lnTo>
                <a:lnTo>
                  <a:pt x="1674644" y="416621"/>
                </a:lnTo>
                <a:lnTo>
                  <a:pt x="1635616" y="360428"/>
                </a:lnTo>
                <a:lnTo>
                  <a:pt x="1592373" y="307429"/>
                </a:lnTo>
                <a:lnTo>
                  <a:pt x="1545147" y="257849"/>
                </a:lnTo>
                <a:lnTo>
                  <a:pt x="1494173" y="211917"/>
                </a:lnTo>
                <a:lnTo>
                  <a:pt x="1439682" y="169857"/>
                </a:lnTo>
                <a:lnTo>
                  <a:pt x="1381908" y="131897"/>
                </a:lnTo>
                <a:lnTo>
                  <a:pt x="1321084" y="98263"/>
                </a:lnTo>
                <a:lnTo>
                  <a:pt x="1257442" y="69182"/>
                </a:lnTo>
                <a:lnTo>
                  <a:pt x="1191216" y="44881"/>
                </a:lnTo>
                <a:lnTo>
                  <a:pt x="1122639" y="25585"/>
                </a:lnTo>
                <a:lnTo>
                  <a:pt x="1051942" y="11522"/>
                </a:lnTo>
                <a:lnTo>
                  <a:pt x="979361" y="2918"/>
                </a:lnTo>
                <a:lnTo>
                  <a:pt x="905126" y="0"/>
                </a:lnTo>
                <a:lnTo>
                  <a:pt x="830892" y="2918"/>
                </a:lnTo>
                <a:lnTo>
                  <a:pt x="758310" y="11522"/>
                </a:lnTo>
                <a:lnTo>
                  <a:pt x="687614" y="25585"/>
                </a:lnTo>
                <a:lnTo>
                  <a:pt x="619036" y="44881"/>
                </a:lnTo>
                <a:lnTo>
                  <a:pt x="552810" y="69182"/>
                </a:lnTo>
                <a:lnTo>
                  <a:pt x="489168" y="98263"/>
                </a:lnTo>
                <a:lnTo>
                  <a:pt x="428344" y="131897"/>
                </a:lnTo>
                <a:lnTo>
                  <a:pt x="370570" y="169857"/>
                </a:lnTo>
                <a:lnTo>
                  <a:pt x="316079" y="211917"/>
                </a:lnTo>
                <a:lnTo>
                  <a:pt x="265105" y="257849"/>
                </a:lnTo>
                <a:lnTo>
                  <a:pt x="217880" y="307429"/>
                </a:lnTo>
                <a:lnTo>
                  <a:pt x="174636" y="360428"/>
                </a:lnTo>
                <a:lnTo>
                  <a:pt x="135608" y="416621"/>
                </a:lnTo>
                <a:lnTo>
                  <a:pt x="101028" y="475780"/>
                </a:lnTo>
                <a:lnTo>
                  <a:pt x="71129" y="537680"/>
                </a:lnTo>
                <a:lnTo>
                  <a:pt x="46143" y="602094"/>
                </a:lnTo>
                <a:lnTo>
                  <a:pt x="26305" y="668794"/>
                </a:lnTo>
                <a:lnTo>
                  <a:pt x="11846" y="737555"/>
                </a:lnTo>
                <a:lnTo>
                  <a:pt x="3000" y="808151"/>
                </a:lnTo>
                <a:lnTo>
                  <a:pt x="0" y="880353"/>
                </a:lnTo>
                <a:close/>
              </a:path>
            </a:pathLst>
          </a:custGeom>
          <a:solidFill>
            <a:srgbClr val="FAA657">
              <a:alpha val="51000"/>
            </a:srgbClr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1" name="object 82"/>
          <p:cNvSpPr/>
          <p:nvPr/>
        </p:nvSpPr>
        <p:spPr>
          <a:xfrm>
            <a:off x="4414372" y="54871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2" name="object 84"/>
          <p:cNvSpPr/>
          <p:nvPr/>
        </p:nvSpPr>
        <p:spPr>
          <a:xfrm>
            <a:off x="5399747" y="55212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3" name="object 86"/>
          <p:cNvSpPr/>
          <p:nvPr/>
        </p:nvSpPr>
        <p:spPr>
          <a:xfrm>
            <a:off x="6251551" y="55023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4" name="object 74"/>
          <p:cNvSpPr/>
          <p:nvPr/>
        </p:nvSpPr>
        <p:spPr>
          <a:xfrm>
            <a:off x="2668469" y="519520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5" name="object 72"/>
          <p:cNvSpPr/>
          <p:nvPr/>
        </p:nvSpPr>
        <p:spPr>
          <a:xfrm>
            <a:off x="5959366" y="251737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40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80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57150">
            <a:solidFill>
              <a:srgbClr val="F69545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6" name="object 70"/>
          <p:cNvSpPr/>
          <p:nvPr/>
        </p:nvSpPr>
        <p:spPr>
          <a:xfrm>
            <a:off x="5560113" y="213564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7" name="object 68"/>
          <p:cNvSpPr/>
          <p:nvPr/>
        </p:nvSpPr>
        <p:spPr>
          <a:xfrm>
            <a:off x="5148028" y="1723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57150">
            <a:solidFill>
              <a:srgbClr val="F69545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8" name="object 66"/>
          <p:cNvSpPr/>
          <p:nvPr/>
        </p:nvSpPr>
        <p:spPr>
          <a:xfrm>
            <a:off x="6872003" y="34121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9" name="object 63"/>
          <p:cNvSpPr/>
          <p:nvPr/>
        </p:nvSpPr>
        <p:spPr>
          <a:xfrm>
            <a:off x="5880842" y="502152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6"/>
                </a:lnTo>
                <a:lnTo>
                  <a:pt x="1583" y="198179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6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2"/>
                </a:lnTo>
                <a:lnTo>
                  <a:pt x="49876" y="299561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6"/>
                </a:lnTo>
                <a:lnTo>
                  <a:pt x="196530" y="342926"/>
                </a:lnTo>
                <a:lnTo>
                  <a:pt x="209650" y="339004"/>
                </a:lnTo>
                <a:lnTo>
                  <a:pt x="222295" y="333936"/>
                </a:lnTo>
                <a:lnTo>
                  <a:pt x="234413" y="327778"/>
                </a:lnTo>
                <a:lnTo>
                  <a:pt x="245953" y="320583"/>
                </a:lnTo>
                <a:lnTo>
                  <a:pt x="256864" y="312409"/>
                </a:lnTo>
                <a:lnTo>
                  <a:pt x="267095" y="303311"/>
                </a:lnTo>
                <a:lnTo>
                  <a:pt x="276595" y="293343"/>
                </a:lnTo>
                <a:lnTo>
                  <a:pt x="285312" y="282562"/>
                </a:lnTo>
                <a:lnTo>
                  <a:pt x="293195" y="271023"/>
                </a:lnTo>
                <a:lnTo>
                  <a:pt x="300193" y="258781"/>
                </a:lnTo>
                <a:lnTo>
                  <a:pt x="306255" y="245892"/>
                </a:lnTo>
                <a:lnTo>
                  <a:pt x="311330" y="232411"/>
                </a:lnTo>
                <a:lnTo>
                  <a:pt x="315366" y="218394"/>
                </a:lnTo>
                <a:lnTo>
                  <a:pt x="318312" y="203896"/>
                </a:lnTo>
                <a:lnTo>
                  <a:pt x="320117" y="188973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9" y="93485"/>
                </a:lnTo>
                <a:lnTo>
                  <a:pt x="296006" y="80986"/>
                </a:lnTo>
                <a:lnTo>
                  <a:pt x="288459" y="69169"/>
                </a:lnTo>
                <a:lnTo>
                  <a:pt x="280058" y="58089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4"/>
                </a:lnTo>
                <a:lnTo>
                  <a:pt x="86318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0" name="object 62"/>
          <p:cNvSpPr/>
          <p:nvPr/>
        </p:nvSpPr>
        <p:spPr>
          <a:xfrm>
            <a:off x="4326962" y="34938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1" name="object 60"/>
          <p:cNvSpPr/>
          <p:nvPr/>
        </p:nvSpPr>
        <p:spPr>
          <a:xfrm>
            <a:off x="3451263" y="457102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2" name="object 58"/>
          <p:cNvSpPr/>
          <p:nvPr/>
        </p:nvSpPr>
        <p:spPr>
          <a:xfrm>
            <a:off x="7513462" y="204543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3" name="object 56"/>
          <p:cNvSpPr/>
          <p:nvPr/>
        </p:nvSpPr>
        <p:spPr>
          <a:xfrm>
            <a:off x="6553321" y="196196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4" name="object 54"/>
          <p:cNvSpPr/>
          <p:nvPr/>
        </p:nvSpPr>
        <p:spPr>
          <a:xfrm>
            <a:off x="7353097" y="275391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5" name="object 52"/>
          <p:cNvSpPr/>
          <p:nvPr/>
        </p:nvSpPr>
        <p:spPr>
          <a:xfrm>
            <a:off x="4696124" y="412086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6" name="object 50"/>
          <p:cNvSpPr/>
          <p:nvPr/>
        </p:nvSpPr>
        <p:spPr>
          <a:xfrm>
            <a:off x="4441297" y="46123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7" name="object 48"/>
          <p:cNvSpPr/>
          <p:nvPr/>
        </p:nvSpPr>
        <p:spPr>
          <a:xfrm>
            <a:off x="3130532" y="40499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8" name="object 42"/>
          <p:cNvSpPr/>
          <p:nvPr/>
        </p:nvSpPr>
        <p:spPr>
          <a:xfrm>
            <a:off x="5748103" y="33118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57150">
            <a:solidFill>
              <a:srgbClr val="F69545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9" name="object 44"/>
          <p:cNvSpPr/>
          <p:nvPr/>
        </p:nvSpPr>
        <p:spPr>
          <a:xfrm>
            <a:off x="5560113" y="25802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0" name="object 46"/>
          <p:cNvSpPr/>
          <p:nvPr/>
        </p:nvSpPr>
        <p:spPr>
          <a:xfrm>
            <a:off x="5421508" y="296447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57150">
            <a:solidFill>
              <a:srgbClr val="F69545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1" name="object 40"/>
          <p:cNvSpPr/>
          <p:nvPr/>
        </p:nvSpPr>
        <p:spPr>
          <a:xfrm>
            <a:off x="5213120" y="49216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2" name="object 38"/>
          <p:cNvSpPr/>
          <p:nvPr/>
        </p:nvSpPr>
        <p:spPr>
          <a:xfrm>
            <a:off x="7032365" y="221911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3" name="object 36"/>
          <p:cNvSpPr/>
          <p:nvPr/>
        </p:nvSpPr>
        <p:spPr>
          <a:xfrm>
            <a:off x="7385165" y="340218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6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7"/>
                </a:lnTo>
                <a:lnTo>
                  <a:pt x="310251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4" name="object 34"/>
          <p:cNvSpPr/>
          <p:nvPr/>
        </p:nvSpPr>
        <p:spPr>
          <a:xfrm>
            <a:off x="5038354" y="24830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5" name="object 32"/>
          <p:cNvSpPr/>
          <p:nvPr/>
        </p:nvSpPr>
        <p:spPr>
          <a:xfrm>
            <a:off x="7192732" y="159327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6" name="object 30"/>
          <p:cNvSpPr/>
          <p:nvPr/>
        </p:nvSpPr>
        <p:spPr>
          <a:xfrm>
            <a:off x="6201572" y="316997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7" name="object 28"/>
          <p:cNvSpPr/>
          <p:nvPr/>
        </p:nvSpPr>
        <p:spPr>
          <a:xfrm>
            <a:off x="4877989" y="532865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8" name="object 26"/>
          <p:cNvSpPr/>
          <p:nvPr/>
        </p:nvSpPr>
        <p:spPr>
          <a:xfrm>
            <a:off x="5581873" y="4521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9" name="object 24"/>
          <p:cNvSpPr/>
          <p:nvPr/>
        </p:nvSpPr>
        <p:spPr>
          <a:xfrm>
            <a:off x="3528670" y="35173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0" name="object 22"/>
          <p:cNvSpPr/>
          <p:nvPr/>
        </p:nvSpPr>
        <p:spPr>
          <a:xfrm>
            <a:off x="3252845" y="520650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1" name="object 20"/>
          <p:cNvSpPr/>
          <p:nvPr/>
        </p:nvSpPr>
        <p:spPr>
          <a:xfrm>
            <a:off x="3849401" y="4051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2" name="object 18"/>
          <p:cNvSpPr/>
          <p:nvPr/>
        </p:nvSpPr>
        <p:spPr>
          <a:xfrm>
            <a:off x="6713687" y="269105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3" name="object 6"/>
          <p:cNvSpPr txBox="1"/>
          <p:nvPr/>
        </p:nvSpPr>
        <p:spPr>
          <a:xfrm>
            <a:off x="1332125" y="3759280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sp>
        <p:nvSpPr>
          <p:cNvPr id="124" name="object 5"/>
          <p:cNvSpPr txBox="1"/>
          <p:nvPr/>
        </p:nvSpPr>
        <p:spPr>
          <a:xfrm>
            <a:off x="5426815" y="6116930"/>
            <a:ext cx="542241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Age</a:t>
            </a:r>
            <a:endParaRPr sz="2400">
              <a:cs typeface="Calibri"/>
            </a:endParaRPr>
          </a:p>
        </p:txBody>
      </p:sp>
      <p:grpSp>
        <p:nvGrpSpPr>
          <p:cNvPr id="125" name="Group 124"/>
          <p:cNvGrpSpPr/>
          <p:nvPr/>
        </p:nvGrpSpPr>
        <p:grpSpPr>
          <a:xfrm>
            <a:off x="2383438" y="1888930"/>
            <a:ext cx="6303362" cy="4054670"/>
            <a:chOff x="2343901" y="1923700"/>
            <a:chExt cx="6303362" cy="4054670"/>
          </a:xfrm>
        </p:grpSpPr>
        <p:sp>
          <p:nvSpPr>
            <p:cNvPr id="126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127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5" name="object 15"/>
          <p:cNvSpPr txBox="1"/>
          <p:nvPr/>
        </p:nvSpPr>
        <p:spPr>
          <a:xfrm>
            <a:off x="349882" y="369650"/>
            <a:ext cx="1351013" cy="5207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985"/>
              </a:lnSpc>
              <a:spcBef>
                <a:spcPts val="99"/>
              </a:spcBef>
            </a:pPr>
            <a:r>
              <a:rPr sz="2700" spc="0" baseline="3034" dirty="0" smtClean="0">
                <a:solidFill>
                  <a:srgbClr val="215867"/>
                </a:solidFill>
                <a:latin typeface="+mj-lt"/>
                <a:cs typeface="Calibri"/>
              </a:rPr>
              <a:t>epsilon = 1.75</a:t>
            </a:r>
            <a:endParaRPr sz="1800" dirty="0">
              <a:latin typeface="+mj-lt"/>
              <a:cs typeface="Calibri"/>
            </a:endParaRPr>
          </a:p>
          <a:p>
            <a:pPr marL="12700" marR="34289">
              <a:lnSpc>
                <a:spcPts val="2100"/>
              </a:lnSpc>
              <a:spcBef>
                <a:spcPts val="5"/>
              </a:spcBef>
            </a:pPr>
            <a:r>
              <a:rPr sz="2700" spc="0" baseline="1517" dirty="0" smtClean="0">
                <a:solidFill>
                  <a:srgbClr val="215867"/>
                </a:solidFill>
                <a:latin typeface="+mj-lt"/>
                <a:cs typeface="Calibri"/>
              </a:rPr>
              <a:t>n_clu = 3</a:t>
            </a:r>
            <a:endParaRPr sz="1800" dirty="0">
              <a:latin typeface="+mj-lt"/>
              <a:cs typeface="Calibri"/>
            </a:endParaRPr>
          </a:p>
        </p:txBody>
      </p:sp>
      <p:sp>
        <p:nvSpPr>
          <p:cNvPr id="87" name="object 5"/>
          <p:cNvSpPr txBox="1"/>
          <p:nvPr/>
        </p:nvSpPr>
        <p:spPr>
          <a:xfrm>
            <a:off x="2101916" y="369650"/>
            <a:ext cx="6889684" cy="1166986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 marR="41909">
              <a:lnSpc>
                <a:spcPts val="3454"/>
              </a:lnSpc>
              <a:spcBef>
                <a:spcPts val="172"/>
              </a:spcBef>
            </a:pPr>
            <a:r>
              <a:rPr sz="4800" spc="0" baseline="2560" dirty="0" smtClean="0">
                <a:solidFill>
                  <a:srgbClr val="4E81BC"/>
                </a:solidFill>
                <a:latin typeface="+mj-lt"/>
                <a:cs typeface="Calibri"/>
              </a:rPr>
              <a:t>DBSC</a:t>
            </a:r>
            <a:r>
              <a:rPr sz="4800" spc="-4" baseline="2560" dirty="0" smtClean="0">
                <a:solidFill>
                  <a:srgbClr val="4E81BC"/>
                </a:solidFill>
                <a:latin typeface="+mj-lt"/>
                <a:cs typeface="Calibri"/>
              </a:rPr>
              <a:t>A</a:t>
            </a:r>
            <a:r>
              <a:rPr sz="4800" spc="0" baseline="2560" dirty="0" smtClean="0">
                <a:solidFill>
                  <a:srgbClr val="4E81BC"/>
                </a:solidFill>
                <a:latin typeface="+mj-lt"/>
                <a:cs typeface="Calibri"/>
              </a:rPr>
              <a:t>N</a:t>
            </a:r>
            <a:endParaRPr sz="3200" dirty="0">
              <a:latin typeface="+mj-lt"/>
              <a:cs typeface="Calibri"/>
            </a:endParaRPr>
          </a:p>
          <a:p>
            <a:pPr marL="12700">
              <a:lnSpc>
                <a:spcPts val="2770"/>
              </a:lnSpc>
            </a:pPr>
            <a:r>
              <a:rPr lang="en-US" sz="3200" baseline="1137" dirty="0" smtClean="0">
                <a:solidFill>
                  <a:srgbClr val="7F7E7E"/>
                </a:solidFill>
                <a:cs typeface="Calibri"/>
              </a:rPr>
              <a:t>If candidate does NOT have </a:t>
            </a:r>
            <a:r>
              <a:rPr lang="en-US" sz="3200" i="1" baseline="1137" dirty="0" err="1" smtClean="0">
                <a:solidFill>
                  <a:srgbClr val="7F7E7E"/>
                </a:solidFill>
                <a:cs typeface="Calibri"/>
              </a:rPr>
              <a:t>n_clu</a:t>
            </a:r>
            <a:r>
              <a:rPr lang="en-US" sz="3200" baseline="1137" dirty="0" smtClean="0">
                <a:solidFill>
                  <a:srgbClr val="7F7E7E"/>
                </a:solidFill>
                <a:cs typeface="Calibri"/>
              </a:rPr>
              <a:t> neighbors within </a:t>
            </a:r>
            <a:r>
              <a:rPr lang="en-US" sz="3200" i="1" baseline="1137" dirty="0" smtClean="0">
                <a:solidFill>
                  <a:srgbClr val="7F7E7E"/>
                </a:solidFill>
                <a:cs typeface="Calibri"/>
              </a:rPr>
              <a:t>epsilon</a:t>
            </a:r>
            <a:r>
              <a:rPr lang="en-US" sz="3200" baseline="1137" dirty="0" smtClean="0">
                <a:solidFill>
                  <a:srgbClr val="7F7E7E"/>
                </a:solidFill>
                <a:cs typeface="Calibri"/>
              </a:rPr>
              <a:t>, it is </a:t>
            </a:r>
            <a:r>
              <a:rPr lang="en-US" sz="3200" i="1" baseline="1137" dirty="0" smtClean="0">
                <a:solidFill>
                  <a:srgbClr val="7F7E7E"/>
                </a:solidFill>
                <a:cs typeface="Calibri"/>
              </a:rPr>
              <a:t>density-reachable</a:t>
            </a:r>
            <a:endParaRPr lang="en-US" sz="3200" i="1" baseline="1137" dirty="0">
              <a:solidFill>
                <a:srgbClr val="7F7E7E"/>
              </a:solidFill>
              <a:cs typeface="Calibri"/>
            </a:endParaRPr>
          </a:p>
        </p:txBody>
      </p:sp>
      <p:sp>
        <p:nvSpPr>
          <p:cNvPr id="163" name="object 66"/>
          <p:cNvSpPr/>
          <p:nvPr/>
        </p:nvSpPr>
        <p:spPr>
          <a:xfrm>
            <a:off x="4442062" y="973102"/>
            <a:ext cx="1810252" cy="1760707"/>
          </a:xfrm>
          <a:custGeom>
            <a:avLst/>
            <a:gdLst/>
            <a:ahLst/>
            <a:cxnLst/>
            <a:rect l="l" t="t" r="r" b="b"/>
            <a:pathLst>
              <a:path w="1810252" h="1760707">
                <a:moveTo>
                  <a:pt x="0" y="880353"/>
                </a:moveTo>
                <a:lnTo>
                  <a:pt x="3000" y="952556"/>
                </a:lnTo>
                <a:lnTo>
                  <a:pt x="11846" y="1023151"/>
                </a:lnTo>
                <a:lnTo>
                  <a:pt x="26305" y="1091913"/>
                </a:lnTo>
                <a:lnTo>
                  <a:pt x="46143" y="1158614"/>
                </a:lnTo>
                <a:lnTo>
                  <a:pt x="71129" y="1223027"/>
                </a:lnTo>
                <a:lnTo>
                  <a:pt x="101028" y="1284927"/>
                </a:lnTo>
                <a:lnTo>
                  <a:pt x="135608" y="1344087"/>
                </a:lnTo>
                <a:lnTo>
                  <a:pt x="174636" y="1400279"/>
                </a:lnTo>
                <a:lnTo>
                  <a:pt x="217880" y="1453279"/>
                </a:lnTo>
                <a:lnTo>
                  <a:pt x="265105" y="1502858"/>
                </a:lnTo>
                <a:lnTo>
                  <a:pt x="316079" y="1548791"/>
                </a:lnTo>
                <a:lnTo>
                  <a:pt x="370570" y="1590850"/>
                </a:lnTo>
                <a:lnTo>
                  <a:pt x="428344" y="1628810"/>
                </a:lnTo>
                <a:lnTo>
                  <a:pt x="489168" y="1662444"/>
                </a:lnTo>
                <a:lnTo>
                  <a:pt x="552810" y="1691525"/>
                </a:lnTo>
                <a:lnTo>
                  <a:pt x="619036" y="1715826"/>
                </a:lnTo>
                <a:lnTo>
                  <a:pt x="687614" y="1735122"/>
                </a:lnTo>
                <a:lnTo>
                  <a:pt x="758310" y="1749185"/>
                </a:lnTo>
                <a:lnTo>
                  <a:pt x="830892" y="1757789"/>
                </a:lnTo>
                <a:lnTo>
                  <a:pt x="905126" y="1760707"/>
                </a:lnTo>
                <a:lnTo>
                  <a:pt x="979361" y="1757789"/>
                </a:lnTo>
                <a:lnTo>
                  <a:pt x="1051942" y="1749185"/>
                </a:lnTo>
                <a:lnTo>
                  <a:pt x="1122639" y="1735122"/>
                </a:lnTo>
                <a:lnTo>
                  <a:pt x="1191216" y="1715826"/>
                </a:lnTo>
                <a:lnTo>
                  <a:pt x="1257442" y="1691525"/>
                </a:lnTo>
                <a:lnTo>
                  <a:pt x="1321084" y="1662444"/>
                </a:lnTo>
                <a:lnTo>
                  <a:pt x="1381908" y="1628810"/>
                </a:lnTo>
                <a:lnTo>
                  <a:pt x="1439682" y="1590850"/>
                </a:lnTo>
                <a:lnTo>
                  <a:pt x="1494173" y="1548791"/>
                </a:lnTo>
                <a:lnTo>
                  <a:pt x="1545147" y="1502858"/>
                </a:lnTo>
                <a:lnTo>
                  <a:pt x="1592373" y="1453279"/>
                </a:lnTo>
                <a:lnTo>
                  <a:pt x="1635616" y="1400279"/>
                </a:lnTo>
                <a:lnTo>
                  <a:pt x="1674644" y="1344087"/>
                </a:lnTo>
                <a:lnTo>
                  <a:pt x="1709224" y="1284927"/>
                </a:lnTo>
                <a:lnTo>
                  <a:pt x="1739123" y="1223027"/>
                </a:lnTo>
                <a:lnTo>
                  <a:pt x="1764109" y="1158614"/>
                </a:lnTo>
                <a:lnTo>
                  <a:pt x="1783947" y="1091913"/>
                </a:lnTo>
                <a:lnTo>
                  <a:pt x="1798406" y="1023151"/>
                </a:lnTo>
                <a:lnTo>
                  <a:pt x="1807252" y="952556"/>
                </a:lnTo>
                <a:lnTo>
                  <a:pt x="1810252" y="880353"/>
                </a:lnTo>
                <a:lnTo>
                  <a:pt x="1807252" y="808151"/>
                </a:lnTo>
                <a:lnTo>
                  <a:pt x="1798406" y="737555"/>
                </a:lnTo>
                <a:lnTo>
                  <a:pt x="1783947" y="668794"/>
                </a:lnTo>
                <a:lnTo>
                  <a:pt x="1764109" y="602094"/>
                </a:lnTo>
                <a:lnTo>
                  <a:pt x="1739123" y="537680"/>
                </a:lnTo>
                <a:lnTo>
                  <a:pt x="1709224" y="475780"/>
                </a:lnTo>
                <a:lnTo>
                  <a:pt x="1674644" y="416621"/>
                </a:lnTo>
                <a:lnTo>
                  <a:pt x="1635616" y="360428"/>
                </a:lnTo>
                <a:lnTo>
                  <a:pt x="1592373" y="307429"/>
                </a:lnTo>
                <a:lnTo>
                  <a:pt x="1545147" y="257849"/>
                </a:lnTo>
                <a:lnTo>
                  <a:pt x="1494173" y="211917"/>
                </a:lnTo>
                <a:lnTo>
                  <a:pt x="1439682" y="169857"/>
                </a:lnTo>
                <a:lnTo>
                  <a:pt x="1381908" y="131897"/>
                </a:lnTo>
                <a:lnTo>
                  <a:pt x="1321084" y="98263"/>
                </a:lnTo>
                <a:lnTo>
                  <a:pt x="1257442" y="69182"/>
                </a:lnTo>
                <a:lnTo>
                  <a:pt x="1191216" y="44881"/>
                </a:lnTo>
                <a:lnTo>
                  <a:pt x="1122639" y="25585"/>
                </a:lnTo>
                <a:lnTo>
                  <a:pt x="1051942" y="11522"/>
                </a:lnTo>
                <a:lnTo>
                  <a:pt x="979361" y="2918"/>
                </a:lnTo>
                <a:lnTo>
                  <a:pt x="905126" y="0"/>
                </a:lnTo>
                <a:lnTo>
                  <a:pt x="830892" y="2918"/>
                </a:lnTo>
                <a:lnTo>
                  <a:pt x="758310" y="11522"/>
                </a:lnTo>
                <a:lnTo>
                  <a:pt x="687614" y="25585"/>
                </a:lnTo>
                <a:lnTo>
                  <a:pt x="619036" y="44881"/>
                </a:lnTo>
                <a:lnTo>
                  <a:pt x="552810" y="69182"/>
                </a:lnTo>
                <a:lnTo>
                  <a:pt x="489168" y="98263"/>
                </a:lnTo>
                <a:lnTo>
                  <a:pt x="428344" y="131897"/>
                </a:lnTo>
                <a:lnTo>
                  <a:pt x="370570" y="169857"/>
                </a:lnTo>
                <a:lnTo>
                  <a:pt x="316079" y="211917"/>
                </a:lnTo>
                <a:lnTo>
                  <a:pt x="265105" y="257849"/>
                </a:lnTo>
                <a:lnTo>
                  <a:pt x="217880" y="307429"/>
                </a:lnTo>
                <a:lnTo>
                  <a:pt x="174636" y="360428"/>
                </a:lnTo>
                <a:lnTo>
                  <a:pt x="135608" y="416621"/>
                </a:lnTo>
                <a:lnTo>
                  <a:pt x="101028" y="475780"/>
                </a:lnTo>
                <a:lnTo>
                  <a:pt x="71129" y="537680"/>
                </a:lnTo>
                <a:lnTo>
                  <a:pt x="46143" y="602094"/>
                </a:lnTo>
                <a:lnTo>
                  <a:pt x="26305" y="668794"/>
                </a:lnTo>
                <a:lnTo>
                  <a:pt x="11846" y="737555"/>
                </a:lnTo>
                <a:lnTo>
                  <a:pt x="3000" y="808151"/>
                </a:lnTo>
                <a:lnTo>
                  <a:pt x="0" y="880353"/>
                </a:lnTo>
                <a:close/>
              </a:path>
            </a:pathLst>
          </a:custGeom>
          <a:solidFill>
            <a:srgbClr val="FAA657">
              <a:alpha val="51000"/>
            </a:srgbClr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64" name="object 82"/>
          <p:cNvSpPr/>
          <p:nvPr/>
        </p:nvSpPr>
        <p:spPr>
          <a:xfrm>
            <a:off x="4414372" y="54871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65" name="object 84"/>
          <p:cNvSpPr/>
          <p:nvPr/>
        </p:nvSpPr>
        <p:spPr>
          <a:xfrm>
            <a:off x="5399747" y="55212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66" name="object 86"/>
          <p:cNvSpPr/>
          <p:nvPr/>
        </p:nvSpPr>
        <p:spPr>
          <a:xfrm>
            <a:off x="6251551" y="55023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67" name="object 74"/>
          <p:cNvSpPr/>
          <p:nvPr/>
        </p:nvSpPr>
        <p:spPr>
          <a:xfrm>
            <a:off x="2668469" y="519520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68" name="object 72"/>
          <p:cNvSpPr/>
          <p:nvPr/>
        </p:nvSpPr>
        <p:spPr>
          <a:xfrm>
            <a:off x="5959366" y="251737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40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80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57150">
            <a:solidFill>
              <a:srgbClr val="F69545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69" name="object 70"/>
          <p:cNvSpPr/>
          <p:nvPr/>
        </p:nvSpPr>
        <p:spPr>
          <a:xfrm>
            <a:off x="5560113" y="213564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70" name="object 68"/>
          <p:cNvSpPr/>
          <p:nvPr/>
        </p:nvSpPr>
        <p:spPr>
          <a:xfrm>
            <a:off x="5148028" y="1723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57150">
            <a:solidFill>
              <a:srgbClr val="F69545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71" name="object 66"/>
          <p:cNvSpPr/>
          <p:nvPr/>
        </p:nvSpPr>
        <p:spPr>
          <a:xfrm>
            <a:off x="6872003" y="34121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72" name="object 63"/>
          <p:cNvSpPr/>
          <p:nvPr/>
        </p:nvSpPr>
        <p:spPr>
          <a:xfrm>
            <a:off x="5880842" y="502152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6"/>
                </a:lnTo>
                <a:lnTo>
                  <a:pt x="1583" y="198179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6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2"/>
                </a:lnTo>
                <a:lnTo>
                  <a:pt x="49876" y="299561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6"/>
                </a:lnTo>
                <a:lnTo>
                  <a:pt x="196530" y="342926"/>
                </a:lnTo>
                <a:lnTo>
                  <a:pt x="209650" y="339004"/>
                </a:lnTo>
                <a:lnTo>
                  <a:pt x="222295" y="333936"/>
                </a:lnTo>
                <a:lnTo>
                  <a:pt x="234413" y="327778"/>
                </a:lnTo>
                <a:lnTo>
                  <a:pt x="245953" y="320583"/>
                </a:lnTo>
                <a:lnTo>
                  <a:pt x="256864" y="312409"/>
                </a:lnTo>
                <a:lnTo>
                  <a:pt x="267095" y="303311"/>
                </a:lnTo>
                <a:lnTo>
                  <a:pt x="276595" y="293343"/>
                </a:lnTo>
                <a:lnTo>
                  <a:pt x="285312" y="282562"/>
                </a:lnTo>
                <a:lnTo>
                  <a:pt x="293195" y="271023"/>
                </a:lnTo>
                <a:lnTo>
                  <a:pt x="300193" y="258781"/>
                </a:lnTo>
                <a:lnTo>
                  <a:pt x="306255" y="245892"/>
                </a:lnTo>
                <a:lnTo>
                  <a:pt x="311330" y="232411"/>
                </a:lnTo>
                <a:lnTo>
                  <a:pt x="315366" y="218394"/>
                </a:lnTo>
                <a:lnTo>
                  <a:pt x="318312" y="203896"/>
                </a:lnTo>
                <a:lnTo>
                  <a:pt x="320117" y="188973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9" y="93485"/>
                </a:lnTo>
                <a:lnTo>
                  <a:pt x="296006" y="80986"/>
                </a:lnTo>
                <a:lnTo>
                  <a:pt x="288459" y="69169"/>
                </a:lnTo>
                <a:lnTo>
                  <a:pt x="280058" y="58089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4"/>
                </a:lnTo>
                <a:lnTo>
                  <a:pt x="86318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73" name="object 62"/>
          <p:cNvSpPr/>
          <p:nvPr/>
        </p:nvSpPr>
        <p:spPr>
          <a:xfrm>
            <a:off x="4326962" y="34938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74" name="object 60"/>
          <p:cNvSpPr/>
          <p:nvPr/>
        </p:nvSpPr>
        <p:spPr>
          <a:xfrm>
            <a:off x="3451263" y="457102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75" name="object 58"/>
          <p:cNvSpPr/>
          <p:nvPr/>
        </p:nvSpPr>
        <p:spPr>
          <a:xfrm>
            <a:off x="7513462" y="204543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76" name="object 56"/>
          <p:cNvSpPr/>
          <p:nvPr/>
        </p:nvSpPr>
        <p:spPr>
          <a:xfrm>
            <a:off x="6553321" y="196196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77" name="object 54"/>
          <p:cNvSpPr/>
          <p:nvPr/>
        </p:nvSpPr>
        <p:spPr>
          <a:xfrm>
            <a:off x="7353097" y="275391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78" name="object 52"/>
          <p:cNvSpPr/>
          <p:nvPr/>
        </p:nvSpPr>
        <p:spPr>
          <a:xfrm>
            <a:off x="4696124" y="412086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79" name="object 50"/>
          <p:cNvSpPr/>
          <p:nvPr/>
        </p:nvSpPr>
        <p:spPr>
          <a:xfrm>
            <a:off x="4441297" y="46123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80" name="object 48"/>
          <p:cNvSpPr/>
          <p:nvPr/>
        </p:nvSpPr>
        <p:spPr>
          <a:xfrm>
            <a:off x="3130532" y="40499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81" name="object 42"/>
          <p:cNvSpPr/>
          <p:nvPr/>
        </p:nvSpPr>
        <p:spPr>
          <a:xfrm>
            <a:off x="5748103" y="33118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57150">
            <a:solidFill>
              <a:srgbClr val="F69545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82" name="object 44"/>
          <p:cNvSpPr/>
          <p:nvPr/>
        </p:nvSpPr>
        <p:spPr>
          <a:xfrm>
            <a:off x="5560113" y="25802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83" name="object 46"/>
          <p:cNvSpPr/>
          <p:nvPr/>
        </p:nvSpPr>
        <p:spPr>
          <a:xfrm>
            <a:off x="5421508" y="296447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57150">
            <a:solidFill>
              <a:srgbClr val="F69545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84" name="object 40"/>
          <p:cNvSpPr/>
          <p:nvPr/>
        </p:nvSpPr>
        <p:spPr>
          <a:xfrm>
            <a:off x="5213120" y="49216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85" name="object 38"/>
          <p:cNvSpPr/>
          <p:nvPr/>
        </p:nvSpPr>
        <p:spPr>
          <a:xfrm>
            <a:off x="7032365" y="221911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86" name="object 36"/>
          <p:cNvSpPr/>
          <p:nvPr/>
        </p:nvSpPr>
        <p:spPr>
          <a:xfrm>
            <a:off x="7385165" y="340218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6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7"/>
                </a:lnTo>
                <a:lnTo>
                  <a:pt x="310251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87" name="object 34"/>
          <p:cNvSpPr/>
          <p:nvPr/>
        </p:nvSpPr>
        <p:spPr>
          <a:xfrm>
            <a:off x="5038354" y="24830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88" name="object 32"/>
          <p:cNvSpPr/>
          <p:nvPr/>
        </p:nvSpPr>
        <p:spPr>
          <a:xfrm>
            <a:off x="7192732" y="159327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89" name="object 30"/>
          <p:cNvSpPr/>
          <p:nvPr/>
        </p:nvSpPr>
        <p:spPr>
          <a:xfrm>
            <a:off x="6201572" y="316997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90" name="object 28"/>
          <p:cNvSpPr/>
          <p:nvPr/>
        </p:nvSpPr>
        <p:spPr>
          <a:xfrm>
            <a:off x="4877989" y="532865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91" name="object 26"/>
          <p:cNvSpPr/>
          <p:nvPr/>
        </p:nvSpPr>
        <p:spPr>
          <a:xfrm>
            <a:off x="5581873" y="4521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92" name="object 24"/>
          <p:cNvSpPr/>
          <p:nvPr/>
        </p:nvSpPr>
        <p:spPr>
          <a:xfrm>
            <a:off x="3528670" y="35173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93" name="object 22"/>
          <p:cNvSpPr/>
          <p:nvPr/>
        </p:nvSpPr>
        <p:spPr>
          <a:xfrm>
            <a:off x="3252845" y="520650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94" name="object 20"/>
          <p:cNvSpPr/>
          <p:nvPr/>
        </p:nvSpPr>
        <p:spPr>
          <a:xfrm>
            <a:off x="3849401" y="4051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95" name="object 18"/>
          <p:cNvSpPr/>
          <p:nvPr/>
        </p:nvSpPr>
        <p:spPr>
          <a:xfrm>
            <a:off x="6713687" y="269105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96" name="object 6"/>
          <p:cNvSpPr txBox="1"/>
          <p:nvPr/>
        </p:nvSpPr>
        <p:spPr>
          <a:xfrm>
            <a:off x="1332125" y="3759280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grpSp>
        <p:nvGrpSpPr>
          <p:cNvPr id="197" name="Group 196"/>
          <p:cNvGrpSpPr/>
          <p:nvPr/>
        </p:nvGrpSpPr>
        <p:grpSpPr>
          <a:xfrm>
            <a:off x="2383438" y="1888930"/>
            <a:ext cx="6303362" cy="4054670"/>
            <a:chOff x="2343901" y="1923700"/>
            <a:chExt cx="6303362" cy="4054670"/>
          </a:xfrm>
        </p:grpSpPr>
        <p:sp>
          <p:nvSpPr>
            <p:cNvPr id="198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199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6" name="object 5"/>
          <p:cNvSpPr txBox="1"/>
          <p:nvPr/>
        </p:nvSpPr>
        <p:spPr>
          <a:xfrm>
            <a:off x="2101916" y="369650"/>
            <a:ext cx="6889684" cy="1166986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 marR="41909">
              <a:lnSpc>
                <a:spcPts val="3454"/>
              </a:lnSpc>
              <a:spcBef>
                <a:spcPts val="172"/>
              </a:spcBef>
            </a:pPr>
            <a:r>
              <a:rPr sz="4800" spc="0" baseline="2560" dirty="0" smtClean="0">
                <a:solidFill>
                  <a:srgbClr val="4E81BC"/>
                </a:solidFill>
                <a:latin typeface="+mj-lt"/>
                <a:cs typeface="Calibri"/>
              </a:rPr>
              <a:t>DBSC</a:t>
            </a:r>
            <a:r>
              <a:rPr sz="4800" spc="-4" baseline="2560" dirty="0" smtClean="0">
                <a:solidFill>
                  <a:srgbClr val="4E81BC"/>
                </a:solidFill>
                <a:latin typeface="+mj-lt"/>
                <a:cs typeface="Calibri"/>
              </a:rPr>
              <a:t>A</a:t>
            </a:r>
            <a:r>
              <a:rPr sz="4800" spc="0" baseline="2560" dirty="0" smtClean="0">
                <a:solidFill>
                  <a:srgbClr val="4E81BC"/>
                </a:solidFill>
                <a:latin typeface="+mj-lt"/>
                <a:cs typeface="Calibri"/>
              </a:rPr>
              <a:t>N</a:t>
            </a:r>
            <a:endParaRPr sz="3200" dirty="0">
              <a:latin typeface="+mj-lt"/>
              <a:cs typeface="Calibri"/>
            </a:endParaRPr>
          </a:p>
          <a:p>
            <a:pPr marL="12700">
              <a:lnSpc>
                <a:spcPts val="2770"/>
              </a:lnSpc>
            </a:pPr>
            <a:r>
              <a:rPr lang="en-US" sz="3200" baseline="1137" dirty="0" smtClean="0">
                <a:solidFill>
                  <a:srgbClr val="7F7E7E"/>
                </a:solidFill>
                <a:cs typeface="Calibri"/>
              </a:rPr>
              <a:t>If candidate does NOT have </a:t>
            </a:r>
            <a:r>
              <a:rPr lang="en-US" sz="3200" i="1" baseline="1137" dirty="0" err="1" smtClean="0">
                <a:solidFill>
                  <a:srgbClr val="7F7E7E"/>
                </a:solidFill>
                <a:cs typeface="Calibri"/>
              </a:rPr>
              <a:t>n_clu</a:t>
            </a:r>
            <a:r>
              <a:rPr lang="en-US" sz="3200" baseline="1137" dirty="0" smtClean="0">
                <a:solidFill>
                  <a:srgbClr val="7F7E7E"/>
                </a:solidFill>
                <a:cs typeface="Calibri"/>
              </a:rPr>
              <a:t> neighbors within </a:t>
            </a:r>
            <a:r>
              <a:rPr lang="en-US" sz="3200" i="1" baseline="1137" dirty="0" smtClean="0">
                <a:solidFill>
                  <a:srgbClr val="7F7E7E"/>
                </a:solidFill>
                <a:cs typeface="Calibri"/>
              </a:rPr>
              <a:t>epsilon</a:t>
            </a:r>
            <a:r>
              <a:rPr lang="en-US" sz="3200" baseline="1137" dirty="0" smtClean="0">
                <a:solidFill>
                  <a:srgbClr val="7F7E7E"/>
                </a:solidFill>
                <a:cs typeface="Calibri"/>
              </a:rPr>
              <a:t>, it is </a:t>
            </a:r>
            <a:r>
              <a:rPr lang="en-US" sz="3200" i="1" baseline="1137" dirty="0" smtClean="0">
                <a:solidFill>
                  <a:srgbClr val="7F7E7E"/>
                </a:solidFill>
                <a:cs typeface="Calibri"/>
              </a:rPr>
              <a:t>density-reachable</a:t>
            </a:r>
            <a:endParaRPr lang="en-US" sz="3200" i="1" baseline="1137" dirty="0">
              <a:solidFill>
                <a:srgbClr val="7F7E7E"/>
              </a:solidFill>
              <a:cs typeface="Calibri"/>
            </a:endParaRPr>
          </a:p>
        </p:txBody>
      </p:sp>
      <p:sp>
        <p:nvSpPr>
          <p:cNvPr id="87" name="object 15"/>
          <p:cNvSpPr txBox="1"/>
          <p:nvPr/>
        </p:nvSpPr>
        <p:spPr>
          <a:xfrm>
            <a:off x="349882" y="369650"/>
            <a:ext cx="1351013" cy="5207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985"/>
              </a:lnSpc>
              <a:spcBef>
                <a:spcPts val="99"/>
              </a:spcBef>
            </a:pPr>
            <a:r>
              <a:rPr sz="2700" spc="0" baseline="3034" dirty="0" smtClean="0">
                <a:solidFill>
                  <a:srgbClr val="215867"/>
                </a:solidFill>
                <a:latin typeface="+mj-lt"/>
                <a:cs typeface="Calibri"/>
              </a:rPr>
              <a:t>epsilon = 1.75</a:t>
            </a:r>
            <a:endParaRPr sz="1800" dirty="0">
              <a:latin typeface="+mj-lt"/>
              <a:cs typeface="Calibri"/>
            </a:endParaRPr>
          </a:p>
          <a:p>
            <a:pPr marL="12700" marR="34289">
              <a:lnSpc>
                <a:spcPts val="2100"/>
              </a:lnSpc>
              <a:spcBef>
                <a:spcPts val="5"/>
              </a:spcBef>
            </a:pPr>
            <a:r>
              <a:rPr sz="2700" spc="0" baseline="1517" dirty="0" smtClean="0">
                <a:solidFill>
                  <a:srgbClr val="215867"/>
                </a:solidFill>
                <a:latin typeface="+mj-lt"/>
                <a:cs typeface="Calibri"/>
              </a:rPr>
              <a:t>n_clu = 3</a:t>
            </a:r>
            <a:endParaRPr sz="1800" dirty="0">
              <a:latin typeface="+mj-lt"/>
              <a:cs typeface="Calibri"/>
            </a:endParaRPr>
          </a:p>
        </p:txBody>
      </p:sp>
      <p:sp>
        <p:nvSpPr>
          <p:cNvPr id="88" name="object 66"/>
          <p:cNvSpPr/>
          <p:nvPr/>
        </p:nvSpPr>
        <p:spPr>
          <a:xfrm>
            <a:off x="4442062" y="973102"/>
            <a:ext cx="1810252" cy="1760707"/>
          </a:xfrm>
          <a:custGeom>
            <a:avLst/>
            <a:gdLst/>
            <a:ahLst/>
            <a:cxnLst/>
            <a:rect l="l" t="t" r="r" b="b"/>
            <a:pathLst>
              <a:path w="1810252" h="1760707">
                <a:moveTo>
                  <a:pt x="0" y="880353"/>
                </a:moveTo>
                <a:lnTo>
                  <a:pt x="3000" y="952556"/>
                </a:lnTo>
                <a:lnTo>
                  <a:pt x="11846" y="1023151"/>
                </a:lnTo>
                <a:lnTo>
                  <a:pt x="26305" y="1091913"/>
                </a:lnTo>
                <a:lnTo>
                  <a:pt x="46143" y="1158614"/>
                </a:lnTo>
                <a:lnTo>
                  <a:pt x="71129" y="1223027"/>
                </a:lnTo>
                <a:lnTo>
                  <a:pt x="101028" y="1284927"/>
                </a:lnTo>
                <a:lnTo>
                  <a:pt x="135608" y="1344087"/>
                </a:lnTo>
                <a:lnTo>
                  <a:pt x="174636" y="1400279"/>
                </a:lnTo>
                <a:lnTo>
                  <a:pt x="217880" y="1453279"/>
                </a:lnTo>
                <a:lnTo>
                  <a:pt x="265105" y="1502858"/>
                </a:lnTo>
                <a:lnTo>
                  <a:pt x="316079" y="1548791"/>
                </a:lnTo>
                <a:lnTo>
                  <a:pt x="370570" y="1590850"/>
                </a:lnTo>
                <a:lnTo>
                  <a:pt x="428344" y="1628810"/>
                </a:lnTo>
                <a:lnTo>
                  <a:pt x="489168" y="1662444"/>
                </a:lnTo>
                <a:lnTo>
                  <a:pt x="552810" y="1691525"/>
                </a:lnTo>
                <a:lnTo>
                  <a:pt x="619036" y="1715826"/>
                </a:lnTo>
                <a:lnTo>
                  <a:pt x="687614" y="1735122"/>
                </a:lnTo>
                <a:lnTo>
                  <a:pt x="758310" y="1749185"/>
                </a:lnTo>
                <a:lnTo>
                  <a:pt x="830892" y="1757789"/>
                </a:lnTo>
                <a:lnTo>
                  <a:pt x="905126" y="1760707"/>
                </a:lnTo>
                <a:lnTo>
                  <a:pt x="979361" y="1757789"/>
                </a:lnTo>
                <a:lnTo>
                  <a:pt x="1051942" y="1749185"/>
                </a:lnTo>
                <a:lnTo>
                  <a:pt x="1122639" y="1735122"/>
                </a:lnTo>
                <a:lnTo>
                  <a:pt x="1191216" y="1715826"/>
                </a:lnTo>
                <a:lnTo>
                  <a:pt x="1257442" y="1691525"/>
                </a:lnTo>
                <a:lnTo>
                  <a:pt x="1321084" y="1662444"/>
                </a:lnTo>
                <a:lnTo>
                  <a:pt x="1381908" y="1628810"/>
                </a:lnTo>
                <a:lnTo>
                  <a:pt x="1439682" y="1590850"/>
                </a:lnTo>
                <a:lnTo>
                  <a:pt x="1494173" y="1548791"/>
                </a:lnTo>
                <a:lnTo>
                  <a:pt x="1545147" y="1502858"/>
                </a:lnTo>
                <a:lnTo>
                  <a:pt x="1592373" y="1453279"/>
                </a:lnTo>
                <a:lnTo>
                  <a:pt x="1635616" y="1400279"/>
                </a:lnTo>
                <a:lnTo>
                  <a:pt x="1674644" y="1344087"/>
                </a:lnTo>
                <a:lnTo>
                  <a:pt x="1709224" y="1284927"/>
                </a:lnTo>
                <a:lnTo>
                  <a:pt x="1739123" y="1223027"/>
                </a:lnTo>
                <a:lnTo>
                  <a:pt x="1764109" y="1158614"/>
                </a:lnTo>
                <a:lnTo>
                  <a:pt x="1783947" y="1091913"/>
                </a:lnTo>
                <a:lnTo>
                  <a:pt x="1798406" y="1023151"/>
                </a:lnTo>
                <a:lnTo>
                  <a:pt x="1807252" y="952556"/>
                </a:lnTo>
                <a:lnTo>
                  <a:pt x="1810252" y="880353"/>
                </a:lnTo>
                <a:lnTo>
                  <a:pt x="1807252" y="808151"/>
                </a:lnTo>
                <a:lnTo>
                  <a:pt x="1798406" y="737555"/>
                </a:lnTo>
                <a:lnTo>
                  <a:pt x="1783947" y="668794"/>
                </a:lnTo>
                <a:lnTo>
                  <a:pt x="1764109" y="602094"/>
                </a:lnTo>
                <a:lnTo>
                  <a:pt x="1739123" y="537680"/>
                </a:lnTo>
                <a:lnTo>
                  <a:pt x="1709224" y="475780"/>
                </a:lnTo>
                <a:lnTo>
                  <a:pt x="1674644" y="416621"/>
                </a:lnTo>
                <a:lnTo>
                  <a:pt x="1635616" y="360428"/>
                </a:lnTo>
                <a:lnTo>
                  <a:pt x="1592373" y="307429"/>
                </a:lnTo>
                <a:lnTo>
                  <a:pt x="1545147" y="257849"/>
                </a:lnTo>
                <a:lnTo>
                  <a:pt x="1494173" y="211917"/>
                </a:lnTo>
                <a:lnTo>
                  <a:pt x="1439682" y="169857"/>
                </a:lnTo>
                <a:lnTo>
                  <a:pt x="1381908" y="131897"/>
                </a:lnTo>
                <a:lnTo>
                  <a:pt x="1321084" y="98263"/>
                </a:lnTo>
                <a:lnTo>
                  <a:pt x="1257442" y="69182"/>
                </a:lnTo>
                <a:lnTo>
                  <a:pt x="1191216" y="44881"/>
                </a:lnTo>
                <a:lnTo>
                  <a:pt x="1122639" y="25585"/>
                </a:lnTo>
                <a:lnTo>
                  <a:pt x="1051942" y="11522"/>
                </a:lnTo>
                <a:lnTo>
                  <a:pt x="979361" y="2918"/>
                </a:lnTo>
                <a:lnTo>
                  <a:pt x="905126" y="0"/>
                </a:lnTo>
                <a:lnTo>
                  <a:pt x="830892" y="2918"/>
                </a:lnTo>
                <a:lnTo>
                  <a:pt x="758310" y="11522"/>
                </a:lnTo>
                <a:lnTo>
                  <a:pt x="687614" y="25585"/>
                </a:lnTo>
                <a:lnTo>
                  <a:pt x="619036" y="44881"/>
                </a:lnTo>
                <a:lnTo>
                  <a:pt x="552810" y="69182"/>
                </a:lnTo>
                <a:lnTo>
                  <a:pt x="489168" y="98263"/>
                </a:lnTo>
                <a:lnTo>
                  <a:pt x="428344" y="131897"/>
                </a:lnTo>
                <a:lnTo>
                  <a:pt x="370570" y="169857"/>
                </a:lnTo>
                <a:lnTo>
                  <a:pt x="316079" y="211917"/>
                </a:lnTo>
                <a:lnTo>
                  <a:pt x="265105" y="257849"/>
                </a:lnTo>
                <a:lnTo>
                  <a:pt x="217880" y="307429"/>
                </a:lnTo>
                <a:lnTo>
                  <a:pt x="174636" y="360428"/>
                </a:lnTo>
                <a:lnTo>
                  <a:pt x="135608" y="416621"/>
                </a:lnTo>
                <a:lnTo>
                  <a:pt x="101028" y="475780"/>
                </a:lnTo>
                <a:lnTo>
                  <a:pt x="71129" y="537680"/>
                </a:lnTo>
                <a:lnTo>
                  <a:pt x="46143" y="602094"/>
                </a:lnTo>
                <a:lnTo>
                  <a:pt x="26305" y="668794"/>
                </a:lnTo>
                <a:lnTo>
                  <a:pt x="11846" y="737555"/>
                </a:lnTo>
                <a:lnTo>
                  <a:pt x="3000" y="808151"/>
                </a:lnTo>
                <a:lnTo>
                  <a:pt x="0" y="880353"/>
                </a:lnTo>
                <a:close/>
              </a:path>
            </a:pathLst>
          </a:custGeom>
          <a:solidFill>
            <a:srgbClr val="FAA657">
              <a:alpha val="51000"/>
            </a:srgbClr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9" name="object 82"/>
          <p:cNvSpPr/>
          <p:nvPr/>
        </p:nvSpPr>
        <p:spPr>
          <a:xfrm>
            <a:off x="4414372" y="54871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0" name="object 84"/>
          <p:cNvSpPr/>
          <p:nvPr/>
        </p:nvSpPr>
        <p:spPr>
          <a:xfrm>
            <a:off x="5399747" y="55212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1" name="object 86"/>
          <p:cNvSpPr/>
          <p:nvPr/>
        </p:nvSpPr>
        <p:spPr>
          <a:xfrm>
            <a:off x="6251551" y="55023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2" name="object 74"/>
          <p:cNvSpPr/>
          <p:nvPr/>
        </p:nvSpPr>
        <p:spPr>
          <a:xfrm>
            <a:off x="2668469" y="519520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3" name="object 72"/>
          <p:cNvSpPr/>
          <p:nvPr/>
        </p:nvSpPr>
        <p:spPr>
          <a:xfrm>
            <a:off x="5959366" y="251737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40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80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57150">
            <a:solidFill>
              <a:srgbClr val="F69545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4" name="object 70"/>
          <p:cNvSpPr/>
          <p:nvPr/>
        </p:nvSpPr>
        <p:spPr>
          <a:xfrm>
            <a:off x="5560113" y="213564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5" name="object 68"/>
          <p:cNvSpPr/>
          <p:nvPr/>
        </p:nvSpPr>
        <p:spPr>
          <a:xfrm>
            <a:off x="5148028" y="1723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6" name="object 66"/>
          <p:cNvSpPr/>
          <p:nvPr/>
        </p:nvSpPr>
        <p:spPr>
          <a:xfrm>
            <a:off x="6872003" y="34121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7" name="object 63"/>
          <p:cNvSpPr/>
          <p:nvPr/>
        </p:nvSpPr>
        <p:spPr>
          <a:xfrm>
            <a:off x="5880842" y="502152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6"/>
                </a:lnTo>
                <a:lnTo>
                  <a:pt x="1583" y="198179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6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2"/>
                </a:lnTo>
                <a:lnTo>
                  <a:pt x="49876" y="299561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6"/>
                </a:lnTo>
                <a:lnTo>
                  <a:pt x="196530" y="342926"/>
                </a:lnTo>
                <a:lnTo>
                  <a:pt x="209650" y="339004"/>
                </a:lnTo>
                <a:lnTo>
                  <a:pt x="222295" y="333936"/>
                </a:lnTo>
                <a:lnTo>
                  <a:pt x="234413" y="327778"/>
                </a:lnTo>
                <a:lnTo>
                  <a:pt x="245953" y="320583"/>
                </a:lnTo>
                <a:lnTo>
                  <a:pt x="256864" y="312409"/>
                </a:lnTo>
                <a:lnTo>
                  <a:pt x="267095" y="303311"/>
                </a:lnTo>
                <a:lnTo>
                  <a:pt x="276595" y="293343"/>
                </a:lnTo>
                <a:lnTo>
                  <a:pt x="285312" y="282562"/>
                </a:lnTo>
                <a:lnTo>
                  <a:pt x="293195" y="271023"/>
                </a:lnTo>
                <a:lnTo>
                  <a:pt x="300193" y="258781"/>
                </a:lnTo>
                <a:lnTo>
                  <a:pt x="306255" y="245892"/>
                </a:lnTo>
                <a:lnTo>
                  <a:pt x="311330" y="232411"/>
                </a:lnTo>
                <a:lnTo>
                  <a:pt x="315366" y="218394"/>
                </a:lnTo>
                <a:lnTo>
                  <a:pt x="318312" y="203896"/>
                </a:lnTo>
                <a:lnTo>
                  <a:pt x="320117" y="188973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9" y="93485"/>
                </a:lnTo>
                <a:lnTo>
                  <a:pt x="296006" y="80986"/>
                </a:lnTo>
                <a:lnTo>
                  <a:pt x="288459" y="69169"/>
                </a:lnTo>
                <a:lnTo>
                  <a:pt x="280058" y="58089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4"/>
                </a:lnTo>
                <a:lnTo>
                  <a:pt x="86318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8" name="object 62"/>
          <p:cNvSpPr/>
          <p:nvPr/>
        </p:nvSpPr>
        <p:spPr>
          <a:xfrm>
            <a:off x="4326962" y="34938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9" name="object 60"/>
          <p:cNvSpPr/>
          <p:nvPr/>
        </p:nvSpPr>
        <p:spPr>
          <a:xfrm>
            <a:off x="3451263" y="457102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0" name="object 58"/>
          <p:cNvSpPr/>
          <p:nvPr/>
        </p:nvSpPr>
        <p:spPr>
          <a:xfrm>
            <a:off x="7513462" y="204543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1" name="object 56"/>
          <p:cNvSpPr/>
          <p:nvPr/>
        </p:nvSpPr>
        <p:spPr>
          <a:xfrm>
            <a:off x="6553321" y="196196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2" name="object 54"/>
          <p:cNvSpPr/>
          <p:nvPr/>
        </p:nvSpPr>
        <p:spPr>
          <a:xfrm>
            <a:off x="7353097" y="275391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3" name="object 52"/>
          <p:cNvSpPr/>
          <p:nvPr/>
        </p:nvSpPr>
        <p:spPr>
          <a:xfrm>
            <a:off x="4696124" y="412086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4" name="object 50"/>
          <p:cNvSpPr/>
          <p:nvPr/>
        </p:nvSpPr>
        <p:spPr>
          <a:xfrm>
            <a:off x="4441297" y="46123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5" name="object 48"/>
          <p:cNvSpPr/>
          <p:nvPr/>
        </p:nvSpPr>
        <p:spPr>
          <a:xfrm>
            <a:off x="3130532" y="40499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6" name="object 42"/>
          <p:cNvSpPr/>
          <p:nvPr/>
        </p:nvSpPr>
        <p:spPr>
          <a:xfrm>
            <a:off x="5748103" y="33118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57150">
            <a:solidFill>
              <a:srgbClr val="F69545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7" name="object 44"/>
          <p:cNvSpPr/>
          <p:nvPr/>
        </p:nvSpPr>
        <p:spPr>
          <a:xfrm>
            <a:off x="5560113" y="25802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8" name="object 46"/>
          <p:cNvSpPr/>
          <p:nvPr/>
        </p:nvSpPr>
        <p:spPr>
          <a:xfrm>
            <a:off x="5421508" y="296447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57150">
            <a:solidFill>
              <a:srgbClr val="F69545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9" name="object 40"/>
          <p:cNvSpPr/>
          <p:nvPr/>
        </p:nvSpPr>
        <p:spPr>
          <a:xfrm>
            <a:off x="5213120" y="49216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0" name="object 38"/>
          <p:cNvSpPr/>
          <p:nvPr/>
        </p:nvSpPr>
        <p:spPr>
          <a:xfrm>
            <a:off x="7032365" y="221911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1" name="object 36"/>
          <p:cNvSpPr/>
          <p:nvPr/>
        </p:nvSpPr>
        <p:spPr>
          <a:xfrm>
            <a:off x="7385165" y="340218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6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7"/>
                </a:lnTo>
                <a:lnTo>
                  <a:pt x="310251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2" name="object 34"/>
          <p:cNvSpPr/>
          <p:nvPr/>
        </p:nvSpPr>
        <p:spPr>
          <a:xfrm>
            <a:off x="5038354" y="24830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3" name="object 32"/>
          <p:cNvSpPr/>
          <p:nvPr/>
        </p:nvSpPr>
        <p:spPr>
          <a:xfrm>
            <a:off x="7192732" y="159327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4" name="object 30"/>
          <p:cNvSpPr/>
          <p:nvPr/>
        </p:nvSpPr>
        <p:spPr>
          <a:xfrm>
            <a:off x="6201572" y="316997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5" name="object 28"/>
          <p:cNvSpPr/>
          <p:nvPr/>
        </p:nvSpPr>
        <p:spPr>
          <a:xfrm>
            <a:off x="4877989" y="532865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6" name="object 26"/>
          <p:cNvSpPr/>
          <p:nvPr/>
        </p:nvSpPr>
        <p:spPr>
          <a:xfrm>
            <a:off x="5581873" y="4521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7" name="object 24"/>
          <p:cNvSpPr/>
          <p:nvPr/>
        </p:nvSpPr>
        <p:spPr>
          <a:xfrm>
            <a:off x="3528670" y="35173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8" name="object 22"/>
          <p:cNvSpPr/>
          <p:nvPr/>
        </p:nvSpPr>
        <p:spPr>
          <a:xfrm>
            <a:off x="3252845" y="520650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9" name="object 20"/>
          <p:cNvSpPr/>
          <p:nvPr/>
        </p:nvSpPr>
        <p:spPr>
          <a:xfrm>
            <a:off x="3849401" y="4051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0" name="object 18"/>
          <p:cNvSpPr/>
          <p:nvPr/>
        </p:nvSpPr>
        <p:spPr>
          <a:xfrm>
            <a:off x="6713687" y="269105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1" name="object 6"/>
          <p:cNvSpPr txBox="1"/>
          <p:nvPr/>
        </p:nvSpPr>
        <p:spPr>
          <a:xfrm>
            <a:off x="1332125" y="3759280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grpSp>
        <p:nvGrpSpPr>
          <p:cNvPr id="122" name="Group 121"/>
          <p:cNvGrpSpPr/>
          <p:nvPr/>
        </p:nvGrpSpPr>
        <p:grpSpPr>
          <a:xfrm>
            <a:off x="2383438" y="1888930"/>
            <a:ext cx="6303362" cy="4054670"/>
            <a:chOff x="2343901" y="1923700"/>
            <a:chExt cx="6303362" cy="4054670"/>
          </a:xfrm>
        </p:grpSpPr>
        <p:sp>
          <p:nvSpPr>
            <p:cNvPr id="123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124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8" name="object 5"/>
          <p:cNvSpPr txBox="1"/>
          <p:nvPr/>
        </p:nvSpPr>
        <p:spPr>
          <a:xfrm>
            <a:off x="2101916" y="369650"/>
            <a:ext cx="6889684" cy="1166986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 marR="41909">
              <a:lnSpc>
                <a:spcPts val="3454"/>
              </a:lnSpc>
              <a:spcBef>
                <a:spcPts val="172"/>
              </a:spcBef>
            </a:pPr>
            <a:r>
              <a:rPr sz="4800" spc="0" baseline="2560" dirty="0" smtClean="0">
                <a:solidFill>
                  <a:srgbClr val="4E81BC"/>
                </a:solidFill>
                <a:latin typeface="+mj-lt"/>
                <a:cs typeface="Calibri"/>
              </a:rPr>
              <a:t>DBSC</a:t>
            </a:r>
            <a:r>
              <a:rPr sz="4800" spc="-4" baseline="2560" dirty="0" smtClean="0">
                <a:solidFill>
                  <a:srgbClr val="4E81BC"/>
                </a:solidFill>
                <a:latin typeface="+mj-lt"/>
                <a:cs typeface="Calibri"/>
              </a:rPr>
              <a:t>A</a:t>
            </a:r>
            <a:r>
              <a:rPr sz="4800" spc="0" baseline="2560" dirty="0" smtClean="0">
                <a:solidFill>
                  <a:srgbClr val="4E81BC"/>
                </a:solidFill>
                <a:latin typeface="+mj-lt"/>
                <a:cs typeface="Calibri"/>
              </a:rPr>
              <a:t>N</a:t>
            </a:r>
            <a:endParaRPr sz="3200" dirty="0">
              <a:latin typeface="+mj-lt"/>
              <a:cs typeface="Calibri"/>
            </a:endParaRPr>
          </a:p>
          <a:p>
            <a:pPr marL="12700">
              <a:lnSpc>
                <a:spcPts val="2770"/>
              </a:lnSpc>
            </a:pPr>
            <a:r>
              <a:rPr lang="en-US" sz="3200" baseline="1137" dirty="0" smtClean="0">
                <a:solidFill>
                  <a:srgbClr val="7F7E7E"/>
                </a:solidFill>
                <a:cs typeface="Calibri"/>
              </a:rPr>
              <a:t>Keep going until you find the entire cluster and no point is left unvisited by this chain reaction</a:t>
            </a:r>
            <a:endParaRPr lang="en-US" sz="3200" i="1" baseline="1137" dirty="0">
              <a:solidFill>
                <a:srgbClr val="7F7E7E"/>
              </a:solidFill>
              <a:cs typeface="Calibri"/>
            </a:endParaRPr>
          </a:p>
        </p:txBody>
      </p:sp>
      <p:sp>
        <p:nvSpPr>
          <p:cNvPr id="89" name="object 15"/>
          <p:cNvSpPr txBox="1"/>
          <p:nvPr/>
        </p:nvSpPr>
        <p:spPr>
          <a:xfrm>
            <a:off x="349882" y="369650"/>
            <a:ext cx="1351013" cy="5207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985"/>
              </a:lnSpc>
              <a:spcBef>
                <a:spcPts val="99"/>
              </a:spcBef>
            </a:pPr>
            <a:r>
              <a:rPr sz="2700" spc="0" baseline="3034" dirty="0" smtClean="0">
                <a:solidFill>
                  <a:srgbClr val="215867"/>
                </a:solidFill>
                <a:latin typeface="+mj-lt"/>
                <a:cs typeface="Calibri"/>
              </a:rPr>
              <a:t>epsilon = 1.75</a:t>
            </a:r>
            <a:endParaRPr sz="1800" dirty="0">
              <a:latin typeface="+mj-lt"/>
              <a:cs typeface="Calibri"/>
            </a:endParaRPr>
          </a:p>
          <a:p>
            <a:pPr marL="12700" marR="34289">
              <a:lnSpc>
                <a:spcPts val="2100"/>
              </a:lnSpc>
              <a:spcBef>
                <a:spcPts val="5"/>
              </a:spcBef>
            </a:pPr>
            <a:r>
              <a:rPr sz="2700" spc="0" baseline="1517" dirty="0" smtClean="0">
                <a:solidFill>
                  <a:srgbClr val="215867"/>
                </a:solidFill>
                <a:latin typeface="+mj-lt"/>
                <a:cs typeface="Calibri"/>
              </a:rPr>
              <a:t>n_clu = 3</a:t>
            </a:r>
            <a:endParaRPr sz="1800" dirty="0">
              <a:latin typeface="+mj-lt"/>
              <a:cs typeface="Calibri"/>
            </a:endParaRPr>
          </a:p>
        </p:txBody>
      </p:sp>
      <p:sp>
        <p:nvSpPr>
          <p:cNvPr id="90" name="object 66"/>
          <p:cNvSpPr/>
          <p:nvPr/>
        </p:nvSpPr>
        <p:spPr>
          <a:xfrm>
            <a:off x="5235487" y="1747308"/>
            <a:ext cx="1810252" cy="1760707"/>
          </a:xfrm>
          <a:custGeom>
            <a:avLst/>
            <a:gdLst/>
            <a:ahLst/>
            <a:cxnLst/>
            <a:rect l="l" t="t" r="r" b="b"/>
            <a:pathLst>
              <a:path w="1810252" h="1760707">
                <a:moveTo>
                  <a:pt x="0" y="880353"/>
                </a:moveTo>
                <a:lnTo>
                  <a:pt x="3000" y="952556"/>
                </a:lnTo>
                <a:lnTo>
                  <a:pt x="11846" y="1023151"/>
                </a:lnTo>
                <a:lnTo>
                  <a:pt x="26305" y="1091913"/>
                </a:lnTo>
                <a:lnTo>
                  <a:pt x="46143" y="1158614"/>
                </a:lnTo>
                <a:lnTo>
                  <a:pt x="71129" y="1223027"/>
                </a:lnTo>
                <a:lnTo>
                  <a:pt x="101028" y="1284927"/>
                </a:lnTo>
                <a:lnTo>
                  <a:pt x="135608" y="1344087"/>
                </a:lnTo>
                <a:lnTo>
                  <a:pt x="174636" y="1400279"/>
                </a:lnTo>
                <a:lnTo>
                  <a:pt x="217880" y="1453279"/>
                </a:lnTo>
                <a:lnTo>
                  <a:pt x="265105" y="1502858"/>
                </a:lnTo>
                <a:lnTo>
                  <a:pt x="316079" y="1548791"/>
                </a:lnTo>
                <a:lnTo>
                  <a:pt x="370570" y="1590850"/>
                </a:lnTo>
                <a:lnTo>
                  <a:pt x="428344" y="1628810"/>
                </a:lnTo>
                <a:lnTo>
                  <a:pt x="489168" y="1662444"/>
                </a:lnTo>
                <a:lnTo>
                  <a:pt x="552810" y="1691525"/>
                </a:lnTo>
                <a:lnTo>
                  <a:pt x="619036" y="1715826"/>
                </a:lnTo>
                <a:lnTo>
                  <a:pt x="687614" y="1735122"/>
                </a:lnTo>
                <a:lnTo>
                  <a:pt x="758310" y="1749185"/>
                </a:lnTo>
                <a:lnTo>
                  <a:pt x="830892" y="1757789"/>
                </a:lnTo>
                <a:lnTo>
                  <a:pt x="905126" y="1760707"/>
                </a:lnTo>
                <a:lnTo>
                  <a:pt x="979361" y="1757789"/>
                </a:lnTo>
                <a:lnTo>
                  <a:pt x="1051942" y="1749185"/>
                </a:lnTo>
                <a:lnTo>
                  <a:pt x="1122639" y="1735122"/>
                </a:lnTo>
                <a:lnTo>
                  <a:pt x="1191216" y="1715826"/>
                </a:lnTo>
                <a:lnTo>
                  <a:pt x="1257442" y="1691525"/>
                </a:lnTo>
                <a:lnTo>
                  <a:pt x="1321084" y="1662444"/>
                </a:lnTo>
                <a:lnTo>
                  <a:pt x="1381908" y="1628810"/>
                </a:lnTo>
                <a:lnTo>
                  <a:pt x="1439682" y="1590850"/>
                </a:lnTo>
                <a:lnTo>
                  <a:pt x="1494173" y="1548791"/>
                </a:lnTo>
                <a:lnTo>
                  <a:pt x="1545147" y="1502858"/>
                </a:lnTo>
                <a:lnTo>
                  <a:pt x="1592373" y="1453279"/>
                </a:lnTo>
                <a:lnTo>
                  <a:pt x="1635616" y="1400279"/>
                </a:lnTo>
                <a:lnTo>
                  <a:pt x="1674644" y="1344087"/>
                </a:lnTo>
                <a:lnTo>
                  <a:pt x="1709224" y="1284927"/>
                </a:lnTo>
                <a:lnTo>
                  <a:pt x="1739123" y="1223027"/>
                </a:lnTo>
                <a:lnTo>
                  <a:pt x="1764109" y="1158614"/>
                </a:lnTo>
                <a:lnTo>
                  <a:pt x="1783947" y="1091913"/>
                </a:lnTo>
                <a:lnTo>
                  <a:pt x="1798406" y="1023151"/>
                </a:lnTo>
                <a:lnTo>
                  <a:pt x="1807252" y="952556"/>
                </a:lnTo>
                <a:lnTo>
                  <a:pt x="1810252" y="880353"/>
                </a:lnTo>
                <a:lnTo>
                  <a:pt x="1807252" y="808151"/>
                </a:lnTo>
                <a:lnTo>
                  <a:pt x="1798406" y="737555"/>
                </a:lnTo>
                <a:lnTo>
                  <a:pt x="1783947" y="668794"/>
                </a:lnTo>
                <a:lnTo>
                  <a:pt x="1764109" y="602094"/>
                </a:lnTo>
                <a:lnTo>
                  <a:pt x="1739123" y="537680"/>
                </a:lnTo>
                <a:lnTo>
                  <a:pt x="1709224" y="475780"/>
                </a:lnTo>
                <a:lnTo>
                  <a:pt x="1674644" y="416621"/>
                </a:lnTo>
                <a:lnTo>
                  <a:pt x="1635616" y="360428"/>
                </a:lnTo>
                <a:lnTo>
                  <a:pt x="1592373" y="307429"/>
                </a:lnTo>
                <a:lnTo>
                  <a:pt x="1545147" y="257849"/>
                </a:lnTo>
                <a:lnTo>
                  <a:pt x="1494173" y="211917"/>
                </a:lnTo>
                <a:lnTo>
                  <a:pt x="1439682" y="169857"/>
                </a:lnTo>
                <a:lnTo>
                  <a:pt x="1381908" y="131897"/>
                </a:lnTo>
                <a:lnTo>
                  <a:pt x="1321084" y="98263"/>
                </a:lnTo>
                <a:lnTo>
                  <a:pt x="1257442" y="69182"/>
                </a:lnTo>
                <a:lnTo>
                  <a:pt x="1191216" y="44881"/>
                </a:lnTo>
                <a:lnTo>
                  <a:pt x="1122639" y="25585"/>
                </a:lnTo>
                <a:lnTo>
                  <a:pt x="1051942" y="11522"/>
                </a:lnTo>
                <a:lnTo>
                  <a:pt x="979361" y="2918"/>
                </a:lnTo>
                <a:lnTo>
                  <a:pt x="905126" y="0"/>
                </a:lnTo>
                <a:lnTo>
                  <a:pt x="830892" y="2918"/>
                </a:lnTo>
                <a:lnTo>
                  <a:pt x="758310" y="11522"/>
                </a:lnTo>
                <a:lnTo>
                  <a:pt x="687614" y="25585"/>
                </a:lnTo>
                <a:lnTo>
                  <a:pt x="619036" y="44881"/>
                </a:lnTo>
                <a:lnTo>
                  <a:pt x="552810" y="69182"/>
                </a:lnTo>
                <a:lnTo>
                  <a:pt x="489168" y="98263"/>
                </a:lnTo>
                <a:lnTo>
                  <a:pt x="428344" y="131897"/>
                </a:lnTo>
                <a:lnTo>
                  <a:pt x="370570" y="169857"/>
                </a:lnTo>
                <a:lnTo>
                  <a:pt x="316079" y="211917"/>
                </a:lnTo>
                <a:lnTo>
                  <a:pt x="265105" y="257849"/>
                </a:lnTo>
                <a:lnTo>
                  <a:pt x="217880" y="307429"/>
                </a:lnTo>
                <a:lnTo>
                  <a:pt x="174636" y="360428"/>
                </a:lnTo>
                <a:lnTo>
                  <a:pt x="135608" y="416621"/>
                </a:lnTo>
                <a:lnTo>
                  <a:pt x="101028" y="475780"/>
                </a:lnTo>
                <a:lnTo>
                  <a:pt x="71129" y="537680"/>
                </a:lnTo>
                <a:lnTo>
                  <a:pt x="46143" y="602094"/>
                </a:lnTo>
                <a:lnTo>
                  <a:pt x="26305" y="668794"/>
                </a:lnTo>
                <a:lnTo>
                  <a:pt x="11846" y="737555"/>
                </a:lnTo>
                <a:lnTo>
                  <a:pt x="3000" y="808151"/>
                </a:lnTo>
                <a:lnTo>
                  <a:pt x="0" y="880353"/>
                </a:lnTo>
                <a:close/>
              </a:path>
            </a:pathLst>
          </a:custGeom>
          <a:solidFill>
            <a:srgbClr val="FAA657">
              <a:alpha val="51000"/>
            </a:srgbClr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1" name="object 82"/>
          <p:cNvSpPr/>
          <p:nvPr/>
        </p:nvSpPr>
        <p:spPr>
          <a:xfrm>
            <a:off x="4414372" y="54871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2" name="object 84"/>
          <p:cNvSpPr/>
          <p:nvPr/>
        </p:nvSpPr>
        <p:spPr>
          <a:xfrm>
            <a:off x="5399747" y="55212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3" name="object 86"/>
          <p:cNvSpPr/>
          <p:nvPr/>
        </p:nvSpPr>
        <p:spPr>
          <a:xfrm>
            <a:off x="6251551" y="55023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4" name="object 74"/>
          <p:cNvSpPr/>
          <p:nvPr/>
        </p:nvSpPr>
        <p:spPr>
          <a:xfrm>
            <a:off x="2668469" y="519520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5" name="object 72"/>
          <p:cNvSpPr/>
          <p:nvPr/>
        </p:nvSpPr>
        <p:spPr>
          <a:xfrm>
            <a:off x="5959366" y="251737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40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80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57150">
            <a:solidFill>
              <a:srgbClr val="F69545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6" name="object 70"/>
          <p:cNvSpPr/>
          <p:nvPr/>
        </p:nvSpPr>
        <p:spPr>
          <a:xfrm>
            <a:off x="5560113" y="213564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7" name="object 68"/>
          <p:cNvSpPr/>
          <p:nvPr/>
        </p:nvSpPr>
        <p:spPr>
          <a:xfrm>
            <a:off x="5148028" y="1723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8" name="object 66"/>
          <p:cNvSpPr/>
          <p:nvPr/>
        </p:nvSpPr>
        <p:spPr>
          <a:xfrm>
            <a:off x="6872003" y="34121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9" name="object 63"/>
          <p:cNvSpPr/>
          <p:nvPr/>
        </p:nvSpPr>
        <p:spPr>
          <a:xfrm>
            <a:off x="5880842" y="502152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6"/>
                </a:lnTo>
                <a:lnTo>
                  <a:pt x="1583" y="198179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6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2"/>
                </a:lnTo>
                <a:lnTo>
                  <a:pt x="49876" y="299561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6"/>
                </a:lnTo>
                <a:lnTo>
                  <a:pt x="196530" y="342926"/>
                </a:lnTo>
                <a:lnTo>
                  <a:pt x="209650" y="339004"/>
                </a:lnTo>
                <a:lnTo>
                  <a:pt x="222295" y="333936"/>
                </a:lnTo>
                <a:lnTo>
                  <a:pt x="234413" y="327778"/>
                </a:lnTo>
                <a:lnTo>
                  <a:pt x="245953" y="320583"/>
                </a:lnTo>
                <a:lnTo>
                  <a:pt x="256864" y="312409"/>
                </a:lnTo>
                <a:lnTo>
                  <a:pt x="267095" y="303311"/>
                </a:lnTo>
                <a:lnTo>
                  <a:pt x="276595" y="293343"/>
                </a:lnTo>
                <a:lnTo>
                  <a:pt x="285312" y="282562"/>
                </a:lnTo>
                <a:lnTo>
                  <a:pt x="293195" y="271023"/>
                </a:lnTo>
                <a:lnTo>
                  <a:pt x="300193" y="258781"/>
                </a:lnTo>
                <a:lnTo>
                  <a:pt x="306255" y="245892"/>
                </a:lnTo>
                <a:lnTo>
                  <a:pt x="311330" y="232411"/>
                </a:lnTo>
                <a:lnTo>
                  <a:pt x="315366" y="218394"/>
                </a:lnTo>
                <a:lnTo>
                  <a:pt x="318312" y="203896"/>
                </a:lnTo>
                <a:lnTo>
                  <a:pt x="320117" y="188973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9" y="93485"/>
                </a:lnTo>
                <a:lnTo>
                  <a:pt x="296006" y="80986"/>
                </a:lnTo>
                <a:lnTo>
                  <a:pt x="288459" y="69169"/>
                </a:lnTo>
                <a:lnTo>
                  <a:pt x="280058" y="58089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4"/>
                </a:lnTo>
                <a:lnTo>
                  <a:pt x="86318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0" name="object 62"/>
          <p:cNvSpPr/>
          <p:nvPr/>
        </p:nvSpPr>
        <p:spPr>
          <a:xfrm>
            <a:off x="4326962" y="34938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1" name="object 60"/>
          <p:cNvSpPr/>
          <p:nvPr/>
        </p:nvSpPr>
        <p:spPr>
          <a:xfrm>
            <a:off x="3451263" y="457102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2" name="object 58"/>
          <p:cNvSpPr/>
          <p:nvPr/>
        </p:nvSpPr>
        <p:spPr>
          <a:xfrm>
            <a:off x="7513462" y="204543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3" name="object 56"/>
          <p:cNvSpPr/>
          <p:nvPr/>
        </p:nvSpPr>
        <p:spPr>
          <a:xfrm>
            <a:off x="6553321" y="196196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4" name="object 54"/>
          <p:cNvSpPr/>
          <p:nvPr/>
        </p:nvSpPr>
        <p:spPr>
          <a:xfrm>
            <a:off x="7353097" y="275391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5" name="object 52"/>
          <p:cNvSpPr/>
          <p:nvPr/>
        </p:nvSpPr>
        <p:spPr>
          <a:xfrm>
            <a:off x="4696124" y="412086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6" name="object 50"/>
          <p:cNvSpPr/>
          <p:nvPr/>
        </p:nvSpPr>
        <p:spPr>
          <a:xfrm>
            <a:off x="4441297" y="46123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7" name="object 48"/>
          <p:cNvSpPr/>
          <p:nvPr/>
        </p:nvSpPr>
        <p:spPr>
          <a:xfrm>
            <a:off x="3130532" y="40499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8" name="object 42"/>
          <p:cNvSpPr/>
          <p:nvPr/>
        </p:nvSpPr>
        <p:spPr>
          <a:xfrm>
            <a:off x="5748103" y="33118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57150">
            <a:solidFill>
              <a:srgbClr val="F69545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9" name="object 44"/>
          <p:cNvSpPr/>
          <p:nvPr/>
        </p:nvSpPr>
        <p:spPr>
          <a:xfrm>
            <a:off x="5560113" y="25802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0" name="object 46"/>
          <p:cNvSpPr/>
          <p:nvPr/>
        </p:nvSpPr>
        <p:spPr>
          <a:xfrm>
            <a:off x="5421508" y="296447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57150">
            <a:solidFill>
              <a:srgbClr val="F69545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1" name="object 40"/>
          <p:cNvSpPr/>
          <p:nvPr/>
        </p:nvSpPr>
        <p:spPr>
          <a:xfrm>
            <a:off x="5213120" y="49216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2" name="object 38"/>
          <p:cNvSpPr/>
          <p:nvPr/>
        </p:nvSpPr>
        <p:spPr>
          <a:xfrm>
            <a:off x="7032365" y="221911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3" name="object 36"/>
          <p:cNvSpPr/>
          <p:nvPr/>
        </p:nvSpPr>
        <p:spPr>
          <a:xfrm>
            <a:off x="7385165" y="340218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6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7"/>
                </a:lnTo>
                <a:lnTo>
                  <a:pt x="310251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4" name="object 34"/>
          <p:cNvSpPr/>
          <p:nvPr/>
        </p:nvSpPr>
        <p:spPr>
          <a:xfrm>
            <a:off x="5038354" y="24830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5" name="object 32"/>
          <p:cNvSpPr/>
          <p:nvPr/>
        </p:nvSpPr>
        <p:spPr>
          <a:xfrm>
            <a:off x="7192732" y="159327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6" name="object 30"/>
          <p:cNvSpPr/>
          <p:nvPr/>
        </p:nvSpPr>
        <p:spPr>
          <a:xfrm>
            <a:off x="6201572" y="316997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57150">
            <a:solidFill>
              <a:srgbClr val="F69545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7" name="object 28"/>
          <p:cNvSpPr/>
          <p:nvPr/>
        </p:nvSpPr>
        <p:spPr>
          <a:xfrm>
            <a:off x="4877989" y="532865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8" name="object 26"/>
          <p:cNvSpPr/>
          <p:nvPr/>
        </p:nvSpPr>
        <p:spPr>
          <a:xfrm>
            <a:off x="5581873" y="4521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9" name="object 24"/>
          <p:cNvSpPr/>
          <p:nvPr/>
        </p:nvSpPr>
        <p:spPr>
          <a:xfrm>
            <a:off x="3528670" y="35173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0" name="object 22"/>
          <p:cNvSpPr/>
          <p:nvPr/>
        </p:nvSpPr>
        <p:spPr>
          <a:xfrm>
            <a:off x="3252845" y="520650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1" name="object 20"/>
          <p:cNvSpPr/>
          <p:nvPr/>
        </p:nvSpPr>
        <p:spPr>
          <a:xfrm>
            <a:off x="3849401" y="4051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2" name="object 18"/>
          <p:cNvSpPr/>
          <p:nvPr/>
        </p:nvSpPr>
        <p:spPr>
          <a:xfrm>
            <a:off x="6713687" y="269105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57150">
            <a:solidFill>
              <a:srgbClr val="F69545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3" name="object 6"/>
          <p:cNvSpPr txBox="1"/>
          <p:nvPr/>
        </p:nvSpPr>
        <p:spPr>
          <a:xfrm>
            <a:off x="1332125" y="3759280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grpSp>
        <p:nvGrpSpPr>
          <p:cNvPr id="124" name="Group 123"/>
          <p:cNvGrpSpPr/>
          <p:nvPr/>
        </p:nvGrpSpPr>
        <p:grpSpPr>
          <a:xfrm>
            <a:off x="2383438" y="1888930"/>
            <a:ext cx="6303362" cy="4054670"/>
            <a:chOff x="2343901" y="1923700"/>
            <a:chExt cx="6303362" cy="4054670"/>
          </a:xfrm>
        </p:grpSpPr>
        <p:sp>
          <p:nvSpPr>
            <p:cNvPr id="125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126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8" name="object 5"/>
          <p:cNvSpPr txBox="1"/>
          <p:nvPr/>
        </p:nvSpPr>
        <p:spPr>
          <a:xfrm>
            <a:off x="2101916" y="369650"/>
            <a:ext cx="6889684" cy="1166986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 marR="41909">
              <a:lnSpc>
                <a:spcPts val="3454"/>
              </a:lnSpc>
              <a:spcBef>
                <a:spcPts val="172"/>
              </a:spcBef>
            </a:pPr>
            <a:r>
              <a:rPr sz="4800" spc="0" baseline="2560" dirty="0" smtClean="0">
                <a:solidFill>
                  <a:srgbClr val="4E81BC"/>
                </a:solidFill>
                <a:latin typeface="+mj-lt"/>
                <a:cs typeface="Calibri"/>
              </a:rPr>
              <a:t>DBSC</a:t>
            </a:r>
            <a:r>
              <a:rPr sz="4800" spc="-4" baseline="2560" dirty="0" smtClean="0">
                <a:solidFill>
                  <a:srgbClr val="4E81BC"/>
                </a:solidFill>
                <a:latin typeface="+mj-lt"/>
                <a:cs typeface="Calibri"/>
              </a:rPr>
              <a:t>A</a:t>
            </a:r>
            <a:r>
              <a:rPr sz="4800" spc="0" baseline="2560" dirty="0" smtClean="0">
                <a:solidFill>
                  <a:srgbClr val="4E81BC"/>
                </a:solidFill>
                <a:latin typeface="+mj-lt"/>
                <a:cs typeface="Calibri"/>
              </a:rPr>
              <a:t>N</a:t>
            </a:r>
            <a:endParaRPr sz="3200" dirty="0">
              <a:latin typeface="+mj-lt"/>
              <a:cs typeface="Calibri"/>
            </a:endParaRPr>
          </a:p>
          <a:p>
            <a:pPr marL="12700">
              <a:lnSpc>
                <a:spcPts val="2770"/>
              </a:lnSpc>
            </a:pPr>
            <a:r>
              <a:rPr lang="en-US" sz="3200" baseline="1137" dirty="0" smtClean="0">
                <a:solidFill>
                  <a:srgbClr val="7F7E7E"/>
                </a:solidFill>
                <a:cs typeface="Calibri"/>
              </a:rPr>
              <a:t>Keep going until you find the entire cluster and no point is left unvisited by this chain reaction</a:t>
            </a:r>
            <a:endParaRPr lang="en-US" sz="3200" i="1" baseline="1137" dirty="0">
              <a:solidFill>
                <a:srgbClr val="7F7E7E"/>
              </a:solidFill>
              <a:cs typeface="Calibri"/>
            </a:endParaRPr>
          </a:p>
        </p:txBody>
      </p:sp>
      <p:sp>
        <p:nvSpPr>
          <p:cNvPr id="89" name="object 15"/>
          <p:cNvSpPr txBox="1"/>
          <p:nvPr/>
        </p:nvSpPr>
        <p:spPr>
          <a:xfrm>
            <a:off x="349882" y="369650"/>
            <a:ext cx="1351013" cy="5207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985"/>
              </a:lnSpc>
              <a:spcBef>
                <a:spcPts val="99"/>
              </a:spcBef>
            </a:pPr>
            <a:r>
              <a:rPr sz="2700" spc="0" baseline="3034" dirty="0" smtClean="0">
                <a:solidFill>
                  <a:srgbClr val="215867"/>
                </a:solidFill>
                <a:latin typeface="+mj-lt"/>
                <a:cs typeface="Calibri"/>
              </a:rPr>
              <a:t>epsilon = 1.75</a:t>
            </a:r>
            <a:endParaRPr sz="1800" dirty="0">
              <a:latin typeface="+mj-lt"/>
              <a:cs typeface="Calibri"/>
            </a:endParaRPr>
          </a:p>
          <a:p>
            <a:pPr marL="12700" marR="34289">
              <a:lnSpc>
                <a:spcPts val="2100"/>
              </a:lnSpc>
              <a:spcBef>
                <a:spcPts val="5"/>
              </a:spcBef>
            </a:pPr>
            <a:r>
              <a:rPr sz="2700" spc="0" baseline="1517" dirty="0" smtClean="0">
                <a:solidFill>
                  <a:srgbClr val="215867"/>
                </a:solidFill>
                <a:latin typeface="+mj-lt"/>
                <a:cs typeface="Calibri"/>
              </a:rPr>
              <a:t>n_clu = 3</a:t>
            </a:r>
            <a:endParaRPr sz="1800" dirty="0">
              <a:latin typeface="+mj-lt"/>
              <a:cs typeface="Calibri"/>
            </a:endParaRPr>
          </a:p>
        </p:txBody>
      </p:sp>
      <p:sp>
        <p:nvSpPr>
          <p:cNvPr id="90" name="object 66"/>
          <p:cNvSpPr/>
          <p:nvPr/>
        </p:nvSpPr>
        <p:spPr>
          <a:xfrm>
            <a:off x="4709777" y="2257064"/>
            <a:ext cx="1810252" cy="1760707"/>
          </a:xfrm>
          <a:custGeom>
            <a:avLst/>
            <a:gdLst/>
            <a:ahLst/>
            <a:cxnLst/>
            <a:rect l="l" t="t" r="r" b="b"/>
            <a:pathLst>
              <a:path w="1810252" h="1760707">
                <a:moveTo>
                  <a:pt x="0" y="880353"/>
                </a:moveTo>
                <a:lnTo>
                  <a:pt x="3000" y="952556"/>
                </a:lnTo>
                <a:lnTo>
                  <a:pt x="11846" y="1023151"/>
                </a:lnTo>
                <a:lnTo>
                  <a:pt x="26305" y="1091913"/>
                </a:lnTo>
                <a:lnTo>
                  <a:pt x="46143" y="1158614"/>
                </a:lnTo>
                <a:lnTo>
                  <a:pt x="71129" y="1223027"/>
                </a:lnTo>
                <a:lnTo>
                  <a:pt x="101028" y="1284927"/>
                </a:lnTo>
                <a:lnTo>
                  <a:pt x="135608" y="1344087"/>
                </a:lnTo>
                <a:lnTo>
                  <a:pt x="174636" y="1400279"/>
                </a:lnTo>
                <a:lnTo>
                  <a:pt x="217880" y="1453279"/>
                </a:lnTo>
                <a:lnTo>
                  <a:pt x="265105" y="1502858"/>
                </a:lnTo>
                <a:lnTo>
                  <a:pt x="316079" y="1548791"/>
                </a:lnTo>
                <a:lnTo>
                  <a:pt x="370570" y="1590850"/>
                </a:lnTo>
                <a:lnTo>
                  <a:pt x="428344" y="1628810"/>
                </a:lnTo>
                <a:lnTo>
                  <a:pt x="489168" y="1662444"/>
                </a:lnTo>
                <a:lnTo>
                  <a:pt x="552810" y="1691525"/>
                </a:lnTo>
                <a:lnTo>
                  <a:pt x="619036" y="1715826"/>
                </a:lnTo>
                <a:lnTo>
                  <a:pt x="687614" y="1735122"/>
                </a:lnTo>
                <a:lnTo>
                  <a:pt x="758310" y="1749185"/>
                </a:lnTo>
                <a:lnTo>
                  <a:pt x="830892" y="1757789"/>
                </a:lnTo>
                <a:lnTo>
                  <a:pt x="905126" y="1760707"/>
                </a:lnTo>
                <a:lnTo>
                  <a:pt x="979361" y="1757789"/>
                </a:lnTo>
                <a:lnTo>
                  <a:pt x="1051942" y="1749185"/>
                </a:lnTo>
                <a:lnTo>
                  <a:pt x="1122639" y="1735122"/>
                </a:lnTo>
                <a:lnTo>
                  <a:pt x="1191216" y="1715826"/>
                </a:lnTo>
                <a:lnTo>
                  <a:pt x="1257442" y="1691525"/>
                </a:lnTo>
                <a:lnTo>
                  <a:pt x="1321084" y="1662444"/>
                </a:lnTo>
                <a:lnTo>
                  <a:pt x="1381908" y="1628810"/>
                </a:lnTo>
                <a:lnTo>
                  <a:pt x="1439682" y="1590850"/>
                </a:lnTo>
                <a:lnTo>
                  <a:pt x="1494173" y="1548791"/>
                </a:lnTo>
                <a:lnTo>
                  <a:pt x="1545147" y="1502858"/>
                </a:lnTo>
                <a:lnTo>
                  <a:pt x="1592373" y="1453279"/>
                </a:lnTo>
                <a:lnTo>
                  <a:pt x="1635616" y="1400279"/>
                </a:lnTo>
                <a:lnTo>
                  <a:pt x="1674644" y="1344087"/>
                </a:lnTo>
                <a:lnTo>
                  <a:pt x="1709224" y="1284927"/>
                </a:lnTo>
                <a:lnTo>
                  <a:pt x="1739123" y="1223027"/>
                </a:lnTo>
                <a:lnTo>
                  <a:pt x="1764109" y="1158614"/>
                </a:lnTo>
                <a:lnTo>
                  <a:pt x="1783947" y="1091913"/>
                </a:lnTo>
                <a:lnTo>
                  <a:pt x="1798406" y="1023151"/>
                </a:lnTo>
                <a:lnTo>
                  <a:pt x="1807252" y="952556"/>
                </a:lnTo>
                <a:lnTo>
                  <a:pt x="1810252" y="880353"/>
                </a:lnTo>
                <a:lnTo>
                  <a:pt x="1807252" y="808151"/>
                </a:lnTo>
                <a:lnTo>
                  <a:pt x="1798406" y="737555"/>
                </a:lnTo>
                <a:lnTo>
                  <a:pt x="1783947" y="668794"/>
                </a:lnTo>
                <a:lnTo>
                  <a:pt x="1764109" y="602094"/>
                </a:lnTo>
                <a:lnTo>
                  <a:pt x="1739123" y="537680"/>
                </a:lnTo>
                <a:lnTo>
                  <a:pt x="1709224" y="475780"/>
                </a:lnTo>
                <a:lnTo>
                  <a:pt x="1674644" y="416621"/>
                </a:lnTo>
                <a:lnTo>
                  <a:pt x="1635616" y="360428"/>
                </a:lnTo>
                <a:lnTo>
                  <a:pt x="1592373" y="307429"/>
                </a:lnTo>
                <a:lnTo>
                  <a:pt x="1545147" y="257849"/>
                </a:lnTo>
                <a:lnTo>
                  <a:pt x="1494173" y="211917"/>
                </a:lnTo>
                <a:lnTo>
                  <a:pt x="1439682" y="169857"/>
                </a:lnTo>
                <a:lnTo>
                  <a:pt x="1381908" y="131897"/>
                </a:lnTo>
                <a:lnTo>
                  <a:pt x="1321084" y="98263"/>
                </a:lnTo>
                <a:lnTo>
                  <a:pt x="1257442" y="69182"/>
                </a:lnTo>
                <a:lnTo>
                  <a:pt x="1191216" y="44881"/>
                </a:lnTo>
                <a:lnTo>
                  <a:pt x="1122639" y="25585"/>
                </a:lnTo>
                <a:lnTo>
                  <a:pt x="1051942" y="11522"/>
                </a:lnTo>
                <a:lnTo>
                  <a:pt x="979361" y="2918"/>
                </a:lnTo>
                <a:lnTo>
                  <a:pt x="905126" y="0"/>
                </a:lnTo>
                <a:lnTo>
                  <a:pt x="830892" y="2918"/>
                </a:lnTo>
                <a:lnTo>
                  <a:pt x="758310" y="11522"/>
                </a:lnTo>
                <a:lnTo>
                  <a:pt x="687614" y="25585"/>
                </a:lnTo>
                <a:lnTo>
                  <a:pt x="619036" y="44881"/>
                </a:lnTo>
                <a:lnTo>
                  <a:pt x="552810" y="69182"/>
                </a:lnTo>
                <a:lnTo>
                  <a:pt x="489168" y="98263"/>
                </a:lnTo>
                <a:lnTo>
                  <a:pt x="428344" y="131897"/>
                </a:lnTo>
                <a:lnTo>
                  <a:pt x="370570" y="169857"/>
                </a:lnTo>
                <a:lnTo>
                  <a:pt x="316079" y="211917"/>
                </a:lnTo>
                <a:lnTo>
                  <a:pt x="265105" y="257849"/>
                </a:lnTo>
                <a:lnTo>
                  <a:pt x="217880" y="307429"/>
                </a:lnTo>
                <a:lnTo>
                  <a:pt x="174636" y="360428"/>
                </a:lnTo>
                <a:lnTo>
                  <a:pt x="135608" y="416621"/>
                </a:lnTo>
                <a:lnTo>
                  <a:pt x="101028" y="475780"/>
                </a:lnTo>
                <a:lnTo>
                  <a:pt x="71129" y="537680"/>
                </a:lnTo>
                <a:lnTo>
                  <a:pt x="46143" y="602094"/>
                </a:lnTo>
                <a:lnTo>
                  <a:pt x="26305" y="668794"/>
                </a:lnTo>
                <a:lnTo>
                  <a:pt x="11846" y="737555"/>
                </a:lnTo>
                <a:lnTo>
                  <a:pt x="3000" y="808151"/>
                </a:lnTo>
                <a:lnTo>
                  <a:pt x="0" y="880353"/>
                </a:lnTo>
                <a:close/>
              </a:path>
            </a:pathLst>
          </a:custGeom>
          <a:solidFill>
            <a:srgbClr val="FAA657">
              <a:alpha val="51000"/>
            </a:srgbClr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1" name="object 82"/>
          <p:cNvSpPr/>
          <p:nvPr/>
        </p:nvSpPr>
        <p:spPr>
          <a:xfrm>
            <a:off x="4414372" y="54871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2" name="object 84"/>
          <p:cNvSpPr/>
          <p:nvPr/>
        </p:nvSpPr>
        <p:spPr>
          <a:xfrm>
            <a:off x="5399747" y="55212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3" name="object 86"/>
          <p:cNvSpPr/>
          <p:nvPr/>
        </p:nvSpPr>
        <p:spPr>
          <a:xfrm>
            <a:off x="6251551" y="55023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4" name="object 74"/>
          <p:cNvSpPr/>
          <p:nvPr/>
        </p:nvSpPr>
        <p:spPr>
          <a:xfrm>
            <a:off x="2668469" y="519520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5" name="object 72"/>
          <p:cNvSpPr/>
          <p:nvPr/>
        </p:nvSpPr>
        <p:spPr>
          <a:xfrm>
            <a:off x="5959366" y="251737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40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80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57150">
            <a:solidFill>
              <a:srgbClr val="F69545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6" name="object 70"/>
          <p:cNvSpPr/>
          <p:nvPr/>
        </p:nvSpPr>
        <p:spPr>
          <a:xfrm>
            <a:off x="5560113" y="213564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7" name="object 68"/>
          <p:cNvSpPr/>
          <p:nvPr/>
        </p:nvSpPr>
        <p:spPr>
          <a:xfrm>
            <a:off x="5148028" y="1723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8" name="object 66"/>
          <p:cNvSpPr/>
          <p:nvPr/>
        </p:nvSpPr>
        <p:spPr>
          <a:xfrm>
            <a:off x="6872003" y="34121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9" name="object 63"/>
          <p:cNvSpPr/>
          <p:nvPr/>
        </p:nvSpPr>
        <p:spPr>
          <a:xfrm>
            <a:off x="5880842" y="502152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6"/>
                </a:lnTo>
                <a:lnTo>
                  <a:pt x="1583" y="198179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6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2"/>
                </a:lnTo>
                <a:lnTo>
                  <a:pt x="49876" y="299561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6"/>
                </a:lnTo>
                <a:lnTo>
                  <a:pt x="196530" y="342926"/>
                </a:lnTo>
                <a:lnTo>
                  <a:pt x="209650" y="339004"/>
                </a:lnTo>
                <a:lnTo>
                  <a:pt x="222295" y="333936"/>
                </a:lnTo>
                <a:lnTo>
                  <a:pt x="234413" y="327778"/>
                </a:lnTo>
                <a:lnTo>
                  <a:pt x="245953" y="320583"/>
                </a:lnTo>
                <a:lnTo>
                  <a:pt x="256864" y="312409"/>
                </a:lnTo>
                <a:lnTo>
                  <a:pt x="267095" y="303311"/>
                </a:lnTo>
                <a:lnTo>
                  <a:pt x="276595" y="293343"/>
                </a:lnTo>
                <a:lnTo>
                  <a:pt x="285312" y="282562"/>
                </a:lnTo>
                <a:lnTo>
                  <a:pt x="293195" y="271023"/>
                </a:lnTo>
                <a:lnTo>
                  <a:pt x="300193" y="258781"/>
                </a:lnTo>
                <a:lnTo>
                  <a:pt x="306255" y="245892"/>
                </a:lnTo>
                <a:lnTo>
                  <a:pt x="311330" y="232411"/>
                </a:lnTo>
                <a:lnTo>
                  <a:pt x="315366" y="218394"/>
                </a:lnTo>
                <a:lnTo>
                  <a:pt x="318312" y="203896"/>
                </a:lnTo>
                <a:lnTo>
                  <a:pt x="320117" y="188973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9" y="93485"/>
                </a:lnTo>
                <a:lnTo>
                  <a:pt x="296006" y="80986"/>
                </a:lnTo>
                <a:lnTo>
                  <a:pt x="288459" y="69169"/>
                </a:lnTo>
                <a:lnTo>
                  <a:pt x="280058" y="58089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4"/>
                </a:lnTo>
                <a:lnTo>
                  <a:pt x="86318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0" name="object 62"/>
          <p:cNvSpPr/>
          <p:nvPr/>
        </p:nvSpPr>
        <p:spPr>
          <a:xfrm>
            <a:off x="4326962" y="34938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1" name="object 60"/>
          <p:cNvSpPr/>
          <p:nvPr/>
        </p:nvSpPr>
        <p:spPr>
          <a:xfrm>
            <a:off x="3451263" y="457102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2" name="object 58"/>
          <p:cNvSpPr/>
          <p:nvPr/>
        </p:nvSpPr>
        <p:spPr>
          <a:xfrm>
            <a:off x="7513462" y="204543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3" name="object 56"/>
          <p:cNvSpPr/>
          <p:nvPr/>
        </p:nvSpPr>
        <p:spPr>
          <a:xfrm>
            <a:off x="6553321" y="196196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4" name="object 54"/>
          <p:cNvSpPr/>
          <p:nvPr/>
        </p:nvSpPr>
        <p:spPr>
          <a:xfrm>
            <a:off x="7353097" y="275391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5" name="object 52"/>
          <p:cNvSpPr/>
          <p:nvPr/>
        </p:nvSpPr>
        <p:spPr>
          <a:xfrm>
            <a:off x="4696124" y="412086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6" name="object 50"/>
          <p:cNvSpPr/>
          <p:nvPr/>
        </p:nvSpPr>
        <p:spPr>
          <a:xfrm>
            <a:off x="4441297" y="46123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7" name="object 48"/>
          <p:cNvSpPr/>
          <p:nvPr/>
        </p:nvSpPr>
        <p:spPr>
          <a:xfrm>
            <a:off x="3130532" y="40499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8" name="object 42"/>
          <p:cNvSpPr/>
          <p:nvPr/>
        </p:nvSpPr>
        <p:spPr>
          <a:xfrm>
            <a:off x="5748103" y="33118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57150">
            <a:solidFill>
              <a:srgbClr val="F69545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9" name="object 44"/>
          <p:cNvSpPr/>
          <p:nvPr/>
        </p:nvSpPr>
        <p:spPr>
          <a:xfrm>
            <a:off x="5560113" y="25802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0" name="object 46"/>
          <p:cNvSpPr/>
          <p:nvPr/>
        </p:nvSpPr>
        <p:spPr>
          <a:xfrm>
            <a:off x="5421508" y="296447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1" name="object 40"/>
          <p:cNvSpPr/>
          <p:nvPr/>
        </p:nvSpPr>
        <p:spPr>
          <a:xfrm>
            <a:off x="5213120" y="49216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2" name="object 38"/>
          <p:cNvSpPr/>
          <p:nvPr/>
        </p:nvSpPr>
        <p:spPr>
          <a:xfrm>
            <a:off x="7032365" y="221911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3" name="object 36"/>
          <p:cNvSpPr/>
          <p:nvPr/>
        </p:nvSpPr>
        <p:spPr>
          <a:xfrm>
            <a:off x="7385165" y="340218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6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7"/>
                </a:lnTo>
                <a:lnTo>
                  <a:pt x="310251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4" name="object 34"/>
          <p:cNvSpPr/>
          <p:nvPr/>
        </p:nvSpPr>
        <p:spPr>
          <a:xfrm>
            <a:off x="5038354" y="24830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5" name="object 32"/>
          <p:cNvSpPr/>
          <p:nvPr/>
        </p:nvSpPr>
        <p:spPr>
          <a:xfrm>
            <a:off x="7192732" y="159327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6" name="object 30"/>
          <p:cNvSpPr/>
          <p:nvPr/>
        </p:nvSpPr>
        <p:spPr>
          <a:xfrm>
            <a:off x="6201572" y="316997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57150">
            <a:solidFill>
              <a:srgbClr val="F69545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7" name="object 28"/>
          <p:cNvSpPr/>
          <p:nvPr/>
        </p:nvSpPr>
        <p:spPr>
          <a:xfrm>
            <a:off x="4877989" y="532865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8" name="object 26"/>
          <p:cNvSpPr/>
          <p:nvPr/>
        </p:nvSpPr>
        <p:spPr>
          <a:xfrm>
            <a:off x="5581873" y="4521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9" name="object 24"/>
          <p:cNvSpPr/>
          <p:nvPr/>
        </p:nvSpPr>
        <p:spPr>
          <a:xfrm>
            <a:off x="3528670" y="35173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0" name="object 22"/>
          <p:cNvSpPr/>
          <p:nvPr/>
        </p:nvSpPr>
        <p:spPr>
          <a:xfrm>
            <a:off x="3252845" y="520650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1" name="object 20"/>
          <p:cNvSpPr/>
          <p:nvPr/>
        </p:nvSpPr>
        <p:spPr>
          <a:xfrm>
            <a:off x="3849401" y="4051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2" name="object 18"/>
          <p:cNvSpPr/>
          <p:nvPr/>
        </p:nvSpPr>
        <p:spPr>
          <a:xfrm>
            <a:off x="6713687" y="269105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57150">
            <a:solidFill>
              <a:srgbClr val="F69545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3" name="object 6"/>
          <p:cNvSpPr txBox="1"/>
          <p:nvPr/>
        </p:nvSpPr>
        <p:spPr>
          <a:xfrm>
            <a:off x="1332125" y="3759280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grpSp>
        <p:nvGrpSpPr>
          <p:cNvPr id="124" name="Group 123"/>
          <p:cNvGrpSpPr/>
          <p:nvPr/>
        </p:nvGrpSpPr>
        <p:grpSpPr>
          <a:xfrm>
            <a:off x="2383438" y="1888930"/>
            <a:ext cx="6303362" cy="4054670"/>
            <a:chOff x="2343901" y="1923700"/>
            <a:chExt cx="6303362" cy="4054670"/>
          </a:xfrm>
        </p:grpSpPr>
        <p:sp>
          <p:nvSpPr>
            <p:cNvPr id="125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126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0" name="object 66"/>
          <p:cNvSpPr/>
          <p:nvPr/>
        </p:nvSpPr>
        <p:spPr>
          <a:xfrm>
            <a:off x="5040022" y="2586534"/>
            <a:ext cx="1810252" cy="1760707"/>
          </a:xfrm>
          <a:custGeom>
            <a:avLst/>
            <a:gdLst/>
            <a:ahLst/>
            <a:cxnLst/>
            <a:rect l="l" t="t" r="r" b="b"/>
            <a:pathLst>
              <a:path w="1810252" h="1760707">
                <a:moveTo>
                  <a:pt x="0" y="880353"/>
                </a:moveTo>
                <a:lnTo>
                  <a:pt x="3000" y="952556"/>
                </a:lnTo>
                <a:lnTo>
                  <a:pt x="11846" y="1023151"/>
                </a:lnTo>
                <a:lnTo>
                  <a:pt x="26305" y="1091913"/>
                </a:lnTo>
                <a:lnTo>
                  <a:pt x="46143" y="1158614"/>
                </a:lnTo>
                <a:lnTo>
                  <a:pt x="71129" y="1223027"/>
                </a:lnTo>
                <a:lnTo>
                  <a:pt x="101028" y="1284927"/>
                </a:lnTo>
                <a:lnTo>
                  <a:pt x="135608" y="1344087"/>
                </a:lnTo>
                <a:lnTo>
                  <a:pt x="174636" y="1400279"/>
                </a:lnTo>
                <a:lnTo>
                  <a:pt x="217880" y="1453279"/>
                </a:lnTo>
                <a:lnTo>
                  <a:pt x="265105" y="1502858"/>
                </a:lnTo>
                <a:lnTo>
                  <a:pt x="316079" y="1548791"/>
                </a:lnTo>
                <a:lnTo>
                  <a:pt x="370570" y="1590850"/>
                </a:lnTo>
                <a:lnTo>
                  <a:pt x="428344" y="1628810"/>
                </a:lnTo>
                <a:lnTo>
                  <a:pt x="489168" y="1662444"/>
                </a:lnTo>
                <a:lnTo>
                  <a:pt x="552810" y="1691525"/>
                </a:lnTo>
                <a:lnTo>
                  <a:pt x="619036" y="1715826"/>
                </a:lnTo>
                <a:lnTo>
                  <a:pt x="687614" y="1735122"/>
                </a:lnTo>
                <a:lnTo>
                  <a:pt x="758310" y="1749185"/>
                </a:lnTo>
                <a:lnTo>
                  <a:pt x="830892" y="1757789"/>
                </a:lnTo>
                <a:lnTo>
                  <a:pt x="905126" y="1760707"/>
                </a:lnTo>
                <a:lnTo>
                  <a:pt x="979361" y="1757789"/>
                </a:lnTo>
                <a:lnTo>
                  <a:pt x="1051942" y="1749185"/>
                </a:lnTo>
                <a:lnTo>
                  <a:pt x="1122639" y="1735122"/>
                </a:lnTo>
                <a:lnTo>
                  <a:pt x="1191216" y="1715826"/>
                </a:lnTo>
                <a:lnTo>
                  <a:pt x="1257442" y="1691525"/>
                </a:lnTo>
                <a:lnTo>
                  <a:pt x="1321084" y="1662444"/>
                </a:lnTo>
                <a:lnTo>
                  <a:pt x="1381908" y="1628810"/>
                </a:lnTo>
                <a:lnTo>
                  <a:pt x="1439682" y="1590850"/>
                </a:lnTo>
                <a:lnTo>
                  <a:pt x="1494173" y="1548791"/>
                </a:lnTo>
                <a:lnTo>
                  <a:pt x="1545147" y="1502858"/>
                </a:lnTo>
                <a:lnTo>
                  <a:pt x="1592373" y="1453279"/>
                </a:lnTo>
                <a:lnTo>
                  <a:pt x="1635616" y="1400279"/>
                </a:lnTo>
                <a:lnTo>
                  <a:pt x="1674644" y="1344087"/>
                </a:lnTo>
                <a:lnTo>
                  <a:pt x="1709224" y="1284927"/>
                </a:lnTo>
                <a:lnTo>
                  <a:pt x="1739123" y="1223027"/>
                </a:lnTo>
                <a:lnTo>
                  <a:pt x="1764109" y="1158614"/>
                </a:lnTo>
                <a:lnTo>
                  <a:pt x="1783947" y="1091913"/>
                </a:lnTo>
                <a:lnTo>
                  <a:pt x="1798406" y="1023151"/>
                </a:lnTo>
                <a:lnTo>
                  <a:pt x="1807252" y="952556"/>
                </a:lnTo>
                <a:lnTo>
                  <a:pt x="1810252" y="880353"/>
                </a:lnTo>
                <a:lnTo>
                  <a:pt x="1807252" y="808151"/>
                </a:lnTo>
                <a:lnTo>
                  <a:pt x="1798406" y="737555"/>
                </a:lnTo>
                <a:lnTo>
                  <a:pt x="1783947" y="668794"/>
                </a:lnTo>
                <a:lnTo>
                  <a:pt x="1764109" y="602094"/>
                </a:lnTo>
                <a:lnTo>
                  <a:pt x="1739123" y="537680"/>
                </a:lnTo>
                <a:lnTo>
                  <a:pt x="1709224" y="475780"/>
                </a:lnTo>
                <a:lnTo>
                  <a:pt x="1674644" y="416621"/>
                </a:lnTo>
                <a:lnTo>
                  <a:pt x="1635616" y="360428"/>
                </a:lnTo>
                <a:lnTo>
                  <a:pt x="1592373" y="307429"/>
                </a:lnTo>
                <a:lnTo>
                  <a:pt x="1545147" y="257849"/>
                </a:lnTo>
                <a:lnTo>
                  <a:pt x="1494173" y="211917"/>
                </a:lnTo>
                <a:lnTo>
                  <a:pt x="1439682" y="169857"/>
                </a:lnTo>
                <a:lnTo>
                  <a:pt x="1381908" y="131897"/>
                </a:lnTo>
                <a:lnTo>
                  <a:pt x="1321084" y="98263"/>
                </a:lnTo>
                <a:lnTo>
                  <a:pt x="1257442" y="69182"/>
                </a:lnTo>
                <a:lnTo>
                  <a:pt x="1191216" y="44881"/>
                </a:lnTo>
                <a:lnTo>
                  <a:pt x="1122639" y="25585"/>
                </a:lnTo>
                <a:lnTo>
                  <a:pt x="1051942" y="11522"/>
                </a:lnTo>
                <a:lnTo>
                  <a:pt x="979361" y="2918"/>
                </a:lnTo>
                <a:lnTo>
                  <a:pt x="905126" y="0"/>
                </a:lnTo>
                <a:lnTo>
                  <a:pt x="830892" y="2918"/>
                </a:lnTo>
                <a:lnTo>
                  <a:pt x="758310" y="11522"/>
                </a:lnTo>
                <a:lnTo>
                  <a:pt x="687614" y="25585"/>
                </a:lnTo>
                <a:lnTo>
                  <a:pt x="619036" y="44881"/>
                </a:lnTo>
                <a:lnTo>
                  <a:pt x="552810" y="69182"/>
                </a:lnTo>
                <a:lnTo>
                  <a:pt x="489168" y="98263"/>
                </a:lnTo>
                <a:lnTo>
                  <a:pt x="428344" y="131897"/>
                </a:lnTo>
                <a:lnTo>
                  <a:pt x="370570" y="169857"/>
                </a:lnTo>
                <a:lnTo>
                  <a:pt x="316079" y="211917"/>
                </a:lnTo>
                <a:lnTo>
                  <a:pt x="265105" y="257849"/>
                </a:lnTo>
                <a:lnTo>
                  <a:pt x="217880" y="307429"/>
                </a:lnTo>
                <a:lnTo>
                  <a:pt x="174636" y="360428"/>
                </a:lnTo>
                <a:lnTo>
                  <a:pt x="135608" y="416621"/>
                </a:lnTo>
                <a:lnTo>
                  <a:pt x="101028" y="475780"/>
                </a:lnTo>
                <a:lnTo>
                  <a:pt x="71129" y="537680"/>
                </a:lnTo>
                <a:lnTo>
                  <a:pt x="46143" y="602094"/>
                </a:lnTo>
                <a:lnTo>
                  <a:pt x="26305" y="668794"/>
                </a:lnTo>
                <a:lnTo>
                  <a:pt x="11846" y="737555"/>
                </a:lnTo>
                <a:lnTo>
                  <a:pt x="3000" y="808151"/>
                </a:lnTo>
                <a:lnTo>
                  <a:pt x="0" y="880353"/>
                </a:lnTo>
                <a:close/>
              </a:path>
            </a:pathLst>
          </a:custGeom>
          <a:solidFill>
            <a:srgbClr val="FAA657">
              <a:alpha val="51000"/>
            </a:srgbClr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1" name="object 82"/>
          <p:cNvSpPr/>
          <p:nvPr/>
        </p:nvSpPr>
        <p:spPr>
          <a:xfrm>
            <a:off x="4414372" y="54871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2" name="object 84"/>
          <p:cNvSpPr/>
          <p:nvPr/>
        </p:nvSpPr>
        <p:spPr>
          <a:xfrm>
            <a:off x="5399747" y="55212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3" name="object 86"/>
          <p:cNvSpPr/>
          <p:nvPr/>
        </p:nvSpPr>
        <p:spPr>
          <a:xfrm>
            <a:off x="6251551" y="55023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4" name="object 74"/>
          <p:cNvSpPr/>
          <p:nvPr/>
        </p:nvSpPr>
        <p:spPr>
          <a:xfrm>
            <a:off x="2668469" y="519520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5" name="object 72"/>
          <p:cNvSpPr/>
          <p:nvPr/>
        </p:nvSpPr>
        <p:spPr>
          <a:xfrm>
            <a:off x="5959366" y="251737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40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80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6" name="object 70"/>
          <p:cNvSpPr/>
          <p:nvPr/>
        </p:nvSpPr>
        <p:spPr>
          <a:xfrm>
            <a:off x="5560113" y="213564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7" name="object 68"/>
          <p:cNvSpPr/>
          <p:nvPr/>
        </p:nvSpPr>
        <p:spPr>
          <a:xfrm>
            <a:off x="5148028" y="1723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8" name="object 66"/>
          <p:cNvSpPr/>
          <p:nvPr/>
        </p:nvSpPr>
        <p:spPr>
          <a:xfrm>
            <a:off x="6872003" y="34121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9" name="object 63"/>
          <p:cNvSpPr/>
          <p:nvPr/>
        </p:nvSpPr>
        <p:spPr>
          <a:xfrm>
            <a:off x="5880842" y="502152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6"/>
                </a:lnTo>
                <a:lnTo>
                  <a:pt x="1583" y="198179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6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2"/>
                </a:lnTo>
                <a:lnTo>
                  <a:pt x="49876" y="299561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6"/>
                </a:lnTo>
                <a:lnTo>
                  <a:pt x="196530" y="342926"/>
                </a:lnTo>
                <a:lnTo>
                  <a:pt x="209650" y="339004"/>
                </a:lnTo>
                <a:lnTo>
                  <a:pt x="222295" y="333936"/>
                </a:lnTo>
                <a:lnTo>
                  <a:pt x="234413" y="327778"/>
                </a:lnTo>
                <a:lnTo>
                  <a:pt x="245953" y="320583"/>
                </a:lnTo>
                <a:lnTo>
                  <a:pt x="256864" y="312409"/>
                </a:lnTo>
                <a:lnTo>
                  <a:pt x="267095" y="303311"/>
                </a:lnTo>
                <a:lnTo>
                  <a:pt x="276595" y="293343"/>
                </a:lnTo>
                <a:lnTo>
                  <a:pt x="285312" y="282562"/>
                </a:lnTo>
                <a:lnTo>
                  <a:pt x="293195" y="271023"/>
                </a:lnTo>
                <a:lnTo>
                  <a:pt x="300193" y="258781"/>
                </a:lnTo>
                <a:lnTo>
                  <a:pt x="306255" y="245892"/>
                </a:lnTo>
                <a:lnTo>
                  <a:pt x="311330" y="232411"/>
                </a:lnTo>
                <a:lnTo>
                  <a:pt x="315366" y="218394"/>
                </a:lnTo>
                <a:lnTo>
                  <a:pt x="318312" y="203896"/>
                </a:lnTo>
                <a:lnTo>
                  <a:pt x="320117" y="188973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9" y="93485"/>
                </a:lnTo>
                <a:lnTo>
                  <a:pt x="296006" y="80986"/>
                </a:lnTo>
                <a:lnTo>
                  <a:pt x="288459" y="69169"/>
                </a:lnTo>
                <a:lnTo>
                  <a:pt x="280058" y="58089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4"/>
                </a:lnTo>
                <a:lnTo>
                  <a:pt x="86318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0" name="object 62"/>
          <p:cNvSpPr/>
          <p:nvPr/>
        </p:nvSpPr>
        <p:spPr>
          <a:xfrm>
            <a:off x="4326962" y="34938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1" name="object 60"/>
          <p:cNvSpPr/>
          <p:nvPr/>
        </p:nvSpPr>
        <p:spPr>
          <a:xfrm>
            <a:off x="3451263" y="457102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2" name="object 58"/>
          <p:cNvSpPr/>
          <p:nvPr/>
        </p:nvSpPr>
        <p:spPr>
          <a:xfrm>
            <a:off x="7513462" y="204543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3" name="object 56"/>
          <p:cNvSpPr/>
          <p:nvPr/>
        </p:nvSpPr>
        <p:spPr>
          <a:xfrm>
            <a:off x="6553321" y="196196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4" name="object 54"/>
          <p:cNvSpPr/>
          <p:nvPr/>
        </p:nvSpPr>
        <p:spPr>
          <a:xfrm>
            <a:off x="7353097" y="275391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5" name="object 52"/>
          <p:cNvSpPr/>
          <p:nvPr/>
        </p:nvSpPr>
        <p:spPr>
          <a:xfrm>
            <a:off x="4696124" y="412086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6" name="object 50"/>
          <p:cNvSpPr/>
          <p:nvPr/>
        </p:nvSpPr>
        <p:spPr>
          <a:xfrm>
            <a:off x="4441297" y="46123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7" name="object 48"/>
          <p:cNvSpPr/>
          <p:nvPr/>
        </p:nvSpPr>
        <p:spPr>
          <a:xfrm>
            <a:off x="3130532" y="40499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8" name="object 42"/>
          <p:cNvSpPr/>
          <p:nvPr/>
        </p:nvSpPr>
        <p:spPr>
          <a:xfrm>
            <a:off x="5748103" y="33118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9" name="object 44"/>
          <p:cNvSpPr/>
          <p:nvPr/>
        </p:nvSpPr>
        <p:spPr>
          <a:xfrm>
            <a:off x="5560113" y="25802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0" name="object 46"/>
          <p:cNvSpPr/>
          <p:nvPr/>
        </p:nvSpPr>
        <p:spPr>
          <a:xfrm>
            <a:off x="5421508" y="296447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1" name="object 40"/>
          <p:cNvSpPr/>
          <p:nvPr/>
        </p:nvSpPr>
        <p:spPr>
          <a:xfrm>
            <a:off x="5213120" y="49216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2" name="object 38"/>
          <p:cNvSpPr/>
          <p:nvPr/>
        </p:nvSpPr>
        <p:spPr>
          <a:xfrm>
            <a:off x="7032365" y="221911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3" name="object 36"/>
          <p:cNvSpPr/>
          <p:nvPr/>
        </p:nvSpPr>
        <p:spPr>
          <a:xfrm>
            <a:off x="7385165" y="340218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6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7"/>
                </a:lnTo>
                <a:lnTo>
                  <a:pt x="310251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4" name="object 34"/>
          <p:cNvSpPr/>
          <p:nvPr/>
        </p:nvSpPr>
        <p:spPr>
          <a:xfrm>
            <a:off x="5038354" y="24830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5" name="object 32"/>
          <p:cNvSpPr/>
          <p:nvPr/>
        </p:nvSpPr>
        <p:spPr>
          <a:xfrm>
            <a:off x="7192732" y="159327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6" name="object 30"/>
          <p:cNvSpPr/>
          <p:nvPr/>
        </p:nvSpPr>
        <p:spPr>
          <a:xfrm>
            <a:off x="6201572" y="316997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57150">
            <a:solidFill>
              <a:srgbClr val="F69545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7" name="object 28"/>
          <p:cNvSpPr/>
          <p:nvPr/>
        </p:nvSpPr>
        <p:spPr>
          <a:xfrm>
            <a:off x="4877989" y="532865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8" name="object 26"/>
          <p:cNvSpPr/>
          <p:nvPr/>
        </p:nvSpPr>
        <p:spPr>
          <a:xfrm>
            <a:off x="5581873" y="4521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9" name="object 24"/>
          <p:cNvSpPr/>
          <p:nvPr/>
        </p:nvSpPr>
        <p:spPr>
          <a:xfrm>
            <a:off x="3528670" y="35173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0" name="object 22"/>
          <p:cNvSpPr/>
          <p:nvPr/>
        </p:nvSpPr>
        <p:spPr>
          <a:xfrm>
            <a:off x="3252845" y="520650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1" name="object 20"/>
          <p:cNvSpPr/>
          <p:nvPr/>
        </p:nvSpPr>
        <p:spPr>
          <a:xfrm>
            <a:off x="3849401" y="4051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2" name="object 18"/>
          <p:cNvSpPr/>
          <p:nvPr/>
        </p:nvSpPr>
        <p:spPr>
          <a:xfrm>
            <a:off x="6713687" y="269105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57150">
            <a:solidFill>
              <a:srgbClr val="F69545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3" name="object 6"/>
          <p:cNvSpPr txBox="1"/>
          <p:nvPr/>
        </p:nvSpPr>
        <p:spPr>
          <a:xfrm>
            <a:off x="1332125" y="3759280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grpSp>
        <p:nvGrpSpPr>
          <p:cNvPr id="124" name="Group 123"/>
          <p:cNvGrpSpPr/>
          <p:nvPr/>
        </p:nvGrpSpPr>
        <p:grpSpPr>
          <a:xfrm>
            <a:off x="2383438" y="1888930"/>
            <a:ext cx="6303362" cy="4054670"/>
            <a:chOff x="2343901" y="1923700"/>
            <a:chExt cx="6303362" cy="4054670"/>
          </a:xfrm>
        </p:grpSpPr>
        <p:sp>
          <p:nvSpPr>
            <p:cNvPr id="125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126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  <p:sp>
        <p:nvSpPr>
          <p:cNvPr id="127" name="object 5"/>
          <p:cNvSpPr txBox="1"/>
          <p:nvPr/>
        </p:nvSpPr>
        <p:spPr>
          <a:xfrm>
            <a:off x="2101916" y="369650"/>
            <a:ext cx="6889684" cy="1166986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 marR="41909">
              <a:lnSpc>
                <a:spcPts val="3454"/>
              </a:lnSpc>
              <a:spcBef>
                <a:spcPts val="172"/>
              </a:spcBef>
            </a:pPr>
            <a:r>
              <a:rPr sz="4800" spc="0" baseline="2560" dirty="0" smtClean="0">
                <a:solidFill>
                  <a:srgbClr val="4E81BC"/>
                </a:solidFill>
                <a:latin typeface="+mj-lt"/>
                <a:cs typeface="Calibri"/>
              </a:rPr>
              <a:t>DBSC</a:t>
            </a:r>
            <a:r>
              <a:rPr sz="4800" spc="-4" baseline="2560" dirty="0" smtClean="0">
                <a:solidFill>
                  <a:srgbClr val="4E81BC"/>
                </a:solidFill>
                <a:latin typeface="+mj-lt"/>
                <a:cs typeface="Calibri"/>
              </a:rPr>
              <a:t>A</a:t>
            </a:r>
            <a:r>
              <a:rPr sz="4800" spc="0" baseline="2560" dirty="0" smtClean="0">
                <a:solidFill>
                  <a:srgbClr val="4E81BC"/>
                </a:solidFill>
                <a:latin typeface="+mj-lt"/>
                <a:cs typeface="Calibri"/>
              </a:rPr>
              <a:t>N</a:t>
            </a:r>
            <a:endParaRPr sz="3200" dirty="0">
              <a:latin typeface="+mj-lt"/>
              <a:cs typeface="Calibri"/>
            </a:endParaRPr>
          </a:p>
          <a:p>
            <a:pPr marL="12700">
              <a:lnSpc>
                <a:spcPts val="2770"/>
              </a:lnSpc>
            </a:pPr>
            <a:r>
              <a:rPr lang="en-US" sz="3200" baseline="1137" dirty="0" smtClean="0">
                <a:solidFill>
                  <a:srgbClr val="7F7E7E"/>
                </a:solidFill>
                <a:cs typeface="Calibri"/>
              </a:rPr>
              <a:t>Keep going until you find the entire cluster and no point is left unvisited by this chain reaction</a:t>
            </a:r>
            <a:endParaRPr lang="en-US" sz="3200" i="1" baseline="1137" dirty="0">
              <a:solidFill>
                <a:srgbClr val="7F7E7E"/>
              </a:solidFill>
              <a:cs typeface="Calibri"/>
            </a:endParaRPr>
          </a:p>
        </p:txBody>
      </p:sp>
      <p:sp>
        <p:nvSpPr>
          <p:cNvPr id="128" name="object 15"/>
          <p:cNvSpPr txBox="1"/>
          <p:nvPr/>
        </p:nvSpPr>
        <p:spPr>
          <a:xfrm>
            <a:off x="349882" y="369650"/>
            <a:ext cx="1351013" cy="5207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985"/>
              </a:lnSpc>
              <a:spcBef>
                <a:spcPts val="99"/>
              </a:spcBef>
            </a:pPr>
            <a:r>
              <a:rPr sz="2700" spc="0" baseline="3034" dirty="0" smtClean="0">
                <a:solidFill>
                  <a:srgbClr val="215867"/>
                </a:solidFill>
                <a:latin typeface="+mj-lt"/>
                <a:cs typeface="Calibri"/>
              </a:rPr>
              <a:t>epsilon = 1.75</a:t>
            </a:r>
            <a:endParaRPr sz="1800" dirty="0">
              <a:latin typeface="+mj-lt"/>
              <a:cs typeface="Calibri"/>
            </a:endParaRPr>
          </a:p>
          <a:p>
            <a:pPr marL="12700" marR="34289">
              <a:lnSpc>
                <a:spcPts val="2100"/>
              </a:lnSpc>
              <a:spcBef>
                <a:spcPts val="5"/>
              </a:spcBef>
            </a:pPr>
            <a:r>
              <a:rPr sz="2700" spc="0" baseline="1517" dirty="0" smtClean="0">
                <a:solidFill>
                  <a:srgbClr val="215867"/>
                </a:solidFill>
                <a:latin typeface="+mj-lt"/>
                <a:cs typeface="Calibri"/>
              </a:rPr>
              <a:t>n_clu = 3</a:t>
            </a:r>
            <a:endParaRPr sz="1800" dirty="0">
              <a:latin typeface="+mj-lt"/>
              <a:cs typeface="Calibri"/>
            </a:endParaRPr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1" name="object 66"/>
          <p:cNvSpPr/>
          <p:nvPr/>
        </p:nvSpPr>
        <p:spPr>
          <a:xfrm>
            <a:off x="5510555" y="2461880"/>
            <a:ext cx="1810252" cy="1760707"/>
          </a:xfrm>
          <a:custGeom>
            <a:avLst/>
            <a:gdLst/>
            <a:ahLst/>
            <a:cxnLst/>
            <a:rect l="l" t="t" r="r" b="b"/>
            <a:pathLst>
              <a:path w="1810252" h="1760707">
                <a:moveTo>
                  <a:pt x="0" y="880353"/>
                </a:moveTo>
                <a:lnTo>
                  <a:pt x="3000" y="952556"/>
                </a:lnTo>
                <a:lnTo>
                  <a:pt x="11846" y="1023151"/>
                </a:lnTo>
                <a:lnTo>
                  <a:pt x="26305" y="1091913"/>
                </a:lnTo>
                <a:lnTo>
                  <a:pt x="46143" y="1158614"/>
                </a:lnTo>
                <a:lnTo>
                  <a:pt x="71129" y="1223027"/>
                </a:lnTo>
                <a:lnTo>
                  <a:pt x="101028" y="1284927"/>
                </a:lnTo>
                <a:lnTo>
                  <a:pt x="135608" y="1344087"/>
                </a:lnTo>
                <a:lnTo>
                  <a:pt x="174636" y="1400279"/>
                </a:lnTo>
                <a:lnTo>
                  <a:pt x="217880" y="1453279"/>
                </a:lnTo>
                <a:lnTo>
                  <a:pt x="265105" y="1502858"/>
                </a:lnTo>
                <a:lnTo>
                  <a:pt x="316079" y="1548791"/>
                </a:lnTo>
                <a:lnTo>
                  <a:pt x="370570" y="1590850"/>
                </a:lnTo>
                <a:lnTo>
                  <a:pt x="428344" y="1628810"/>
                </a:lnTo>
                <a:lnTo>
                  <a:pt x="489168" y="1662444"/>
                </a:lnTo>
                <a:lnTo>
                  <a:pt x="552810" y="1691525"/>
                </a:lnTo>
                <a:lnTo>
                  <a:pt x="619036" y="1715826"/>
                </a:lnTo>
                <a:lnTo>
                  <a:pt x="687614" y="1735122"/>
                </a:lnTo>
                <a:lnTo>
                  <a:pt x="758310" y="1749185"/>
                </a:lnTo>
                <a:lnTo>
                  <a:pt x="830892" y="1757789"/>
                </a:lnTo>
                <a:lnTo>
                  <a:pt x="905126" y="1760707"/>
                </a:lnTo>
                <a:lnTo>
                  <a:pt x="979361" y="1757789"/>
                </a:lnTo>
                <a:lnTo>
                  <a:pt x="1051942" y="1749185"/>
                </a:lnTo>
                <a:lnTo>
                  <a:pt x="1122639" y="1735122"/>
                </a:lnTo>
                <a:lnTo>
                  <a:pt x="1191216" y="1715826"/>
                </a:lnTo>
                <a:lnTo>
                  <a:pt x="1257442" y="1691525"/>
                </a:lnTo>
                <a:lnTo>
                  <a:pt x="1321084" y="1662444"/>
                </a:lnTo>
                <a:lnTo>
                  <a:pt x="1381908" y="1628810"/>
                </a:lnTo>
                <a:lnTo>
                  <a:pt x="1439682" y="1590850"/>
                </a:lnTo>
                <a:lnTo>
                  <a:pt x="1494173" y="1548791"/>
                </a:lnTo>
                <a:lnTo>
                  <a:pt x="1545147" y="1502858"/>
                </a:lnTo>
                <a:lnTo>
                  <a:pt x="1592373" y="1453279"/>
                </a:lnTo>
                <a:lnTo>
                  <a:pt x="1635616" y="1400279"/>
                </a:lnTo>
                <a:lnTo>
                  <a:pt x="1674644" y="1344087"/>
                </a:lnTo>
                <a:lnTo>
                  <a:pt x="1709224" y="1284927"/>
                </a:lnTo>
                <a:lnTo>
                  <a:pt x="1739123" y="1223027"/>
                </a:lnTo>
                <a:lnTo>
                  <a:pt x="1764109" y="1158614"/>
                </a:lnTo>
                <a:lnTo>
                  <a:pt x="1783947" y="1091913"/>
                </a:lnTo>
                <a:lnTo>
                  <a:pt x="1798406" y="1023151"/>
                </a:lnTo>
                <a:lnTo>
                  <a:pt x="1807252" y="952556"/>
                </a:lnTo>
                <a:lnTo>
                  <a:pt x="1810252" y="880353"/>
                </a:lnTo>
                <a:lnTo>
                  <a:pt x="1807252" y="808151"/>
                </a:lnTo>
                <a:lnTo>
                  <a:pt x="1798406" y="737555"/>
                </a:lnTo>
                <a:lnTo>
                  <a:pt x="1783947" y="668794"/>
                </a:lnTo>
                <a:lnTo>
                  <a:pt x="1764109" y="602094"/>
                </a:lnTo>
                <a:lnTo>
                  <a:pt x="1739123" y="537680"/>
                </a:lnTo>
                <a:lnTo>
                  <a:pt x="1709224" y="475780"/>
                </a:lnTo>
                <a:lnTo>
                  <a:pt x="1674644" y="416621"/>
                </a:lnTo>
                <a:lnTo>
                  <a:pt x="1635616" y="360428"/>
                </a:lnTo>
                <a:lnTo>
                  <a:pt x="1592373" y="307429"/>
                </a:lnTo>
                <a:lnTo>
                  <a:pt x="1545147" y="257849"/>
                </a:lnTo>
                <a:lnTo>
                  <a:pt x="1494173" y="211917"/>
                </a:lnTo>
                <a:lnTo>
                  <a:pt x="1439682" y="169857"/>
                </a:lnTo>
                <a:lnTo>
                  <a:pt x="1381908" y="131897"/>
                </a:lnTo>
                <a:lnTo>
                  <a:pt x="1321084" y="98263"/>
                </a:lnTo>
                <a:lnTo>
                  <a:pt x="1257442" y="69182"/>
                </a:lnTo>
                <a:lnTo>
                  <a:pt x="1191216" y="44881"/>
                </a:lnTo>
                <a:lnTo>
                  <a:pt x="1122639" y="25585"/>
                </a:lnTo>
                <a:lnTo>
                  <a:pt x="1051942" y="11522"/>
                </a:lnTo>
                <a:lnTo>
                  <a:pt x="979361" y="2918"/>
                </a:lnTo>
                <a:lnTo>
                  <a:pt x="905126" y="0"/>
                </a:lnTo>
                <a:lnTo>
                  <a:pt x="830892" y="2918"/>
                </a:lnTo>
                <a:lnTo>
                  <a:pt x="758310" y="11522"/>
                </a:lnTo>
                <a:lnTo>
                  <a:pt x="687614" y="25585"/>
                </a:lnTo>
                <a:lnTo>
                  <a:pt x="619036" y="44881"/>
                </a:lnTo>
                <a:lnTo>
                  <a:pt x="552810" y="69182"/>
                </a:lnTo>
                <a:lnTo>
                  <a:pt x="489168" y="98263"/>
                </a:lnTo>
                <a:lnTo>
                  <a:pt x="428344" y="131897"/>
                </a:lnTo>
                <a:lnTo>
                  <a:pt x="370570" y="169857"/>
                </a:lnTo>
                <a:lnTo>
                  <a:pt x="316079" y="211917"/>
                </a:lnTo>
                <a:lnTo>
                  <a:pt x="265105" y="257849"/>
                </a:lnTo>
                <a:lnTo>
                  <a:pt x="217880" y="307429"/>
                </a:lnTo>
                <a:lnTo>
                  <a:pt x="174636" y="360428"/>
                </a:lnTo>
                <a:lnTo>
                  <a:pt x="135608" y="416621"/>
                </a:lnTo>
                <a:lnTo>
                  <a:pt x="101028" y="475780"/>
                </a:lnTo>
                <a:lnTo>
                  <a:pt x="71129" y="537680"/>
                </a:lnTo>
                <a:lnTo>
                  <a:pt x="46143" y="602094"/>
                </a:lnTo>
                <a:lnTo>
                  <a:pt x="26305" y="668794"/>
                </a:lnTo>
                <a:lnTo>
                  <a:pt x="11846" y="737555"/>
                </a:lnTo>
                <a:lnTo>
                  <a:pt x="3000" y="808151"/>
                </a:lnTo>
                <a:lnTo>
                  <a:pt x="0" y="880353"/>
                </a:lnTo>
                <a:close/>
              </a:path>
            </a:pathLst>
          </a:custGeom>
          <a:solidFill>
            <a:srgbClr val="FAA657">
              <a:alpha val="51000"/>
            </a:srgbClr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2" name="object 82"/>
          <p:cNvSpPr/>
          <p:nvPr/>
        </p:nvSpPr>
        <p:spPr>
          <a:xfrm>
            <a:off x="4414372" y="54871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3" name="object 84"/>
          <p:cNvSpPr/>
          <p:nvPr/>
        </p:nvSpPr>
        <p:spPr>
          <a:xfrm>
            <a:off x="5399747" y="55212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4" name="object 86"/>
          <p:cNvSpPr/>
          <p:nvPr/>
        </p:nvSpPr>
        <p:spPr>
          <a:xfrm>
            <a:off x="6251551" y="55023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5" name="object 74"/>
          <p:cNvSpPr/>
          <p:nvPr/>
        </p:nvSpPr>
        <p:spPr>
          <a:xfrm>
            <a:off x="2668469" y="519520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6" name="object 72"/>
          <p:cNvSpPr/>
          <p:nvPr/>
        </p:nvSpPr>
        <p:spPr>
          <a:xfrm>
            <a:off x="5959366" y="251737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40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80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7" name="object 70"/>
          <p:cNvSpPr/>
          <p:nvPr/>
        </p:nvSpPr>
        <p:spPr>
          <a:xfrm>
            <a:off x="5560113" y="213564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8" name="object 68"/>
          <p:cNvSpPr/>
          <p:nvPr/>
        </p:nvSpPr>
        <p:spPr>
          <a:xfrm>
            <a:off x="5148028" y="1723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9" name="object 66"/>
          <p:cNvSpPr/>
          <p:nvPr/>
        </p:nvSpPr>
        <p:spPr>
          <a:xfrm>
            <a:off x="6872003" y="34121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57150">
            <a:solidFill>
              <a:srgbClr val="F69545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0" name="object 63"/>
          <p:cNvSpPr/>
          <p:nvPr/>
        </p:nvSpPr>
        <p:spPr>
          <a:xfrm>
            <a:off x="5880842" y="502152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6"/>
                </a:lnTo>
                <a:lnTo>
                  <a:pt x="1583" y="198179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6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2"/>
                </a:lnTo>
                <a:lnTo>
                  <a:pt x="49876" y="299561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6"/>
                </a:lnTo>
                <a:lnTo>
                  <a:pt x="196530" y="342926"/>
                </a:lnTo>
                <a:lnTo>
                  <a:pt x="209650" y="339004"/>
                </a:lnTo>
                <a:lnTo>
                  <a:pt x="222295" y="333936"/>
                </a:lnTo>
                <a:lnTo>
                  <a:pt x="234413" y="327778"/>
                </a:lnTo>
                <a:lnTo>
                  <a:pt x="245953" y="320583"/>
                </a:lnTo>
                <a:lnTo>
                  <a:pt x="256864" y="312409"/>
                </a:lnTo>
                <a:lnTo>
                  <a:pt x="267095" y="303311"/>
                </a:lnTo>
                <a:lnTo>
                  <a:pt x="276595" y="293343"/>
                </a:lnTo>
                <a:lnTo>
                  <a:pt x="285312" y="282562"/>
                </a:lnTo>
                <a:lnTo>
                  <a:pt x="293195" y="271023"/>
                </a:lnTo>
                <a:lnTo>
                  <a:pt x="300193" y="258781"/>
                </a:lnTo>
                <a:lnTo>
                  <a:pt x="306255" y="245892"/>
                </a:lnTo>
                <a:lnTo>
                  <a:pt x="311330" y="232411"/>
                </a:lnTo>
                <a:lnTo>
                  <a:pt x="315366" y="218394"/>
                </a:lnTo>
                <a:lnTo>
                  <a:pt x="318312" y="203896"/>
                </a:lnTo>
                <a:lnTo>
                  <a:pt x="320117" y="188973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9" y="93485"/>
                </a:lnTo>
                <a:lnTo>
                  <a:pt x="296006" y="80986"/>
                </a:lnTo>
                <a:lnTo>
                  <a:pt x="288459" y="69169"/>
                </a:lnTo>
                <a:lnTo>
                  <a:pt x="280058" y="58089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4"/>
                </a:lnTo>
                <a:lnTo>
                  <a:pt x="86318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1" name="object 62"/>
          <p:cNvSpPr/>
          <p:nvPr/>
        </p:nvSpPr>
        <p:spPr>
          <a:xfrm>
            <a:off x="4326962" y="34938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2" name="object 60"/>
          <p:cNvSpPr/>
          <p:nvPr/>
        </p:nvSpPr>
        <p:spPr>
          <a:xfrm>
            <a:off x="3451263" y="457102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3" name="object 58"/>
          <p:cNvSpPr/>
          <p:nvPr/>
        </p:nvSpPr>
        <p:spPr>
          <a:xfrm>
            <a:off x="7513462" y="204543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4" name="object 56"/>
          <p:cNvSpPr/>
          <p:nvPr/>
        </p:nvSpPr>
        <p:spPr>
          <a:xfrm>
            <a:off x="6553321" y="196196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5" name="object 54"/>
          <p:cNvSpPr/>
          <p:nvPr/>
        </p:nvSpPr>
        <p:spPr>
          <a:xfrm>
            <a:off x="7353097" y="275391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6" name="object 52"/>
          <p:cNvSpPr/>
          <p:nvPr/>
        </p:nvSpPr>
        <p:spPr>
          <a:xfrm>
            <a:off x="4696124" y="412086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7" name="object 50"/>
          <p:cNvSpPr/>
          <p:nvPr/>
        </p:nvSpPr>
        <p:spPr>
          <a:xfrm>
            <a:off x="4441297" y="46123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8" name="object 48"/>
          <p:cNvSpPr/>
          <p:nvPr/>
        </p:nvSpPr>
        <p:spPr>
          <a:xfrm>
            <a:off x="3130532" y="40499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9" name="object 42"/>
          <p:cNvSpPr/>
          <p:nvPr/>
        </p:nvSpPr>
        <p:spPr>
          <a:xfrm>
            <a:off x="5748103" y="33118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0" name="object 44"/>
          <p:cNvSpPr/>
          <p:nvPr/>
        </p:nvSpPr>
        <p:spPr>
          <a:xfrm>
            <a:off x="5560113" y="25802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1" name="object 46"/>
          <p:cNvSpPr/>
          <p:nvPr/>
        </p:nvSpPr>
        <p:spPr>
          <a:xfrm>
            <a:off x="5421508" y="296447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2" name="object 40"/>
          <p:cNvSpPr/>
          <p:nvPr/>
        </p:nvSpPr>
        <p:spPr>
          <a:xfrm>
            <a:off x="5213120" y="49216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3" name="object 38"/>
          <p:cNvSpPr/>
          <p:nvPr/>
        </p:nvSpPr>
        <p:spPr>
          <a:xfrm>
            <a:off x="7032365" y="221911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4" name="object 36"/>
          <p:cNvSpPr/>
          <p:nvPr/>
        </p:nvSpPr>
        <p:spPr>
          <a:xfrm>
            <a:off x="7385165" y="340218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6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7"/>
                </a:lnTo>
                <a:lnTo>
                  <a:pt x="310251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5" name="object 34"/>
          <p:cNvSpPr/>
          <p:nvPr/>
        </p:nvSpPr>
        <p:spPr>
          <a:xfrm>
            <a:off x="5038354" y="24830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6" name="object 32"/>
          <p:cNvSpPr/>
          <p:nvPr/>
        </p:nvSpPr>
        <p:spPr>
          <a:xfrm>
            <a:off x="7192732" y="159327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7" name="object 30"/>
          <p:cNvSpPr/>
          <p:nvPr/>
        </p:nvSpPr>
        <p:spPr>
          <a:xfrm>
            <a:off x="6201572" y="316997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8" name="object 28"/>
          <p:cNvSpPr/>
          <p:nvPr/>
        </p:nvSpPr>
        <p:spPr>
          <a:xfrm>
            <a:off x="4877989" y="532865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9" name="object 26"/>
          <p:cNvSpPr/>
          <p:nvPr/>
        </p:nvSpPr>
        <p:spPr>
          <a:xfrm>
            <a:off x="5581873" y="4521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0" name="object 24"/>
          <p:cNvSpPr/>
          <p:nvPr/>
        </p:nvSpPr>
        <p:spPr>
          <a:xfrm>
            <a:off x="3528670" y="35173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1" name="object 22"/>
          <p:cNvSpPr/>
          <p:nvPr/>
        </p:nvSpPr>
        <p:spPr>
          <a:xfrm>
            <a:off x="3252845" y="520650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2" name="object 20"/>
          <p:cNvSpPr/>
          <p:nvPr/>
        </p:nvSpPr>
        <p:spPr>
          <a:xfrm>
            <a:off x="3849401" y="4051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3" name="object 18"/>
          <p:cNvSpPr/>
          <p:nvPr/>
        </p:nvSpPr>
        <p:spPr>
          <a:xfrm>
            <a:off x="6713687" y="269105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57150">
            <a:solidFill>
              <a:srgbClr val="F69545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4" name="object 6"/>
          <p:cNvSpPr txBox="1"/>
          <p:nvPr/>
        </p:nvSpPr>
        <p:spPr>
          <a:xfrm>
            <a:off x="1332125" y="3759280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grpSp>
        <p:nvGrpSpPr>
          <p:cNvPr id="125" name="Group 124"/>
          <p:cNvGrpSpPr/>
          <p:nvPr/>
        </p:nvGrpSpPr>
        <p:grpSpPr>
          <a:xfrm>
            <a:off x="2383438" y="1888930"/>
            <a:ext cx="6303362" cy="4054670"/>
            <a:chOff x="2343901" y="1923700"/>
            <a:chExt cx="6303362" cy="4054670"/>
          </a:xfrm>
        </p:grpSpPr>
        <p:sp>
          <p:nvSpPr>
            <p:cNvPr id="126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127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  <p:sp>
        <p:nvSpPr>
          <p:cNvPr id="128" name="object 5"/>
          <p:cNvSpPr txBox="1"/>
          <p:nvPr/>
        </p:nvSpPr>
        <p:spPr>
          <a:xfrm>
            <a:off x="2101916" y="369650"/>
            <a:ext cx="6889684" cy="1166986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 marR="41909">
              <a:lnSpc>
                <a:spcPts val="3454"/>
              </a:lnSpc>
              <a:spcBef>
                <a:spcPts val="172"/>
              </a:spcBef>
            </a:pPr>
            <a:r>
              <a:rPr sz="4800" spc="0" baseline="2560" dirty="0" smtClean="0">
                <a:solidFill>
                  <a:srgbClr val="4E81BC"/>
                </a:solidFill>
                <a:latin typeface="+mj-lt"/>
                <a:cs typeface="Calibri"/>
              </a:rPr>
              <a:t>DBSC</a:t>
            </a:r>
            <a:r>
              <a:rPr sz="4800" spc="-4" baseline="2560" dirty="0" smtClean="0">
                <a:solidFill>
                  <a:srgbClr val="4E81BC"/>
                </a:solidFill>
                <a:latin typeface="+mj-lt"/>
                <a:cs typeface="Calibri"/>
              </a:rPr>
              <a:t>A</a:t>
            </a:r>
            <a:r>
              <a:rPr sz="4800" spc="0" baseline="2560" dirty="0" smtClean="0">
                <a:solidFill>
                  <a:srgbClr val="4E81BC"/>
                </a:solidFill>
                <a:latin typeface="+mj-lt"/>
                <a:cs typeface="Calibri"/>
              </a:rPr>
              <a:t>N</a:t>
            </a:r>
            <a:endParaRPr sz="3200" dirty="0">
              <a:latin typeface="+mj-lt"/>
              <a:cs typeface="Calibri"/>
            </a:endParaRPr>
          </a:p>
          <a:p>
            <a:pPr marL="12700">
              <a:lnSpc>
                <a:spcPts val="2770"/>
              </a:lnSpc>
            </a:pPr>
            <a:r>
              <a:rPr lang="en-US" sz="3200" baseline="1137" dirty="0" smtClean="0">
                <a:solidFill>
                  <a:srgbClr val="7F7E7E"/>
                </a:solidFill>
                <a:cs typeface="Calibri"/>
              </a:rPr>
              <a:t>Keep going until you find the entire cluster and no point is left unvisited by this chain reaction</a:t>
            </a:r>
            <a:endParaRPr lang="en-US" sz="3200" i="1" baseline="1137" dirty="0">
              <a:solidFill>
                <a:srgbClr val="7F7E7E"/>
              </a:solidFill>
              <a:cs typeface="Calibri"/>
            </a:endParaRPr>
          </a:p>
        </p:txBody>
      </p:sp>
      <p:sp>
        <p:nvSpPr>
          <p:cNvPr id="129" name="object 15"/>
          <p:cNvSpPr txBox="1"/>
          <p:nvPr/>
        </p:nvSpPr>
        <p:spPr>
          <a:xfrm>
            <a:off x="349882" y="369650"/>
            <a:ext cx="1351013" cy="5207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985"/>
              </a:lnSpc>
              <a:spcBef>
                <a:spcPts val="99"/>
              </a:spcBef>
            </a:pPr>
            <a:r>
              <a:rPr sz="2700" spc="0" baseline="3034" dirty="0" smtClean="0">
                <a:solidFill>
                  <a:srgbClr val="215867"/>
                </a:solidFill>
                <a:latin typeface="+mj-lt"/>
                <a:cs typeface="Calibri"/>
              </a:rPr>
              <a:t>epsilon = 1.75</a:t>
            </a:r>
            <a:endParaRPr sz="1800" dirty="0">
              <a:latin typeface="+mj-lt"/>
              <a:cs typeface="Calibri"/>
            </a:endParaRPr>
          </a:p>
          <a:p>
            <a:pPr marL="12700" marR="34289">
              <a:lnSpc>
                <a:spcPts val="2100"/>
              </a:lnSpc>
              <a:spcBef>
                <a:spcPts val="5"/>
              </a:spcBef>
            </a:pPr>
            <a:r>
              <a:rPr sz="2700" spc="0" baseline="1517" dirty="0" smtClean="0">
                <a:solidFill>
                  <a:srgbClr val="215867"/>
                </a:solidFill>
                <a:latin typeface="+mj-lt"/>
                <a:cs typeface="Calibri"/>
              </a:rPr>
              <a:t>n_clu = 3</a:t>
            </a:r>
            <a:endParaRPr sz="1800" dirty="0">
              <a:latin typeface="+mj-lt"/>
              <a:cs typeface="Calibri"/>
            </a:endParaRPr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9" name="object 5"/>
          <p:cNvSpPr txBox="1"/>
          <p:nvPr/>
        </p:nvSpPr>
        <p:spPr>
          <a:xfrm>
            <a:off x="2101916" y="365536"/>
            <a:ext cx="6889684" cy="1166986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 marR="41909">
              <a:lnSpc>
                <a:spcPts val="3454"/>
              </a:lnSpc>
              <a:spcBef>
                <a:spcPts val="172"/>
              </a:spcBef>
            </a:pPr>
            <a:r>
              <a:rPr sz="4800" spc="0" baseline="2560" dirty="0" smtClean="0">
                <a:solidFill>
                  <a:srgbClr val="4E81BC"/>
                </a:solidFill>
                <a:latin typeface="+mj-lt"/>
                <a:cs typeface="Calibri"/>
              </a:rPr>
              <a:t>DBSC</a:t>
            </a:r>
            <a:r>
              <a:rPr sz="4800" spc="-4" baseline="2560" dirty="0" smtClean="0">
                <a:solidFill>
                  <a:srgbClr val="4E81BC"/>
                </a:solidFill>
                <a:latin typeface="+mj-lt"/>
                <a:cs typeface="Calibri"/>
              </a:rPr>
              <a:t>A</a:t>
            </a:r>
            <a:r>
              <a:rPr sz="4800" spc="0" baseline="2560" dirty="0" smtClean="0">
                <a:solidFill>
                  <a:srgbClr val="4E81BC"/>
                </a:solidFill>
                <a:latin typeface="+mj-lt"/>
                <a:cs typeface="Calibri"/>
              </a:rPr>
              <a:t>N</a:t>
            </a:r>
            <a:endParaRPr sz="3200" dirty="0">
              <a:latin typeface="+mj-lt"/>
              <a:cs typeface="Calibri"/>
            </a:endParaRPr>
          </a:p>
          <a:p>
            <a:pPr marL="12700">
              <a:lnSpc>
                <a:spcPts val="2770"/>
              </a:lnSpc>
            </a:pPr>
            <a:r>
              <a:rPr lang="en-US" sz="3200" baseline="1137" dirty="0" smtClean="0">
                <a:solidFill>
                  <a:srgbClr val="7F7E7E"/>
                </a:solidFill>
                <a:cs typeface="Calibri"/>
              </a:rPr>
              <a:t>Keep going until you find the entire cluster and no point is left unvisited by this chain reaction</a:t>
            </a:r>
            <a:endParaRPr lang="en-US" sz="3200" i="1" baseline="1137" dirty="0">
              <a:solidFill>
                <a:srgbClr val="7F7E7E"/>
              </a:solidFill>
              <a:cs typeface="Calibri"/>
            </a:endParaRPr>
          </a:p>
        </p:txBody>
      </p:sp>
      <p:sp>
        <p:nvSpPr>
          <p:cNvPr id="90" name="object 15"/>
          <p:cNvSpPr txBox="1"/>
          <p:nvPr/>
        </p:nvSpPr>
        <p:spPr>
          <a:xfrm>
            <a:off x="349882" y="369650"/>
            <a:ext cx="1351013" cy="5207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985"/>
              </a:lnSpc>
              <a:spcBef>
                <a:spcPts val="99"/>
              </a:spcBef>
            </a:pPr>
            <a:r>
              <a:rPr sz="2700" spc="0" baseline="3034" dirty="0" smtClean="0">
                <a:solidFill>
                  <a:srgbClr val="215867"/>
                </a:solidFill>
                <a:latin typeface="+mj-lt"/>
                <a:cs typeface="Calibri"/>
              </a:rPr>
              <a:t>epsilon = 1.75</a:t>
            </a:r>
            <a:endParaRPr sz="1800" dirty="0">
              <a:latin typeface="+mj-lt"/>
              <a:cs typeface="Calibri"/>
            </a:endParaRPr>
          </a:p>
          <a:p>
            <a:pPr marL="12700" marR="34289">
              <a:lnSpc>
                <a:spcPts val="2100"/>
              </a:lnSpc>
              <a:spcBef>
                <a:spcPts val="5"/>
              </a:spcBef>
            </a:pPr>
            <a:r>
              <a:rPr sz="2700" spc="0" baseline="1517" dirty="0" smtClean="0">
                <a:solidFill>
                  <a:srgbClr val="215867"/>
                </a:solidFill>
                <a:latin typeface="+mj-lt"/>
                <a:cs typeface="Calibri"/>
              </a:rPr>
              <a:t>n_clu = 3</a:t>
            </a:r>
            <a:endParaRPr sz="1800" dirty="0">
              <a:latin typeface="+mj-lt"/>
              <a:cs typeface="Calibri"/>
            </a:endParaRPr>
          </a:p>
        </p:txBody>
      </p:sp>
      <p:sp>
        <p:nvSpPr>
          <p:cNvPr id="91" name="object 66"/>
          <p:cNvSpPr/>
          <p:nvPr/>
        </p:nvSpPr>
        <p:spPr>
          <a:xfrm>
            <a:off x="6114548" y="2650624"/>
            <a:ext cx="1810252" cy="1760707"/>
          </a:xfrm>
          <a:custGeom>
            <a:avLst/>
            <a:gdLst/>
            <a:ahLst/>
            <a:cxnLst/>
            <a:rect l="l" t="t" r="r" b="b"/>
            <a:pathLst>
              <a:path w="1810252" h="1760707">
                <a:moveTo>
                  <a:pt x="0" y="880353"/>
                </a:moveTo>
                <a:lnTo>
                  <a:pt x="3000" y="952556"/>
                </a:lnTo>
                <a:lnTo>
                  <a:pt x="11846" y="1023151"/>
                </a:lnTo>
                <a:lnTo>
                  <a:pt x="26305" y="1091913"/>
                </a:lnTo>
                <a:lnTo>
                  <a:pt x="46143" y="1158614"/>
                </a:lnTo>
                <a:lnTo>
                  <a:pt x="71129" y="1223027"/>
                </a:lnTo>
                <a:lnTo>
                  <a:pt x="101028" y="1284927"/>
                </a:lnTo>
                <a:lnTo>
                  <a:pt x="135608" y="1344087"/>
                </a:lnTo>
                <a:lnTo>
                  <a:pt x="174636" y="1400279"/>
                </a:lnTo>
                <a:lnTo>
                  <a:pt x="217880" y="1453279"/>
                </a:lnTo>
                <a:lnTo>
                  <a:pt x="265105" y="1502858"/>
                </a:lnTo>
                <a:lnTo>
                  <a:pt x="316079" y="1548791"/>
                </a:lnTo>
                <a:lnTo>
                  <a:pt x="370570" y="1590850"/>
                </a:lnTo>
                <a:lnTo>
                  <a:pt x="428344" y="1628810"/>
                </a:lnTo>
                <a:lnTo>
                  <a:pt x="489168" y="1662444"/>
                </a:lnTo>
                <a:lnTo>
                  <a:pt x="552810" y="1691525"/>
                </a:lnTo>
                <a:lnTo>
                  <a:pt x="619036" y="1715826"/>
                </a:lnTo>
                <a:lnTo>
                  <a:pt x="687614" y="1735122"/>
                </a:lnTo>
                <a:lnTo>
                  <a:pt x="758310" y="1749185"/>
                </a:lnTo>
                <a:lnTo>
                  <a:pt x="830892" y="1757789"/>
                </a:lnTo>
                <a:lnTo>
                  <a:pt x="905126" y="1760707"/>
                </a:lnTo>
                <a:lnTo>
                  <a:pt x="979361" y="1757789"/>
                </a:lnTo>
                <a:lnTo>
                  <a:pt x="1051942" y="1749185"/>
                </a:lnTo>
                <a:lnTo>
                  <a:pt x="1122639" y="1735122"/>
                </a:lnTo>
                <a:lnTo>
                  <a:pt x="1191216" y="1715826"/>
                </a:lnTo>
                <a:lnTo>
                  <a:pt x="1257442" y="1691525"/>
                </a:lnTo>
                <a:lnTo>
                  <a:pt x="1321084" y="1662444"/>
                </a:lnTo>
                <a:lnTo>
                  <a:pt x="1381908" y="1628810"/>
                </a:lnTo>
                <a:lnTo>
                  <a:pt x="1439682" y="1590850"/>
                </a:lnTo>
                <a:lnTo>
                  <a:pt x="1494173" y="1548791"/>
                </a:lnTo>
                <a:lnTo>
                  <a:pt x="1545147" y="1502858"/>
                </a:lnTo>
                <a:lnTo>
                  <a:pt x="1592373" y="1453279"/>
                </a:lnTo>
                <a:lnTo>
                  <a:pt x="1635616" y="1400279"/>
                </a:lnTo>
                <a:lnTo>
                  <a:pt x="1674644" y="1344087"/>
                </a:lnTo>
                <a:lnTo>
                  <a:pt x="1709224" y="1284927"/>
                </a:lnTo>
                <a:lnTo>
                  <a:pt x="1739123" y="1223027"/>
                </a:lnTo>
                <a:lnTo>
                  <a:pt x="1764109" y="1158614"/>
                </a:lnTo>
                <a:lnTo>
                  <a:pt x="1783947" y="1091913"/>
                </a:lnTo>
                <a:lnTo>
                  <a:pt x="1798406" y="1023151"/>
                </a:lnTo>
                <a:lnTo>
                  <a:pt x="1807252" y="952556"/>
                </a:lnTo>
                <a:lnTo>
                  <a:pt x="1810252" y="880353"/>
                </a:lnTo>
                <a:lnTo>
                  <a:pt x="1807252" y="808151"/>
                </a:lnTo>
                <a:lnTo>
                  <a:pt x="1798406" y="737555"/>
                </a:lnTo>
                <a:lnTo>
                  <a:pt x="1783947" y="668794"/>
                </a:lnTo>
                <a:lnTo>
                  <a:pt x="1764109" y="602094"/>
                </a:lnTo>
                <a:lnTo>
                  <a:pt x="1739123" y="537680"/>
                </a:lnTo>
                <a:lnTo>
                  <a:pt x="1709224" y="475780"/>
                </a:lnTo>
                <a:lnTo>
                  <a:pt x="1674644" y="416621"/>
                </a:lnTo>
                <a:lnTo>
                  <a:pt x="1635616" y="360428"/>
                </a:lnTo>
                <a:lnTo>
                  <a:pt x="1592373" y="307429"/>
                </a:lnTo>
                <a:lnTo>
                  <a:pt x="1545147" y="257849"/>
                </a:lnTo>
                <a:lnTo>
                  <a:pt x="1494173" y="211917"/>
                </a:lnTo>
                <a:lnTo>
                  <a:pt x="1439682" y="169857"/>
                </a:lnTo>
                <a:lnTo>
                  <a:pt x="1381908" y="131897"/>
                </a:lnTo>
                <a:lnTo>
                  <a:pt x="1321084" y="98263"/>
                </a:lnTo>
                <a:lnTo>
                  <a:pt x="1257442" y="69182"/>
                </a:lnTo>
                <a:lnTo>
                  <a:pt x="1191216" y="44881"/>
                </a:lnTo>
                <a:lnTo>
                  <a:pt x="1122639" y="25585"/>
                </a:lnTo>
                <a:lnTo>
                  <a:pt x="1051942" y="11522"/>
                </a:lnTo>
                <a:lnTo>
                  <a:pt x="979361" y="2918"/>
                </a:lnTo>
                <a:lnTo>
                  <a:pt x="905126" y="0"/>
                </a:lnTo>
                <a:lnTo>
                  <a:pt x="830892" y="2918"/>
                </a:lnTo>
                <a:lnTo>
                  <a:pt x="758310" y="11522"/>
                </a:lnTo>
                <a:lnTo>
                  <a:pt x="687614" y="25585"/>
                </a:lnTo>
                <a:lnTo>
                  <a:pt x="619036" y="44881"/>
                </a:lnTo>
                <a:lnTo>
                  <a:pt x="552810" y="69182"/>
                </a:lnTo>
                <a:lnTo>
                  <a:pt x="489168" y="98263"/>
                </a:lnTo>
                <a:lnTo>
                  <a:pt x="428344" y="131897"/>
                </a:lnTo>
                <a:lnTo>
                  <a:pt x="370570" y="169857"/>
                </a:lnTo>
                <a:lnTo>
                  <a:pt x="316079" y="211917"/>
                </a:lnTo>
                <a:lnTo>
                  <a:pt x="265105" y="257849"/>
                </a:lnTo>
                <a:lnTo>
                  <a:pt x="217880" y="307429"/>
                </a:lnTo>
                <a:lnTo>
                  <a:pt x="174636" y="360428"/>
                </a:lnTo>
                <a:lnTo>
                  <a:pt x="135608" y="416621"/>
                </a:lnTo>
                <a:lnTo>
                  <a:pt x="101028" y="475780"/>
                </a:lnTo>
                <a:lnTo>
                  <a:pt x="71129" y="537680"/>
                </a:lnTo>
                <a:lnTo>
                  <a:pt x="46143" y="602094"/>
                </a:lnTo>
                <a:lnTo>
                  <a:pt x="26305" y="668794"/>
                </a:lnTo>
                <a:lnTo>
                  <a:pt x="11846" y="737555"/>
                </a:lnTo>
                <a:lnTo>
                  <a:pt x="3000" y="808151"/>
                </a:lnTo>
                <a:lnTo>
                  <a:pt x="0" y="880353"/>
                </a:lnTo>
                <a:close/>
              </a:path>
            </a:pathLst>
          </a:custGeom>
          <a:solidFill>
            <a:srgbClr val="FAA657">
              <a:alpha val="51000"/>
            </a:srgbClr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2" name="object 82"/>
          <p:cNvSpPr/>
          <p:nvPr/>
        </p:nvSpPr>
        <p:spPr>
          <a:xfrm>
            <a:off x="4414372" y="54871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3" name="object 84"/>
          <p:cNvSpPr/>
          <p:nvPr/>
        </p:nvSpPr>
        <p:spPr>
          <a:xfrm>
            <a:off x="5399747" y="55212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4" name="object 86"/>
          <p:cNvSpPr/>
          <p:nvPr/>
        </p:nvSpPr>
        <p:spPr>
          <a:xfrm>
            <a:off x="6251551" y="55023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5" name="object 74"/>
          <p:cNvSpPr/>
          <p:nvPr/>
        </p:nvSpPr>
        <p:spPr>
          <a:xfrm>
            <a:off x="2668469" y="519520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6" name="object 72"/>
          <p:cNvSpPr/>
          <p:nvPr/>
        </p:nvSpPr>
        <p:spPr>
          <a:xfrm>
            <a:off x="5959366" y="251737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40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80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7" name="object 70"/>
          <p:cNvSpPr/>
          <p:nvPr/>
        </p:nvSpPr>
        <p:spPr>
          <a:xfrm>
            <a:off x="5560113" y="213564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8" name="object 68"/>
          <p:cNvSpPr/>
          <p:nvPr/>
        </p:nvSpPr>
        <p:spPr>
          <a:xfrm>
            <a:off x="5148028" y="1723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9" name="object 66"/>
          <p:cNvSpPr/>
          <p:nvPr/>
        </p:nvSpPr>
        <p:spPr>
          <a:xfrm>
            <a:off x="6872003" y="34121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0" name="object 63"/>
          <p:cNvSpPr/>
          <p:nvPr/>
        </p:nvSpPr>
        <p:spPr>
          <a:xfrm>
            <a:off x="5880842" y="502152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6"/>
                </a:lnTo>
                <a:lnTo>
                  <a:pt x="1583" y="198179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6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2"/>
                </a:lnTo>
                <a:lnTo>
                  <a:pt x="49876" y="299561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6"/>
                </a:lnTo>
                <a:lnTo>
                  <a:pt x="196530" y="342926"/>
                </a:lnTo>
                <a:lnTo>
                  <a:pt x="209650" y="339004"/>
                </a:lnTo>
                <a:lnTo>
                  <a:pt x="222295" y="333936"/>
                </a:lnTo>
                <a:lnTo>
                  <a:pt x="234413" y="327778"/>
                </a:lnTo>
                <a:lnTo>
                  <a:pt x="245953" y="320583"/>
                </a:lnTo>
                <a:lnTo>
                  <a:pt x="256864" y="312409"/>
                </a:lnTo>
                <a:lnTo>
                  <a:pt x="267095" y="303311"/>
                </a:lnTo>
                <a:lnTo>
                  <a:pt x="276595" y="293343"/>
                </a:lnTo>
                <a:lnTo>
                  <a:pt x="285312" y="282562"/>
                </a:lnTo>
                <a:lnTo>
                  <a:pt x="293195" y="271023"/>
                </a:lnTo>
                <a:lnTo>
                  <a:pt x="300193" y="258781"/>
                </a:lnTo>
                <a:lnTo>
                  <a:pt x="306255" y="245892"/>
                </a:lnTo>
                <a:lnTo>
                  <a:pt x="311330" y="232411"/>
                </a:lnTo>
                <a:lnTo>
                  <a:pt x="315366" y="218394"/>
                </a:lnTo>
                <a:lnTo>
                  <a:pt x="318312" y="203896"/>
                </a:lnTo>
                <a:lnTo>
                  <a:pt x="320117" y="188973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9" y="93485"/>
                </a:lnTo>
                <a:lnTo>
                  <a:pt x="296006" y="80986"/>
                </a:lnTo>
                <a:lnTo>
                  <a:pt x="288459" y="69169"/>
                </a:lnTo>
                <a:lnTo>
                  <a:pt x="280058" y="58089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4"/>
                </a:lnTo>
                <a:lnTo>
                  <a:pt x="86318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1" name="object 62"/>
          <p:cNvSpPr/>
          <p:nvPr/>
        </p:nvSpPr>
        <p:spPr>
          <a:xfrm>
            <a:off x="4326962" y="34938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2" name="object 60"/>
          <p:cNvSpPr/>
          <p:nvPr/>
        </p:nvSpPr>
        <p:spPr>
          <a:xfrm>
            <a:off x="3451263" y="457102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3" name="object 58"/>
          <p:cNvSpPr/>
          <p:nvPr/>
        </p:nvSpPr>
        <p:spPr>
          <a:xfrm>
            <a:off x="7513462" y="204543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4" name="object 56"/>
          <p:cNvSpPr/>
          <p:nvPr/>
        </p:nvSpPr>
        <p:spPr>
          <a:xfrm>
            <a:off x="6553321" y="196196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5" name="object 54"/>
          <p:cNvSpPr/>
          <p:nvPr/>
        </p:nvSpPr>
        <p:spPr>
          <a:xfrm>
            <a:off x="7353097" y="275391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57150">
            <a:solidFill>
              <a:srgbClr val="F69545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6" name="object 52"/>
          <p:cNvSpPr/>
          <p:nvPr/>
        </p:nvSpPr>
        <p:spPr>
          <a:xfrm>
            <a:off x="4696124" y="412086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7" name="object 50"/>
          <p:cNvSpPr/>
          <p:nvPr/>
        </p:nvSpPr>
        <p:spPr>
          <a:xfrm>
            <a:off x="4441297" y="46123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8" name="object 48"/>
          <p:cNvSpPr/>
          <p:nvPr/>
        </p:nvSpPr>
        <p:spPr>
          <a:xfrm>
            <a:off x="3130532" y="40499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9" name="object 42"/>
          <p:cNvSpPr/>
          <p:nvPr/>
        </p:nvSpPr>
        <p:spPr>
          <a:xfrm>
            <a:off x="5748103" y="33118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0" name="object 44"/>
          <p:cNvSpPr/>
          <p:nvPr/>
        </p:nvSpPr>
        <p:spPr>
          <a:xfrm>
            <a:off x="5560113" y="25802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1" name="object 46"/>
          <p:cNvSpPr/>
          <p:nvPr/>
        </p:nvSpPr>
        <p:spPr>
          <a:xfrm>
            <a:off x="5421508" y="296447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2" name="object 40"/>
          <p:cNvSpPr/>
          <p:nvPr/>
        </p:nvSpPr>
        <p:spPr>
          <a:xfrm>
            <a:off x="5213120" y="49216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3" name="object 38"/>
          <p:cNvSpPr/>
          <p:nvPr/>
        </p:nvSpPr>
        <p:spPr>
          <a:xfrm>
            <a:off x="7032365" y="221911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4" name="object 36"/>
          <p:cNvSpPr/>
          <p:nvPr/>
        </p:nvSpPr>
        <p:spPr>
          <a:xfrm>
            <a:off x="7385165" y="340218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6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7"/>
                </a:lnTo>
                <a:lnTo>
                  <a:pt x="310251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937AB1"/>
          </a:solidFill>
          <a:ln w="57150">
            <a:solidFill>
              <a:srgbClr val="F69545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5" name="object 34"/>
          <p:cNvSpPr/>
          <p:nvPr/>
        </p:nvSpPr>
        <p:spPr>
          <a:xfrm>
            <a:off x="5038354" y="24830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6" name="object 32"/>
          <p:cNvSpPr/>
          <p:nvPr/>
        </p:nvSpPr>
        <p:spPr>
          <a:xfrm>
            <a:off x="7192732" y="159327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7" name="object 30"/>
          <p:cNvSpPr/>
          <p:nvPr/>
        </p:nvSpPr>
        <p:spPr>
          <a:xfrm>
            <a:off x="6201572" y="316997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8" name="object 28"/>
          <p:cNvSpPr/>
          <p:nvPr/>
        </p:nvSpPr>
        <p:spPr>
          <a:xfrm>
            <a:off x="4877989" y="532865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9" name="object 26"/>
          <p:cNvSpPr/>
          <p:nvPr/>
        </p:nvSpPr>
        <p:spPr>
          <a:xfrm>
            <a:off x="5581873" y="4521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0" name="object 24"/>
          <p:cNvSpPr/>
          <p:nvPr/>
        </p:nvSpPr>
        <p:spPr>
          <a:xfrm>
            <a:off x="3528670" y="35173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1" name="object 22"/>
          <p:cNvSpPr/>
          <p:nvPr/>
        </p:nvSpPr>
        <p:spPr>
          <a:xfrm>
            <a:off x="3252845" y="520650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2" name="object 20"/>
          <p:cNvSpPr/>
          <p:nvPr/>
        </p:nvSpPr>
        <p:spPr>
          <a:xfrm>
            <a:off x="3849401" y="4051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3" name="object 18"/>
          <p:cNvSpPr/>
          <p:nvPr/>
        </p:nvSpPr>
        <p:spPr>
          <a:xfrm>
            <a:off x="6713687" y="269105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57150">
            <a:solidFill>
              <a:srgbClr val="F69545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4" name="object 6"/>
          <p:cNvSpPr txBox="1"/>
          <p:nvPr/>
        </p:nvSpPr>
        <p:spPr>
          <a:xfrm>
            <a:off x="1332125" y="3759280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grpSp>
        <p:nvGrpSpPr>
          <p:cNvPr id="125" name="Group 124"/>
          <p:cNvGrpSpPr/>
          <p:nvPr/>
        </p:nvGrpSpPr>
        <p:grpSpPr>
          <a:xfrm>
            <a:off x="2383438" y="1888930"/>
            <a:ext cx="6303362" cy="4054670"/>
            <a:chOff x="2343901" y="1923700"/>
            <a:chExt cx="6303362" cy="4054670"/>
          </a:xfrm>
        </p:grpSpPr>
        <p:sp>
          <p:nvSpPr>
            <p:cNvPr id="126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127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bject 10"/>
          <p:cNvSpPr txBox="1"/>
          <p:nvPr/>
        </p:nvSpPr>
        <p:spPr>
          <a:xfrm>
            <a:off x="2101916" y="369650"/>
            <a:ext cx="6296519" cy="4318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3400"/>
              </a:lnSpc>
              <a:spcBef>
                <a:spcPts val="170"/>
              </a:spcBef>
            </a:pPr>
            <a:r>
              <a:rPr lang="en-US" sz="4800" baseline="1706" dirty="0">
                <a:solidFill>
                  <a:srgbClr val="4E81BC"/>
                </a:solidFill>
                <a:latin typeface="+mj-lt"/>
                <a:cs typeface="Calibri"/>
              </a:rPr>
              <a:t>Agglomerative </a:t>
            </a:r>
            <a:r>
              <a:rPr sz="4800" spc="0" baseline="1706" dirty="0" smtClean="0">
                <a:solidFill>
                  <a:srgbClr val="4E81BC"/>
                </a:solidFill>
                <a:latin typeface="+mj-lt"/>
                <a:cs typeface="Calibri"/>
              </a:rPr>
              <a:t>Hierarchical Clustering</a:t>
            </a:r>
            <a:endParaRPr sz="3200" dirty="0">
              <a:latin typeface="+mj-lt"/>
              <a:cs typeface="Calibri"/>
            </a:endParaRPr>
          </a:p>
        </p:txBody>
      </p:sp>
      <p:sp>
        <p:nvSpPr>
          <p:cNvPr id="82" name="object 82"/>
          <p:cNvSpPr/>
          <p:nvPr/>
        </p:nvSpPr>
        <p:spPr>
          <a:xfrm>
            <a:off x="4414372" y="54871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3" name="object 84"/>
          <p:cNvSpPr/>
          <p:nvPr/>
        </p:nvSpPr>
        <p:spPr>
          <a:xfrm>
            <a:off x="5399747" y="55212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4" name="object 86"/>
          <p:cNvSpPr/>
          <p:nvPr/>
        </p:nvSpPr>
        <p:spPr>
          <a:xfrm>
            <a:off x="6251551" y="55023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5" name="object 74"/>
          <p:cNvSpPr/>
          <p:nvPr/>
        </p:nvSpPr>
        <p:spPr>
          <a:xfrm>
            <a:off x="2668469" y="519520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6" name="object 72"/>
          <p:cNvSpPr/>
          <p:nvPr/>
        </p:nvSpPr>
        <p:spPr>
          <a:xfrm>
            <a:off x="5959366" y="251737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40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80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7" name="object 70"/>
          <p:cNvSpPr/>
          <p:nvPr/>
        </p:nvSpPr>
        <p:spPr>
          <a:xfrm>
            <a:off x="5560113" y="213564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8" name="object 68"/>
          <p:cNvSpPr/>
          <p:nvPr/>
        </p:nvSpPr>
        <p:spPr>
          <a:xfrm>
            <a:off x="5148028" y="1723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9" name="object 66"/>
          <p:cNvSpPr/>
          <p:nvPr/>
        </p:nvSpPr>
        <p:spPr>
          <a:xfrm>
            <a:off x="6872003" y="34121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0" name="object 63"/>
          <p:cNvSpPr/>
          <p:nvPr/>
        </p:nvSpPr>
        <p:spPr>
          <a:xfrm>
            <a:off x="5880842" y="502152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6"/>
                </a:lnTo>
                <a:lnTo>
                  <a:pt x="1583" y="198179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6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2"/>
                </a:lnTo>
                <a:lnTo>
                  <a:pt x="49876" y="299561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6"/>
                </a:lnTo>
                <a:lnTo>
                  <a:pt x="196530" y="342926"/>
                </a:lnTo>
                <a:lnTo>
                  <a:pt x="209650" y="339004"/>
                </a:lnTo>
                <a:lnTo>
                  <a:pt x="222295" y="333936"/>
                </a:lnTo>
                <a:lnTo>
                  <a:pt x="234413" y="327778"/>
                </a:lnTo>
                <a:lnTo>
                  <a:pt x="245953" y="320583"/>
                </a:lnTo>
                <a:lnTo>
                  <a:pt x="256864" y="312409"/>
                </a:lnTo>
                <a:lnTo>
                  <a:pt x="267095" y="303311"/>
                </a:lnTo>
                <a:lnTo>
                  <a:pt x="276595" y="293343"/>
                </a:lnTo>
                <a:lnTo>
                  <a:pt x="285312" y="282562"/>
                </a:lnTo>
                <a:lnTo>
                  <a:pt x="293195" y="271023"/>
                </a:lnTo>
                <a:lnTo>
                  <a:pt x="300193" y="258781"/>
                </a:lnTo>
                <a:lnTo>
                  <a:pt x="306255" y="245892"/>
                </a:lnTo>
                <a:lnTo>
                  <a:pt x="311330" y="232411"/>
                </a:lnTo>
                <a:lnTo>
                  <a:pt x="315366" y="218394"/>
                </a:lnTo>
                <a:lnTo>
                  <a:pt x="318312" y="203896"/>
                </a:lnTo>
                <a:lnTo>
                  <a:pt x="320117" y="188973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9" y="93485"/>
                </a:lnTo>
                <a:lnTo>
                  <a:pt x="296006" y="80986"/>
                </a:lnTo>
                <a:lnTo>
                  <a:pt x="288459" y="69169"/>
                </a:lnTo>
                <a:lnTo>
                  <a:pt x="280058" y="58089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4"/>
                </a:lnTo>
                <a:lnTo>
                  <a:pt x="86318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1" name="object 62"/>
          <p:cNvSpPr/>
          <p:nvPr/>
        </p:nvSpPr>
        <p:spPr>
          <a:xfrm>
            <a:off x="4326962" y="34938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2" name="object 60"/>
          <p:cNvSpPr/>
          <p:nvPr/>
        </p:nvSpPr>
        <p:spPr>
          <a:xfrm>
            <a:off x="3451263" y="457102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3" name="object 58"/>
          <p:cNvSpPr/>
          <p:nvPr/>
        </p:nvSpPr>
        <p:spPr>
          <a:xfrm>
            <a:off x="7513462" y="204543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4" name="object 56"/>
          <p:cNvSpPr/>
          <p:nvPr/>
        </p:nvSpPr>
        <p:spPr>
          <a:xfrm>
            <a:off x="6553321" y="196196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5" name="object 54"/>
          <p:cNvSpPr/>
          <p:nvPr/>
        </p:nvSpPr>
        <p:spPr>
          <a:xfrm>
            <a:off x="7353097" y="275391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6" name="object 52"/>
          <p:cNvSpPr/>
          <p:nvPr/>
        </p:nvSpPr>
        <p:spPr>
          <a:xfrm>
            <a:off x="4696124" y="412086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7" name="object 50"/>
          <p:cNvSpPr/>
          <p:nvPr/>
        </p:nvSpPr>
        <p:spPr>
          <a:xfrm>
            <a:off x="4441297" y="46123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8" name="object 48"/>
          <p:cNvSpPr/>
          <p:nvPr/>
        </p:nvSpPr>
        <p:spPr>
          <a:xfrm>
            <a:off x="3130532" y="40499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9" name="object 42"/>
          <p:cNvSpPr/>
          <p:nvPr/>
        </p:nvSpPr>
        <p:spPr>
          <a:xfrm>
            <a:off x="5748103" y="33118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ln/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0" name="object 44"/>
          <p:cNvSpPr/>
          <p:nvPr/>
        </p:nvSpPr>
        <p:spPr>
          <a:xfrm>
            <a:off x="5560113" y="25802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1" name="object 46"/>
          <p:cNvSpPr/>
          <p:nvPr/>
        </p:nvSpPr>
        <p:spPr>
          <a:xfrm>
            <a:off x="5421508" y="296447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2" name="object 40"/>
          <p:cNvSpPr/>
          <p:nvPr/>
        </p:nvSpPr>
        <p:spPr>
          <a:xfrm>
            <a:off x="5213120" y="49216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3" name="object 38"/>
          <p:cNvSpPr/>
          <p:nvPr/>
        </p:nvSpPr>
        <p:spPr>
          <a:xfrm>
            <a:off x="7032365" y="221911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4" name="object 36"/>
          <p:cNvSpPr/>
          <p:nvPr/>
        </p:nvSpPr>
        <p:spPr>
          <a:xfrm>
            <a:off x="7385165" y="340218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6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7"/>
                </a:lnTo>
                <a:lnTo>
                  <a:pt x="310251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5" name="object 34"/>
          <p:cNvSpPr/>
          <p:nvPr/>
        </p:nvSpPr>
        <p:spPr>
          <a:xfrm>
            <a:off x="5038354" y="24830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6" name="object 32"/>
          <p:cNvSpPr/>
          <p:nvPr/>
        </p:nvSpPr>
        <p:spPr>
          <a:xfrm>
            <a:off x="7192732" y="159327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7" name="object 30"/>
          <p:cNvSpPr/>
          <p:nvPr/>
        </p:nvSpPr>
        <p:spPr>
          <a:xfrm>
            <a:off x="6201572" y="316997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ln/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8" name="object 28"/>
          <p:cNvSpPr/>
          <p:nvPr/>
        </p:nvSpPr>
        <p:spPr>
          <a:xfrm>
            <a:off x="4877989" y="532865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9" name="object 26"/>
          <p:cNvSpPr/>
          <p:nvPr/>
        </p:nvSpPr>
        <p:spPr>
          <a:xfrm>
            <a:off x="5581873" y="4521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0" name="object 24"/>
          <p:cNvSpPr/>
          <p:nvPr/>
        </p:nvSpPr>
        <p:spPr>
          <a:xfrm>
            <a:off x="3528670" y="35173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1" name="object 22"/>
          <p:cNvSpPr/>
          <p:nvPr/>
        </p:nvSpPr>
        <p:spPr>
          <a:xfrm>
            <a:off x="3252845" y="520650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2" name="object 20"/>
          <p:cNvSpPr/>
          <p:nvPr/>
        </p:nvSpPr>
        <p:spPr>
          <a:xfrm>
            <a:off x="3849401" y="4051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3" name="object 18"/>
          <p:cNvSpPr/>
          <p:nvPr/>
        </p:nvSpPr>
        <p:spPr>
          <a:xfrm>
            <a:off x="6713687" y="269105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4" name="object 6"/>
          <p:cNvSpPr txBox="1"/>
          <p:nvPr/>
        </p:nvSpPr>
        <p:spPr>
          <a:xfrm>
            <a:off x="1332125" y="3759280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sp>
        <p:nvSpPr>
          <p:cNvPr id="115" name="object 5"/>
          <p:cNvSpPr txBox="1"/>
          <p:nvPr/>
        </p:nvSpPr>
        <p:spPr>
          <a:xfrm>
            <a:off x="5426815" y="6116930"/>
            <a:ext cx="542241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Age</a:t>
            </a:r>
            <a:endParaRPr sz="2400">
              <a:cs typeface="Calibri"/>
            </a:endParaRPr>
          </a:p>
        </p:txBody>
      </p:sp>
      <p:grpSp>
        <p:nvGrpSpPr>
          <p:cNvPr id="116" name="Group 115"/>
          <p:cNvGrpSpPr/>
          <p:nvPr/>
        </p:nvGrpSpPr>
        <p:grpSpPr>
          <a:xfrm>
            <a:off x="2383438" y="1888930"/>
            <a:ext cx="6303362" cy="4054670"/>
            <a:chOff x="2343901" y="1923700"/>
            <a:chExt cx="6303362" cy="4054670"/>
          </a:xfrm>
        </p:grpSpPr>
        <p:sp>
          <p:nvSpPr>
            <p:cNvPr id="117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118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  <p:sp>
        <p:nvSpPr>
          <p:cNvPr id="119" name="object 11"/>
          <p:cNvSpPr txBox="1"/>
          <p:nvPr/>
        </p:nvSpPr>
        <p:spPr>
          <a:xfrm>
            <a:off x="2101916" y="852250"/>
            <a:ext cx="6584884" cy="4318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3400"/>
              </a:lnSpc>
              <a:spcBef>
                <a:spcPts val="170"/>
              </a:spcBef>
            </a:pPr>
            <a:r>
              <a:rPr sz="4800" spc="0" baseline="1706" dirty="0" smtClean="0">
                <a:solidFill>
                  <a:srgbClr val="7F7E7E"/>
                </a:solidFill>
                <a:latin typeface="+mj-lt"/>
                <a:cs typeface="Calibri"/>
              </a:rPr>
              <a:t>Find</a:t>
            </a:r>
            <a:r>
              <a:rPr lang="en-US" sz="4800" spc="0" baseline="1706" dirty="0" smtClean="0">
                <a:solidFill>
                  <a:srgbClr val="7F7E7E"/>
                </a:solidFill>
                <a:latin typeface="+mj-lt"/>
                <a:cs typeface="Calibri"/>
              </a:rPr>
              <a:t> next closet pair, merge</a:t>
            </a:r>
            <a:endParaRPr sz="3200" dirty="0">
              <a:latin typeface="+mj-lt"/>
              <a:cs typeface="Calibri"/>
            </a:endParaRPr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9" name="object 5"/>
          <p:cNvSpPr txBox="1"/>
          <p:nvPr/>
        </p:nvSpPr>
        <p:spPr>
          <a:xfrm>
            <a:off x="2101916" y="365536"/>
            <a:ext cx="6889684" cy="1166986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 marR="41909">
              <a:lnSpc>
                <a:spcPts val="3454"/>
              </a:lnSpc>
              <a:spcBef>
                <a:spcPts val="172"/>
              </a:spcBef>
            </a:pPr>
            <a:r>
              <a:rPr sz="4800" spc="0" baseline="2560" dirty="0" smtClean="0">
                <a:solidFill>
                  <a:srgbClr val="4E81BC"/>
                </a:solidFill>
                <a:latin typeface="+mj-lt"/>
                <a:cs typeface="Calibri"/>
              </a:rPr>
              <a:t>DBSC</a:t>
            </a:r>
            <a:r>
              <a:rPr sz="4800" spc="-4" baseline="2560" dirty="0" smtClean="0">
                <a:solidFill>
                  <a:srgbClr val="4E81BC"/>
                </a:solidFill>
                <a:latin typeface="+mj-lt"/>
                <a:cs typeface="Calibri"/>
              </a:rPr>
              <a:t>A</a:t>
            </a:r>
            <a:r>
              <a:rPr sz="4800" spc="0" baseline="2560" dirty="0" smtClean="0">
                <a:solidFill>
                  <a:srgbClr val="4E81BC"/>
                </a:solidFill>
                <a:latin typeface="+mj-lt"/>
                <a:cs typeface="Calibri"/>
              </a:rPr>
              <a:t>N</a:t>
            </a:r>
            <a:endParaRPr sz="3200" dirty="0">
              <a:latin typeface="+mj-lt"/>
              <a:cs typeface="Calibri"/>
            </a:endParaRPr>
          </a:p>
          <a:p>
            <a:pPr marL="12700">
              <a:lnSpc>
                <a:spcPts val="2770"/>
              </a:lnSpc>
            </a:pPr>
            <a:r>
              <a:rPr lang="en-US" sz="3200" baseline="1137" dirty="0" smtClean="0">
                <a:solidFill>
                  <a:srgbClr val="7F7E7E"/>
                </a:solidFill>
                <a:cs typeface="Calibri"/>
              </a:rPr>
              <a:t>Keep going until you find the entire cluster and no point is left unvisited by this chain reaction</a:t>
            </a:r>
            <a:endParaRPr lang="en-US" sz="3200" i="1" baseline="1137" dirty="0">
              <a:solidFill>
                <a:srgbClr val="7F7E7E"/>
              </a:solidFill>
              <a:cs typeface="Calibri"/>
            </a:endParaRPr>
          </a:p>
        </p:txBody>
      </p:sp>
      <p:sp>
        <p:nvSpPr>
          <p:cNvPr id="90" name="object 15"/>
          <p:cNvSpPr txBox="1"/>
          <p:nvPr/>
        </p:nvSpPr>
        <p:spPr>
          <a:xfrm>
            <a:off x="349882" y="369650"/>
            <a:ext cx="1351013" cy="5207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985"/>
              </a:lnSpc>
              <a:spcBef>
                <a:spcPts val="99"/>
              </a:spcBef>
            </a:pPr>
            <a:r>
              <a:rPr sz="2700" spc="0" baseline="3034" dirty="0" smtClean="0">
                <a:solidFill>
                  <a:srgbClr val="215867"/>
                </a:solidFill>
                <a:latin typeface="+mj-lt"/>
                <a:cs typeface="Calibri"/>
              </a:rPr>
              <a:t>epsilon = 1.75</a:t>
            </a:r>
            <a:endParaRPr sz="1800" dirty="0">
              <a:latin typeface="+mj-lt"/>
              <a:cs typeface="Calibri"/>
            </a:endParaRPr>
          </a:p>
          <a:p>
            <a:pPr marL="12700" marR="34289">
              <a:lnSpc>
                <a:spcPts val="2100"/>
              </a:lnSpc>
              <a:spcBef>
                <a:spcPts val="5"/>
              </a:spcBef>
            </a:pPr>
            <a:r>
              <a:rPr sz="2700" spc="0" baseline="1517" dirty="0" smtClean="0">
                <a:solidFill>
                  <a:srgbClr val="215867"/>
                </a:solidFill>
                <a:latin typeface="+mj-lt"/>
                <a:cs typeface="Calibri"/>
              </a:rPr>
              <a:t>n_clu = 3</a:t>
            </a:r>
            <a:endParaRPr sz="1800" dirty="0">
              <a:latin typeface="+mj-lt"/>
              <a:cs typeface="Calibri"/>
            </a:endParaRPr>
          </a:p>
        </p:txBody>
      </p:sp>
      <p:sp>
        <p:nvSpPr>
          <p:cNvPr id="91" name="object 66"/>
          <p:cNvSpPr/>
          <p:nvPr/>
        </p:nvSpPr>
        <p:spPr>
          <a:xfrm>
            <a:off x="6598008" y="2738874"/>
            <a:ext cx="1810252" cy="1760707"/>
          </a:xfrm>
          <a:custGeom>
            <a:avLst/>
            <a:gdLst/>
            <a:ahLst/>
            <a:cxnLst/>
            <a:rect l="l" t="t" r="r" b="b"/>
            <a:pathLst>
              <a:path w="1810252" h="1760707">
                <a:moveTo>
                  <a:pt x="0" y="880353"/>
                </a:moveTo>
                <a:lnTo>
                  <a:pt x="3000" y="952556"/>
                </a:lnTo>
                <a:lnTo>
                  <a:pt x="11846" y="1023151"/>
                </a:lnTo>
                <a:lnTo>
                  <a:pt x="26305" y="1091913"/>
                </a:lnTo>
                <a:lnTo>
                  <a:pt x="46143" y="1158614"/>
                </a:lnTo>
                <a:lnTo>
                  <a:pt x="71129" y="1223027"/>
                </a:lnTo>
                <a:lnTo>
                  <a:pt x="101028" y="1284927"/>
                </a:lnTo>
                <a:lnTo>
                  <a:pt x="135608" y="1344087"/>
                </a:lnTo>
                <a:lnTo>
                  <a:pt x="174636" y="1400279"/>
                </a:lnTo>
                <a:lnTo>
                  <a:pt x="217880" y="1453279"/>
                </a:lnTo>
                <a:lnTo>
                  <a:pt x="265105" y="1502858"/>
                </a:lnTo>
                <a:lnTo>
                  <a:pt x="316079" y="1548791"/>
                </a:lnTo>
                <a:lnTo>
                  <a:pt x="370570" y="1590850"/>
                </a:lnTo>
                <a:lnTo>
                  <a:pt x="428344" y="1628810"/>
                </a:lnTo>
                <a:lnTo>
                  <a:pt x="489168" y="1662444"/>
                </a:lnTo>
                <a:lnTo>
                  <a:pt x="552810" y="1691525"/>
                </a:lnTo>
                <a:lnTo>
                  <a:pt x="619036" y="1715826"/>
                </a:lnTo>
                <a:lnTo>
                  <a:pt x="687614" y="1735122"/>
                </a:lnTo>
                <a:lnTo>
                  <a:pt x="758310" y="1749185"/>
                </a:lnTo>
                <a:lnTo>
                  <a:pt x="830892" y="1757789"/>
                </a:lnTo>
                <a:lnTo>
                  <a:pt x="905126" y="1760707"/>
                </a:lnTo>
                <a:lnTo>
                  <a:pt x="979361" y="1757789"/>
                </a:lnTo>
                <a:lnTo>
                  <a:pt x="1051942" y="1749185"/>
                </a:lnTo>
                <a:lnTo>
                  <a:pt x="1122639" y="1735122"/>
                </a:lnTo>
                <a:lnTo>
                  <a:pt x="1191216" y="1715826"/>
                </a:lnTo>
                <a:lnTo>
                  <a:pt x="1257442" y="1691525"/>
                </a:lnTo>
                <a:lnTo>
                  <a:pt x="1321084" y="1662444"/>
                </a:lnTo>
                <a:lnTo>
                  <a:pt x="1381908" y="1628810"/>
                </a:lnTo>
                <a:lnTo>
                  <a:pt x="1439682" y="1590850"/>
                </a:lnTo>
                <a:lnTo>
                  <a:pt x="1494173" y="1548791"/>
                </a:lnTo>
                <a:lnTo>
                  <a:pt x="1545147" y="1502858"/>
                </a:lnTo>
                <a:lnTo>
                  <a:pt x="1592373" y="1453279"/>
                </a:lnTo>
                <a:lnTo>
                  <a:pt x="1635616" y="1400279"/>
                </a:lnTo>
                <a:lnTo>
                  <a:pt x="1674644" y="1344087"/>
                </a:lnTo>
                <a:lnTo>
                  <a:pt x="1709224" y="1284927"/>
                </a:lnTo>
                <a:lnTo>
                  <a:pt x="1739123" y="1223027"/>
                </a:lnTo>
                <a:lnTo>
                  <a:pt x="1764109" y="1158614"/>
                </a:lnTo>
                <a:lnTo>
                  <a:pt x="1783947" y="1091913"/>
                </a:lnTo>
                <a:lnTo>
                  <a:pt x="1798406" y="1023151"/>
                </a:lnTo>
                <a:lnTo>
                  <a:pt x="1807252" y="952556"/>
                </a:lnTo>
                <a:lnTo>
                  <a:pt x="1810252" y="880353"/>
                </a:lnTo>
                <a:lnTo>
                  <a:pt x="1807252" y="808151"/>
                </a:lnTo>
                <a:lnTo>
                  <a:pt x="1798406" y="737555"/>
                </a:lnTo>
                <a:lnTo>
                  <a:pt x="1783947" y="668794"/>
                </a:lnTo>
                <a:lnTo>
                  <a:pt x="1764109" y="602094"/>
                </a:lnTo>
                <a:lnTo>
                  <a:pt x="1739123" y="537680"/>
                </a:lnTo>
                <a:lnTo>
                  <a:pt x="1709224" y="475780"/>
                </a:lnTo>
                <a:lnTo>
                  <a:pt x="1674644" y="416621"/>
                </a:lnTo>
                <a:lnTo>
                  <a:pt x="1635616" y="360428"/>
                </a:lnTo>
                <a:lnTo>
                  <a:pt x="1592373" y="307429"/>
                </a:lnTo>
                <a:lnTo>
                  <a:pt x="1545147" y="257849"/>
                </a:lnTo>
                <a:lnTo>
                  <a:pt x="1494173" y="211917"/>
                </a:lnTo>
                <a:lnTo>
                  <a:pt x="1439682" y="169857"/>
                </a:lnTo>
                <a:lnTo>
                  <a:pt x="1381908" y="131897"/>
                </a:lnTo>
                <a:lnTo>
                  <a:pt x="1321084" y="98263"/>
                </a:lnTo>
                <a:lnTo>
                  <a:pt x="1257442" y="69182"/>
                </a:lnTo>
                <a:lnTo>
                  <a:pt x="1191216" y="44881"/>
                </a:lnTo>
                <a:lnTo>
                  <a:pt x="1122639" y="25585"/>
                </a:lnTo>
                <a:lnTo>
                  <a:pt x="1051942" y="11522"/>
                </a:lnTo>
                <a:lnTo>
                  <a:pt x="979361" y="2918"/>
                </a:lnTo>
                <a:lnTo>
                  <a:pt x="905126" y="0"/>
                </a:lnTo>
                <a:lnTo>
                  <a:pt x="830892" y="2918"/>
                </a:lnTo>
                <a:lnTo>
                  <a:pt x="758310" y="11522"/>
                </a:lnTo>
                <a:lnTo>
                  <a:pt x="687614" y="25585"/>
                </a:lnTo>
                <a:lnTo>
                  <a:pt x="619036" y="44881"/>
                </a:lnTo>
                <a:lnTo>
                  <a:pt x="552810" y="69182"/>
                </a:lnTo>
                <a:lnTo>
                  <a:pt x="489168" y="98263"/>
                </a:lnTo>
                <a:lnTo>
                  <a:pt x="428344" y="131897"/>
                </a:lnTo>
                <a:lnTo>
                  <a:pt x="370570" y="169857"/>
                </a:lnTo>
                <a:lnTo>
                  <a:pt x="316079" y="211917"/>
                </a:lnTo>
                <a:lnTo>
                  <a:pt x="265105" y="257849"/>
                </a:lnTo>
                <a:lnTo>
                  <a:pt x="217880" y="307429"/>
                </a:lnTo>
                <a:lnTo>
                  <a:pt x="174636" y="360428"/>
                </a:lnTo>
                <a:lnTo>
                  <a:pt x="135608" y="416621"/>
                </a:lnTo>
                <a:lnTo>
                  <a:pt x="101028" y="475780"/>
                </a:lnTo>
                <a:lnTo>
                  <a:pt x="71129" y="537680"/>
                </a:lnTo>
                <a:lnTo>
                  <a:pt x="46143" y="602094"/>
                </a:lnTo>
                <a:lnTo>
                  <a:pt x="26305" y="668794"/>
                </a:lnTo>
                <a:lnTo>
                  <a:pt x="11846" y="737555"/>
                </a:lnTo>
                <a:lnTo>
                  <a:pt x="3000" y="808151"/>
                </a:lnTo>
                <a:lnTo>
                  <a:pt x="0" y="880353"/>
                </a:lnTo>
                <a:close/>
              </a:path>
            </a:pathLst>
          </a:custGeom>
          <a:solidFill>
            <a:srgbClr val="FAA657">
              <a:alpha val="51000"/>
            </a:srgbClr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2" name="object 82"/>
          <p:cNvSpPr/>
          <p:nvPr/>
        </p:nvSpPr>
        <p:spPr>
          <a:xfrm>
            <a:off x="4414372" y="54871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3" name="object 84"/>
          <p:cNvSpPr/>
          <p:nvPr/>
        </p:nvSpPr>
        <p:spPr>
          <a:xfrm>
            <a:off x="5399747" y="55212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4" name="object 86"/>
          <p:cNvSpPr/>
          <p:nvPr/>
        </p:nvSpPr>
        <p:spPr>
          <a:xfrm>
            <a:off x="6251551" y="55023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5" name="object 74"/>
          <p:cNvSpPr/>
          <p:nvPr/>
        </p:nvSpPr>
        <p:spPr>
          <a:xfrm>
            <a:off x="2668469" y="519520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6" name="object 72"/>
          <p:cNvSpPr/>
          <p:nvPr/>
        </p:nvSpPr>
        <p:spPr>
          <a:xfrm>
            <a:off x="5959366" y="251737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40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80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7" name="object 70"/>
          <p:cNvSpPr/>
          <p:nvPr/>
        </p:nvSpPr>
        <p:spPr>
          <a:xfrm>
            <a:off x="5560113" y="213564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8" name="object 68"/>
          <p:cNvSpPr/>
          <p:nvPr/>
        </p:nvSpPr>
        <p:spPr>
          <a:xfrm>
            <a:off x="5148028" y="1723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9" name="object 66"/>
          <p:cNvSpPr/>
          <p:nvPr/>
        </p:nvSpPr>
        <p:spPr>
          <a:xfrm>
            <a:off x="6872003" y="34121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0" name="object 63"/>
          <p:cNvSpPr/>
          <p:nvPr/>
        </p:nvSpPr>
        <p:spPr>
          <a:xfrm>
            <a:off x="5880842" y="502152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6"/>
                </a:lnTo>
                <a:lnTo>
                  <a:pt x="1583" y="198179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6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2"/>
                </a:lnTo>
                <a:lnTo>
                  <a:pt x="49876" y="299561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6"/>
                </a:lnTo>
                <a:lnTo>
                  <a:pt x="196530" y="342926"/>
                </a:lnTo>
                <a:lnTo>
                  <a:pt x="209650" y="339004"/>
                </a:lnTo>
                <a:lnTo>
                  <a:pt x="222295" y="333936"/>
                </a:lnTo>
                <a:lnTo>
                  <a:pt x="234413" y="327778"/>
                </a:lnTo>
                <a:lnTo>
                  <a:pt x="245953" y="320583"/>
                </a:lnTo>
                <a:lnTo>
                  <a:pt x="256864" y="312409"/>
                </a:lnTo>
                <a:lnTo>
                  <a:pt x="267095" y="303311"/>
                </a:lnTo>
                <a:lnTo>
                  <a:pt x="276595" y="293343"/>
                </a:lnTo>
                <a:lnTo>
                  <a:pt x="285312" y="282562"/>
                </a:lnTo>
                <a:lnTo>
                  <a:pt x="293195" y="271023"/>
                </a:lnTo>
                <a:lnTo>
                  <a:pt x="300193" y="258781"/>
                </a:lnTo>
                <a:lnTo>
                  <a:pt x="306255" y="245892"/>
                </a:lnTo>
                <a:lnTo>
                  <a:pt x="311330" y="232411"/>
                </a:lnTo>
                <a:lnTo>
                  <a:pt x="315366" y="218394"/>
                </a:lnTo>
                <a:lnTo>
                  <a:pt x="318312" y="203896"/>
                </a:lnTo>
                <a:lnTo>
                  <a:pt x="320117" y="188973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9" y="93485"/>
                </a:lnTo>
                <a:lnTo>
                  <a:pt x="296006" y="80986"/>
                </a:lnTo>
                <a:lnTo>
                  <a:pt x="288459" y="69169"/>
                </a:lnTo>
                <a:lnTo>
                  <a:pt x="280058" y="58089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4"/>
                </a:lnTo>
                <a:lnTo>
                  <a:pt x="86318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1" name="object 62"/>
          <p:cNvSpPr/>
          <p:nvPr/>
        </p:nvSpPr>
        <p:spPr>
          <a:xfrm>
            <a:off x="4326962" y="34938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2" name="object 60"/>
          <p:cNvSpPr/>
          <p:nvPr/>
        </p:nvSpPr>
        <p:spPr>
          <a:xfrm>
            <a:off x="3451263" y="457102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3" name="object 58"/>
          <p:cNvSpPr/>
          <p:nvPr/>
        </p:nvSpPr>
        <p:spPr>
          <a:xfrm>
            <a:off x="7513462" y="204543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4" name="object 56"/>
          <p:cNvSpPr/>
          <p:nvPr/>
        </p:nvSpPr>
        <p:spPr>
          <a:xfrm>
            <a:off x="6553321" y="196196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5" name="object 54"/>
          <p:cNvSpPr/>
          <p:nvPr/>
        </p:nvSpPr>
        <p:spPr>
          <a:xfrm>
            <a:off x="7353097" y="275391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57150">
            <a:solidFill>
              <a:srgbClr val="F69545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6" name="object 52"/>
          <p:cNvSpPr/>
          <p:nvPr/>
        </p:nvSpPr>
        <p:spPr>
          <a:xfrm>
            <a:off x="4696124" y="412086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7" name="object 50"/>
          <p:cNvSpPr/>
          <p:nvPr/>
        </p:nvSpPr>
        <p:spPr>
          <a:xfrm>
            <a:off x="4441297" y="46123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8" name="object 48"/>
          <p:cNvSpPr/>
          <p:nvPr/>
        </p:nvSpPr>
        <p:spPr>
          <a:xfrm>
            <a:off x="3130532" y="40499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9" name="object 42"/>
          <p:cNvSpPr/>
          <p:nvPr/>
        </p:nvSpPr>
        <p:spPr>
          <a:xfrm>
            <a:off x="5748103" y="33118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0" name="object 44"/>
          <p:cNvSpPr/>
          <p:nvPr/>
        </p:nvSpPr>
        <p:spPr>
          <a:xfrm>
            <a:off x="5560113" y="25802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1" name="object 46"/>
          <p:cNvSpPr/>
          <p:nvPr/>
        </p:nvSpPr>
        <p:spPr>
          <a:xfrm>
            <a:off x="5421508" y="296447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2" name="object 40"/>
          <p:cNvSpPr/>
          <p:nvPr/>
        </p:nvSpPr>
        <p:spPr>
          <a:xfrm>
            <a:off x="5213120" y="49216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3" name="object 38"/>
          <p:cNvSpPr/>
          <p:nvPr/>
        </p:nvSpPr>
        <p:spPr>
          <a:xfrm>
            <a:off x="7032365" y="221911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4" name="object 36"/>
          <p:cNvSpPr/>
          <p:nvPr/>
        </p:nvSpPr>
        <p:spPr>
          <a:xfrm>
            <a:off x="7385165" y="340218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6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7"/>
                </a:lnTo>
                <a:lnTo>
                  <a:pt x="310251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5" name="object 34"/>
          <p:cNvSpPr/>
          <p:nvPr/>
        </p:nvSpPr>
        <p:spPr>
          <a:xfrm>
            <a:off x="5038354" y="24830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6" name="object 32"/>
          <p:cNvSpPr/>
          <p:nvPr/>
        </p:nvSpPr>
        <p:spPr>
          <a:xfrm>
            <a:off x="7192732" y="159327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7" name="object 30"/>
          <p:cNvSpPr/>
          <p:nvPr/>
        </p:nvSpPr>
        <p:spPr>
          <a:xfrm>
            <a:off x="6201572" y="316997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8" name="object 28"/>
          <p:cNvSpPr/>
          <p:nvPr/>
        </p:nvSpPr>
        <p:spPr>
          <a:xfrm>
            <a:off x="4877989" y="532865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9" name="object 26"/>
          <p:cNvSpPr/>
          <p:nvPr/>
        </p:nvSpPr>
        <p:spPr>
          <a:xfrm>
            <a:off x="5581873" y="4521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0" name="object 24"/>
          <p:cNvSpPr/>
          <p:nvPr/>
        </p:nvSpPr>
        <p:spPr>
          <a:xfrm>
            <a:off x="3528670" y="35173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1" name="object 22"/>
          <p:cNvSpPr/>
          <p:nvPr/>
        </p:nvSpPr>
        <p:spPr>
          <a:xfrm>
            <a:off x="3252845" y="520650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2" name="object 20"/>
          <p:cNvSpPr/>
          <p:nvPr/>
        </p:nvSpPr>
        <p:spPr>
          <a:xfrm>
            <a:off x="3849401" y="4051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3" name="object 18"/>
          <p:cNvSpPr/>
          <p:nvPr/>
        </p:nvSpPr>
        <p:spPr>
          <a:xfrm>
            <a:off x="6713687" y="269105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57150">
            <a:solidFill>
              <a:srgbClr val="F69545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4" name="object 6"/>
          <p:cNvSpPr txBox="1"/>
          <p:nvPr/>
        </p:nvSpPr>
        <p:spPr>
          <a:xfrm>
            <a:off x="1332125" y="3759280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grpSp>
        <p:nvGrpSpPr>
          <p:cNvPr id="125" name="Group 124"/>
          <p:cNvGrpSpPr/>
          <p:nvPr/>
        </p:nvGrpSpPr>
        <p:grpSpPr>
          <a:xfrm>
            <a:off x="2383438" y="1888930"/>
            <a:ext cx="6303362" cy="4054670"/>
            <a:chOff x="2343901" y="1923700"/>
            <a:chExt cx="6303362" cy="4054670"/>
          </a:xfrm>
        </p:grpSpPr>
        <p:sp>
          <p:nvSpPr>
            <p:cNvPr id="126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127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9" name="object 5"/>
          <p:cNvSpPr txBox="1"/>
          <p:nvPr/>
        </p:nvSpPr>
        <p:spPr>
          <a:xfrm>
            <a:off x="2101916" y="365536"/>
            <a:ext cx="6889684" cy="1166986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 marR="41909">
              <a:lnSpc>
                <a:spcPts val="3454"/>
              </a:lnSpc>
              <a:spcBef>
                <a:spcPts val="172"/>
              </a:spcBef>
            </a:pPr>
            <a:r>
              <a:rPr sz="4800" spc="0" baseline="2560" dirty="0" smtClean="0">
                <a:solidFill>
                  <a:srgbClr val="4E81BC"/>
                </a:solidFill>
                <a:latin typeface="+mj-lt"/>
                <a:cs typeface="Calibri"/>
              </a:rPr>
              <a:t>DBSC</a:t>
            </a:r>
            <a:r>
              <a:rPr sz="4800" spc="-4" baseline="2560" dirty="0" smtClean="0">
                <a:solidFill>
                  <a:srgbClr val="4E81BC"/>
                </a:solidFill>
                <a:latin typeface="+mj-lt"/>
                <a:cs typeface="Calibri"/>
              </a:rPr>
              <a:t>A</a:t>
            </a:r>
            <a:r>
              <a:rPr sz="4800" spc="0" baseline="2560" dirty="0" smtClean="0">
                <a:solidFill>
                  <a:srgbClr val="4E81BC"/>
                </a:solidFill>
                <a:latin typeface="+mj-lt"/>
                <a:cs typeface="Calibri"/>
              </a:rPr>
              <a:t>N</a:t>
            </a:r>
            <a:endParaRPr sz="3200" dirty="0">
              <a:latin typeface="+mj-lt"/>
              <a:cs typeface="Calibri"/>
            </a:endParaRPr>
          </a:p>
          <a:p>
            <a:pPr marL="12700">
              <a:lnSpc>
                <a:spcPts val="2770"/>
              </a:lnSpc>
            </a:pPr>
            <a:r>
              <a:rPr lang="en-US" sz="3200" baseline="1137" dirty="0" smtClean="0">
                <a:solidFill>
                  <a:srgbClr val="7F7E7E"/>
                </a:solidFill>
                <a:cs typeface="Calibri"/>
              </a:rPr>
              <a:t>Keep going until you find the entire cluster and no point is left unvisited by this chain reaction</a:t>
            </a:r>
            <a:endParaRPr lang="en-US" sz="3200" i="1" baseline="1137" dirty="0">
              <a:solidFill>
                <a:srgbClr val="7F7E7E"/>
              </a:solidFill>
              <a:cs typeface="Calibri"/>
            </a:endParaRPr>
          </a:p>
        </p:txBody>
      </p:sp>
      <p:sp>
        <p:nvSpPr>
          <p:cNvPr id="128" name="object 15"/>
          <p:cNvSpPr txBox="1"/>
          <p:nvPr/>
        </p:nvSpPr>
        <p:spPr>
          <a:xfrm>
            <a:off x="349882" y="369650"/>
            <a:ext cx="1351013" cy="5207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985"/>
              </a:lnSpc>
              <a:spcBef>
                <a:spcPts val="99"/>
              </a:spcBef>
            </a:pPr>
            <a:r>
              <a:rPr sz="2700" spc="0" baseline="3034" dirty="0" smtClean="0">
                <a:solidFill>
                  <a:srgbClr val="215867"/>
                </a:solidFill>
                <a:latin typeface="+mj-lt"/>
                <a:cs typeface="Calibri"/>
              </a:rPr>
              <a:t>epsilon = 1.75</a:t>
            </a:r>
            <a:endParaRPr sz="1800" dirty="0">
              <a:latin typeface="+mj-lt"/>
              <a:cs typeface="Calibri"/>
            </a:endParaRPr>
          </a:p>
          <a:p>
            <a:pPr marL="12700" marR="34289">
              <a:lnSpc>
                <a:spcPts val="2100"/>
              </a:lnSpc>
              <a:spcBef>
                <a:spcPts val="5"/>
              </a:spcBef>
            </a:pPr>
            <a:r>
              <a:rPr sz="2700" spc="0" baseline="1517" dirty="0" smtClean="0">
                <a:solidFill>
                  <a:srgbClr val="215867"/>
                </a:solidFill>
                <a:latin typeface="+mj-lt"/>
                <a:cs typeface="Calibri"/>
              </a:rPr>
              <a:t>n_clu = 3</a:t>
            </a:r>
            <a:endParaRPr sz="1800" dirty="0">
              <a:latin typeface="+mj-lt"/>
              <a:cs typeface="Calibri"/>
            </a:endParaRPr>
          </a:p>
        </p:txBody>
      </p:sp>
      <p:sp>
        <p:nvSpPr>
          <p:cNvPr id="129" name="object 66"/>
          <p:cNvSpPr/>
          <p:nvPr/>
        </p:nvSpPr>
        <p:spPr>
          <a:xfrm>
            <a:off x="6669115" y="2026572"/>
            <a:ext cx="1810252" cy="1760707"/>
          </a:xfrm>
          <a:custGeom>
            <a:avLst/>
            <a:gdLst/>
            <a:ahLst/>
            <a:cxnLst/>
            <a:rect l="l" t="t" r="r" b="b"/>
            <a:pathLst>
              <a:path w="1810252" h="1760707">
                <a:moveTo>
                  <a:pt x="0" y="880353"/>
                </a:moveTo>
                <a:lnTo>
                  <a:pt x="3000" y="952556"/>
                </a:lnTo>
                <a:lnTo>
                  <a:pt x="11846" y="1023151"/>
                </a:lnTo>
                <a:lnTo>
                  <a:pt x="26305" y="1091913"/>
                </a:lnTo>
                <a:lnTo>
                  <a:pt x="46143" y="1158614"/>
                </a:lnTo>
                <a:lnTo>
                  <a:pt x="71129" y="1223027"/>
                </a:lnTo>
                <a:lnTo>
                  <a:pt x="101028" y="1284927"/>
                </a:lnTo>
                <a:lnTo>
                  <a:pt x="135608" y="1344087"/>
                </a:lnTo>
                <a:lnTo>
                  <a:pt x="174636" y="1400279"/>
                </a:lnTo>
                <a:lnTo>
                  <a:pt x="217880" y="1453279"/>
                </a:lnTo>
                <a:lnTo>
                  <a:pt x="265105" y="1502858"/>
                </a:lnTo>
                <a:lnTo>
                  <a:pt x="316079" y="1548791"/>
                </a:lnTo>
                <a:lnTo>
                  <a:pt x="370570" y="1590850"/>
                </a:lnTo>
                <a:lnTo>
                  <a:pt x="428344" y="1628810"/>
                </a:lnTo>
                <a:lnTo>
                  <a:pt x="489168" y="1662444"/>
                </a:lnTo>
                <a:lnTo>
                  <a:pt x="552810" y="1691525"/>
                </a:lnTo>
                <a:lnTo>
                  <a:pt x="619036" y="1715826"/>
                </a:lnTo>
                <a:lnTo>
                  <a:pt x="687614" y="1735122"/>
                </a:lnTo>
                <a:lnTo>
                  <a:pt x="758310" y="1749185"/>
                </a:lnTo>
                <a:lnTo>
                  <a:pt x="830892" y="1757789"/>
                </a:lnTo>
                <a:lnTo>
                  <a:pt x="905126" y="1760707"/>
                </a:lnTo>
                <a:lnTo>
                  <a:pt x="979361" y="1757789"/>
                </a:lnTo>
                <a:lnTo>
                  <a:pt x="1051942" y="1749185"/>
                </a:lnTo>
                <a:lnTo>
                  <a:pt x="1122639" y="1735122"/>
                </a:lnTo>
                <a:lnTo>
                  <a:pt x="1191216" y="1715826"/>
                </a:lnTo>
                <a:lnTo>
                  <a:pt x="1257442" y="1691525"/>
                </a:lnTo>
                <a:lnTo>
                  <a:pt x="1321084" y="1662444"/>
                </a:lnTo>
                <a:lnTo>
                  <a:pt x="1381908" y="1628810"/>
                </a:lnTo>
                <a:lnTo>
                  <a:pt x="1439682" y="1590850"/>
                </a:lnTo>
                <a:lnTo>
                  <a:pt x="1494173" y="1548791"/>
                </a:lnTo>
                <a:lnTo>
                  <a:pt x="1545147" y="1502858"/>
                </a:lnTo>
                <a:lnTo>
                  <a:pt x="1592373" y="1453279"/>
                </a:lnTo>
                <a:lnTo>
                  <a:pt x="1635616" y="1400279"/>
                </a:lnTo>
                <a:lnTo>
                  <a:pt x="1674644" y="1344087"/>
                </a:lnTo>
                <a:lnTo>
                  <a:pt x="1709224" y="1284927"/>
                </a:lnTo>
                <a:lnTo>
                  <a:pt x="1739123" y="1223027"/>
                </a:lnTo>
                <a:lnTo>
                  <a:pt x="1764109" y="1158614"/>
                </a:lnTo>
                <a:lnTo>
                  <a:pt x="1783947" y="1091913"/>
                </a:lnTo>
                <a:lnTo>
                  <a:pt x="1798406" y="1023151"/>
                </a:lnTo>
                <a:lnTo>
                  <a:pt x="1807252" y="952556"/>
                </a:lnTo>
                <a:lnTo>
                  <a:pt x="1810252" y="880353"/>
                </a:lnTo>
                <a:lnTo>
                  <a:pt x="1807252" y="808151"/>
                </a:lnTo>
                <a:lnTo>
                  <a:pt x="1798406" y="737555"/>
                </a:lnTo>
                <a:lnTo>
                  <a:pt x="1783947" y="668794"/>
                </a:lnTo>
                <a:lnTo>
                  <a:pt x="1764109" y="602094"/>
                </a:lnTo>
                <a:lnTo>
                  <a:pt x="1739123" y="537680"/>
                </a:lnTo>
                <a:lnTo>
                  <a:pt x="1709224" y="475780"/>
                </a:lnTo>
                <a:lnTo>
                  <a:pt x="1674644" y="416621"/>
                </a:lnTo>
                <a:lnTo>
                  <a:pt x="1635616" y="360428"/>
                </a:lnTo>
                <a:lnTo>
                  <a:pt x="1592373" y="307429"/>
                </a:lnTo>
                <a:lnTo>
                  <a:pt x="1545147" y="257849"/>
                </a:lnTo>
                <a:lnTo>
                  <a:pt x="1494173" y="211917"/>
                </a:lnTo>
                <a:lnTo>
                  <a:pt x="1439682" y="169857"/>
                </a:lnTo>
                <a:lnTo>
                  <a:pt x="1381908" y="131897"/>
                </a:lnTo>
                <a:lnTo>
                  <a:pt x="1321084" y="98263"/>
                </a:lnTo>
                <a:lnTo>
                  <a:pt x="1257442" y="69182"/>
                </a:lnTo>
                <a:lnTo>
                  <a:pt x="1191216" y="44881"/>
                </a:lnTo>
                <a:lnTo>
                  <a:pt x="1122639" y="25585"/>
                </a:lnTo>
                <a:lnTo>
                  <a:pt x="1051942" y="11522"/>
                </a:lnTo>
                <a:lnTo>
                  <a:pt x="979361" y="2918"/>
                </a:lnTo>
                <a:lnTo>
                  <a:pt x="905126" y="0"/>
                </a:lnTo>
                <a:lnTo>
                  <a:pt x="830892" y="2918"/>
                </a:lnTo>
                <a:lnTo>
                  <a:pt x="758310" y="11522"/>
                </a:lnTo>
                <a:lnTo>
                  <a:pt x="687614" y="25585"/>
                </a:lnTo>
                <a:lnTo>
                  <a:pt x="619036" y="44881"/>
                </a:lnTo>
                <a:lnTo>
                  <a:pt x="552810" y="69182"/>
                </a:lnTo>
                <a:lnTo>
                  <a:pt x="489168" y="98263"/>
                </a:lnTo>
                <a:lnTo>
                  <a:pt x="428344" y="131897"/>
                </a:lnTo>
                <a:lnTo>
                  <a:pt x="370570" y="169857"/>
                </a:lnTo>
                <a:lnTo>
                  <a:pt x="316079" y="211917"/>
                </a:lnTo>
                <a:lnTo>
                  <a:pt x="265105" y="257849"/>
                </a:lnTo>
                <a:lnTo>
                  <a:pt x="217880" y="307429"/>
                </a:lnTo>
                <a:lnTo>
                  <a:pt x="174636" y="360428"/>
                </a:lnTo>
                <a:lnTo>
                  <a:pt x="135608" y="416621"/>
                </a:lnTo>
                <a:lnTo>
                  <a:pt x="101028" y="475780"/>
                </a:lnTo>
                <a:lnTo>
                  <a:pt x="71129" y="537680"/>
                </a:lnTo>
                <a:lnTo>
                  <a:pt x="46143" y="602094"/>
                </a:lnTo>
                <a:lnTo>
                  <a:pt x="26305" y="668794"/>
                </a:lnTo>
                <a:lnTo>
                  <a:pt x="11846" y="737555"/>
                </a:lnTo>
                <a:lnTo>
                  <a:pt x="3000" y="808151"/>
                </a:lnTo>
                <a:lnTo>
                  <a:pt x="0" y="880353"/>
                </a:lnTo>
                <a:close/>
              </a:path>
            </a:pathLst>
          </a:custGeom>
          <a:solidFill>
            <a:srgbClr val="FAA657">
              <a:alpha val="51000"/>
            </a:srgbClr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0" name="object 82"/>
          <p:cNvSpPr/>
          <p:nvPr/>
        </p:nvSpPr>
        <p:spPr>
          <a:xfrm>
            <a:off x="4414372" y="54871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1" name="object 84"/>
          <p:cNvSpPr/>
          <p:nvPr/>
        </p:nvSpPr>
        <p:spPr>
          <a:xfrm>
            <a:off x="5399747" y="55212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2" name="object 86"/>
          <p:cNvSpPr/>
          <p:nvPr/>
        </p:nvSpPr>
        <p:spPr>
          <a:xfrm>
            <a:off x="6251551" y="55023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3" name="object 74"/>
          <p:cNvSpPr/>
          <p:nvPr/>
        </p:nvSpPr>
        <p:spPr>
          <a:xfrm>
            <a:off x="2668469" y="519520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4" name="object 72"/>
          <p:cNvSpPr/>
          <p:nvPr/>
        </p:nvSpPr>
        <p:spPr>
          <a:xfrm>
            <a:off x="5959366" y="251737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40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80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5" name="object 70"/>
          <p:cNvSpPr/>
          <p:nvPr/>
        </p:nvSpPr>
        <p:spPr>
          <a:xfrm>
            <a:off x="5560113" y="213564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6" name="object 68"/>
          <p:cNvSpPr/>
          <p:nvPr/>
        </p:nvSpPr>
        <p:spPr>
          <a:xfrm>
            <a:off x="5148028" y="1723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7" name="object 66"/>
          <p:cNvSpPr/>
          <p:nvPr/>
        </p:nvSpPr>
        <p:spPr>
          <a:xfrm>
            <a:off x="6872003" y="34121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8" name="object 63"/>
          <p:cNvSpPr/>
          <p:nvPr/>
        </p:nvSpPr>
        <p:spPr>
          <a:xfrm>
            <a:off x="5880842" y="502152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6"/>
                </a:lnTo>
                <a:lnTo>
                  <a:pt x="1583" y="198179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6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2"/>
                </a:lnTo>
                <a:lnTo>
                  <a:pt x="49876" y="299561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6"/>
                </a:lnTo>
                <a:lnTo>
                  <a:pt x="196530" y="342926"/>
                </a:lnTo>
                <a:lnTo>
                  <a:pt x="209650" y="339004"/>
                </a:lnTo>
                <a:lnTo>
                  <a:pt x="222295" y="333936"/>
                </a:lnTo>
                <a:lnTo>
                  <a:pt x="234413" y="327778"/>
                </a:lnTo>
                <a:lnTo>
                  <a:pt x="245953" y="320583"/>
                </a:lnTo>
                <a:lnTo>
                  <a:pt x="256864" y="312409"/>
                </a:lnTo>
                <a:lnTo>
                  <a:pt x="267095" y="303311"/>
                </a:lnTo>
                <a:lnTo>
                  <a:pt x="276595" y="293343"/>
                </a:lnTo>
                <a:lnTo>
                  <a:pt x="285312" y="282562"/>
                </a:lnTo>
                <a:lnTo>
                  <a:pt x="293195" y="271023"/>
                </a:lnTo>
                <a:lnTo>
                  <a:pt x="300193" y="258781"/>
                </a:lnTo>
                <a:lnTo>
                  <a:pt x="306255" y="245892"/>
                </a:lnTo>
                <a:lnTo>
                  <a:pt x="311330" y="232411"/>
                </a:lnTo>
                <a:lnTo>
                  <a:pt x="315366" y="218394"/>
                </a:lnTo>
                <a:lnTo>
                  <a:pt x="318312" y="203896"/>
                </a:lnTo>
                <a:lnTo>
                  <a:pt x="320117" y="188973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9" y="93485"/>
                </a:lnTo>
                <a:lnTo>
                  <a:pt x="296006" y="80986"/>
                </a:lnTo>
                <a:lnTo>
                  <a:pt x="288459" y="69169"/>
                </a:lnTo>
                <a:lnTo>
                  <a:pt x="280058" y="58089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4"/>
                </a:lnTo>
                <a:lnTo>
                  <a:pt x="86318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9" name="object 62"/>
          <p:cNvSpPr/>
          <p:nvPr/>
        </p:nvSpPr>
        <p:spPr>
          <a:xfrm>
            <a:off x="4326962" y="34938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0" name="object 60"/>
          <p:cNvSpPr/>
          <p:nvPr/>
        </p:nvSpPr>
        <p:spPr>
          <a:xfrm>
            <a:off x="3451263" y="457102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1" name="object 58"/>
          <p:cNvSpPr/>
          <p:nvPr/>
        </p:nvSpPr>
        <p:spPr>
          <a:xfrm>
            <a:off x="7513462" y="204543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57150">
            <a:solidFill>
              <a:srgbClr val="F69545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2" name="object 56"/>
          <p:cNvSpPr/>
          <p:nvPr/>
        </p:nvSpPr>
        <p:spPr>
          <a:xfrm>
            <a:off x="6553321" y="196196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3" name="object 54"/>
          <p:cNvSpPr/>
          <p:nvPr/>
        </p:nvSpPr>
        <p:spPr>
          <a:xfrm>
            <a:off x="7353097" y="275391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4" name="object 52"/>
          <p:cNvSpPr/>
          <p:nvPr/>
        </p:nvSpPr>
        <p:spPr>
          <a:xfrm>
            <a:off x="4696124" y="412086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5" name="object 50"/>
          <p:cNvSpPr/>
          <p:nvPr/>
        </p:nvSpPr>
        <p:spPr>
          <a:xfrm>
            <a:off x="4441297" y="46123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6" name="object 48"/>
          <p:cNvSpPr/>
          <p:nvPr/>
        </p:nvSpPr>
        <p:spPr>
          <a:xfrm>
            <a:off x="3130532" y="40499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7" name="object 42"/>
          <p:cNvSpPr/>
          <p:nvPr/>
        </p:nvSpPr>
        <p:spPr>
          <a:xfrm>
            <a:off x="5748103" y="33118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8" name="object 44"/>
          <p:cNvSpPr/>
          <p:nvPr/>
        </p:nvSpPr>
        <p:spPr>
          <a:xfrm>
            <a:off x="5560113" y="25802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9" name="object 46"/>
          <p:cNvSpPr/>
          <p:nvPr/>
        </p:nvSpPr>
        <p:spPr>
          <a:xfrm>
            <a:off x="5421508" y="296447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50" name="object 40"/>
          <p:cNvSpPr/>
          <p:nvPr/>
        </p:nvSpPr>
        <p:spPr>
          <a:xfrm>
            <a:off x="5213120" y="49216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51" name="object 38"/>
          <p:cNvSpPr/>
          <p:nvPr/>
        </p:nvSpPr>
        <p:spPr>
          <a:xfrm>
            <a:off x="7032365" y="221911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57150">
            <a:solidFill>
              <a:srgbClr val="F69545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52" name="object 36"/>
          <p:cNvSpPr/>
          <p:nvPr/>
        </p:nvSpPr>
        <p:spPr>
          <a:xfrm>
            <a:off x="7385165" y="340218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6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7"/>
                </a:lnTo>
                <a:lnTo>
                  <a:pt x="310251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53" name="object 34"/>
          <p:cNvSpPr/>
          <p:nvPr/>
        </p:nvSpPr>
        <p:spPr>
          <a:xfrm>
            <a:off x="5038354" y="24830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54" name="object 32"/>
          <p:cNvSpPr/>
          <p:nvPr/>
        </p:nvSpPr>
        <p:spPr>
          <a:xfrm>
            <a:off x="7192732" y="159327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55" name="object 30"/>
          <p:cNvSpPr/>
          <p:nvPr/>
        </p:nvSpPr>
        <p:spPr>
          <a:xfrm>
            <a:off x="6201572" y="316997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56" name="object 28"/>
          <p:cNvSpPr/>
          <p:nvPr/>
        </p:nvSpPr>
        <p:spPr>
          <a:xfrm>
            <a:off x="4877989" y="532865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57" name="object 26"/>
          <p:cNvSpPr/>
          <p:nvPr/>
        </p:nvSpPr>
        <p:spPr>
          <a:xfrm>
            <a:off x="5581873" y="4521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58" name="object 24"/>
          <p:cNvSpPr/>
          <p:nvPr/>
        </p:nvSpPr>
        <p:spPr>
          <a:xfrm>
            <a:off x="3528670" y="35173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59" name="object 22"/>
          <p:cNvSpPr/>
          <p:nvPr/>
        </p:nvSpPr>
        <p:spPr>
          <a:xfrm>
            <a:off x="3252845" y="520650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60" name="object 20"/>
          <p:cNvSpPr/>
          <p:nvPr/>
        </p:nvSpPr>
        <p:spPr>
          <a:xfrm>
            <a:off x="3849401" y="4051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61" name="object 18"/>
          <p:cNvSpPr/>
          <p:nvPr/>
        </p:nvSpPr>
        <p:spPr>
          <a:xfrm>
            <a:off x="6713687" y="269105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57150">
            <a:solidFill>
              <a:srgbClr val="F69545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62" name="object 6"/>
          <p:cNvSpPr txBox="1"/>
          <p:nvPr/>
        </p:nvSpPr>
        <p:spPr>
          <a:xfrm>
            <a:off x="1332125" y="3759280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grpSp>
        <p:nvGrpSpPr>
          <p:cNvPr id="163" name="Group 162"/>
          <p:cNvGrpSpPr/>
          <p:nvPr/>
        </p:nvGrpSpPr>
        <p:grpSpPr>
          <a:xfrm>
            <a:off x="2383438" y="1888930"/>
            <a:ext cx="6303362" cy="4054670"/>
            <a:chOff x="2343901" y="1923700"/>
            <a:chExt cx="6303362" cy="4054670"/>
          </a:xfrm>
        </p:grpSpPr>
        <p:sp>
          <p:nvSpPr>
            <p:cNvPr id="164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165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ject 3"/>
          <p:cNvSpPr txBox="1"/>
          <p:nvPr/>
        </p:nvSpPr>
        <p:spPr>
          <a:xfrm>
            <a:off x="5426815" y="6116930"/>
            <a:ext cx="542241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latin typeface="Calibri"/>
                <a:cs typeface="Calibri"/>
              </a:rPr>
              <a:t>Age</a:t>
            </a:r>
            <a:endParaRPr sz="2400">
              <a:latin typeface="Calibri"/>
              <a:cs typeface="Calibri"/>
            </a:endParaRPr>
          </a:p>
        </p:txBody>
      </p:sp>
      <p:sp>
        <p:nvSpPr>
          <p:cNvPr id="89" name="object 5"/>
          <p:cNvSpPr txBox="1"/>
          <p:nvPr/>
        </p:nvSpPr>
        <p:spPr>
          <a:xfrm>
            <a:off x="2101916" y="365536"/>
            <a:ext cx="6889684" cy="1166986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 marR="41909">
              <a:lnSpc>
                <a:spcPts val="3454"/>
              </a:lnSpc>
              <a:spcBef>
                <a:spcPts val="172"/>
              </a:spcBef>
            </a:pPr>
            <a:r>
              <a:rPr sz="4800" spc="0" baseline="2560" dirty="0" smtClean="0">
                <a:solidFill>
                  <a:srgbClr val="4E81BC"/>
                </a:solidFill>
                <a:latin typeface="+mj-lt"/>
                <a:cs typeface="Calibri"/>
              </a:rPr>
              <a:t>DBSC</a:t>
            </a:r>
            <a:r>
              <a:rPr sz="4800" spc="-4" baseline="2560" dirty="0" smtClean="0">
                <a:solidFill>
                  <a:srgbClr val="4E81BC"/>
                </a:solidFill>
                <a:latin typeface="+mj-lt"/>
                <a:cs typeface="Calibri"/>
              </a:rPr>
              <a:t>A</a:t>
            </a:r>
            <a:r>
              <a:rPr sz="4800" spc="0" baseline="2560" dirty="0" smtClean="0">
                <a:solidFill>
                  <a:srgbClr val="4E81BC"/>
                </a:solidFill>
                <a:latin typeface="+mj-lt"/>
                <a:cs typeface="Calibri"/>
              </a:rPr>
              <a:t>N</a:t>
            </a:r>
            <a:endParaRPr sz="3200" dirty="0">
              <a:latin typeface="+mj-lt"/>
              <a:cs typeface="Calibri"/>
            </a:endParaRPr>
          </a:p>
          <a:p>
            <a:pPr marL="12700">
              <a:lnSpc>
                <a:spcPts val="2770"/>
              </a:lnSpc>
            </a:pPr>
            <a:r>
              <a:rPr lang="en-US" sz="3200" baseline="1137" dirty="0" smtClean="0">
                <a:solidFill>
                  <a:srgbClr val="7F7E7E"/>
                </a:solidFill>
                <a:cs typeface="Calibri"/>
              </a:rPr>
              <a:t>Keep going until you find the entire cluster and no point is left unvisited by this chain reaction</a:t>
            </a:r>
            <a:endParaRPr lang="en-US" sz="3200" i="1" baseline="1137" dirty="0">
              <a:solidFill>
                <a:srgbClr val="7F7E7E"/>
              </a:solidFill>
              <a:cs typeface="Calibri"/>
            </a:endParaRPr>
          </a:p>
        </p:txBody>
      </p:sp>
      <p:sp>
        <p:nvSpPr>
          <p:cNvPr id="90" name="object 15"/>
          <p:cNvSpPr txBox="1"/>
          <p:nvPr/>
        </p:nvSpPr>
        <p:spPr>
          <a:xfrm>
            <a:off x="349882" y="369650"/>
            <a:ext cx="1351013" cy="5207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985"/>
              </a:lnSpc>
              <a:spcBef>
                <a:spcPts val="99"/>
              </a:spcBef>
            </a:pPr>
            <a:r>
              <a:rPr sz="2700" spc="0" baseline="3034" dirty="0" smtClean="0">
                <a:solidFill>
                  <a:srgbClr val="215867"/>
                </a:solidFill>
                <a:latin typeface="+mj-lt"/>
                <a:cs typeface="Calibri"/>
              </a:rPr>
              <a:t>epsilon = 1.75</a:t>
            </a:r>
            <a:endParaRPr sz="1800" dirty="0">
              <a:latin typeface="+mj-lt"/>
              <a:cs typeface="Calibri"/>
            </a:endParaRPr>
          </a:p>
          <a:p>
            <a:pPr marL="12700" marR="34289">
              <a:lnSpc>
                <a:spcPts val="2100"/>
              </a:lnSpc>
              <a:spcBef>
                <a:spcPts val="5"/>
              </a:spcBef>
            </a:pPr>
            <a:r>
              <a:rPr sz="2700" spc="0" baseline="1517" dirty="0" smtClean="0">
                <a:solidFill>
                  <a:srgbClr val="215867"/>
                </a:solidFill>
                <a:latin typeface="+mj-lt"/>
                <a:cs typeface="Calibri"/>
              </a:rPr>
              <a:t>n_clu = 3</a:t>
            </a:r>
            <a:endParaRPr sz="1800" dirty="0">
              <a:latin typeface="+mj-lt"/>
              <a:cs typeface="Calibri"/>
            </a:endParaRPr>
          </a:p>
        </p:txBody>
      </p:sp>
      <p:sp>
        <p:nvSpPr>
          <p:cNvPr id="91" name="object 66"/>
          <p:cNvSpPr/>
          <p:nvPr/>
        </p:nvSpPr>
        <p:spPr>
          <a:xfrm>
            <a:off x="6009085" y="2036749"/>
            <a:ext cx="1810252" cy="1760707"/>
          </a:xfrm>
          <a:custGeom>
            <a:avLst/>
            <a:gdLst/>
            <a:ahLst/>
            <a:cxnLst/>
            <a:rect l="l" t="t" r="r" b="b"/>
            <a:pathLst>
              <a:path w="1810252" h="1760707">
                <a:moveTo>
                  <a:pt x="0" y="880353"/>
                </a:moveTo>
                <a:lnTo>
                  <a:pt x="3000" y="952556"/>
                </a:lnTo>
                <a:lnTo>
                  <a:pt x="11846" y="1023151"/>
                </a:lnTo>
                <a:lnTo>
                  <a:pt x="26305" y="1091913"/>
                </a:lnTo>
                <a:lnTo>
                  <a:pt x="46143" y="1158614"/>
                </a:lnTo>
                <a:lnTo>
                  <a:pt x="71129" y="1223027"/>
                </a:lnTo>
                <a:lnTo>
                  <a:pt x="101028" y="1284927"/>
                </a:lnTo>
                <a:lnTo>
                  <a:pt x="135608" y="1344087"/>
                </a:lnTo>
                <a:lnTo>
                  <a:pt x="174636" y="1400279"/>
                </a:lnTo>
                <a:lnTo>
                  <a:pt x="217880" y="1453279"/>
                </a:lnTo>
                <a:lnTo>
                  <a:pt x="265105" y="1502858"/>
                </a:lnTo>
                <a:lnTo>
                  <a:pt x="316079" y="1548791"/>
                </a:lnTo>
                <a:lnTo>
                  <a:pt x="370570" y="1590850"/>
                </a:lnTo>
                <a:lnTo>
                  <a:pt x="428344" y="1628810"/>
                </a:lnTo>
                <a:lnTo>
                  <a:pt x="489168" y="1662444"/>
                </a:lnTo>
                <a:lnTo>
                  <a:pt x="552810" y="1691525"/>
                </a:lnTo>
                <a:lnTo>
                  <a:pt x="619036" y="1715826"/>
                </a:lnTo>
                <a:lnTo>
                  <a:pt x="687614" y="1735122"/>
                </a:lnTo>
                <a:lnTo>
                  <a:pt x="758310" y="1749185"/>
                </a:lnTo>
                <a:lnTo>
                  <a:pt x="830892" y="1757789"/>
                </a:lnTo>
                <a:lnTo>
                  <a:pt x="905126" y="1760707"/>
                </a:lnTo>
                <a:lnTo>
                  <a:pt x="979361" y="1757789"/>
                </a:lnTo>
                <a:lnTo>
                  <a:pt x="1051942" y="1749185"/>
                </a:lnTo>
                <a:lnTo>
                  <a:pt x="1122639" y="1735122"/>
                </a:lnTo>
                <a:lnTo>
                  <a:pt x="1191216" y="1715826"/>
                </a:lnTo>
                <a:lnTo>
                  <a:pt x="1257442" y="1691525"/>
                </a:lnTo>
                <a:lnTo>
                  <a:pt x="1321084" y="1662444"/>
                </a:lnTo>
                <a:lnTo>
                  <a:pt x="1381908" y="1628810"/>
                </a:lnTo>
                <a:lnTo>
                  <a:pt x="1439682" y="1590850"/>
                </a:lnTo>
                <a:lnTo>
                  <a:pt x="1494173" y="1548791"/>
                </a:lnTo>
                <a:lnTo>
                  <a:pt x="1545147" y="1502858"/>
                </a:lnTo>
                <a:lnTo>
                  <a:pt x="1592373" y="1453279"/>
                </a:lnTo>
                <a:lnTo>
                  <a:pt x="1635616" y="1400279"/>
                </a:lnTo>
                <a:lnTo>
                  <a:pt x="1674644" y="1344087"/>
                </a:lnTo>
                <a:lnTo>
                  <a:pt x="1709224" y="1284927"/>
                </a:lnTo>
                <a:lnTo>
                  <a:pt x="1739123" y="1223027"/>
                </a:lnTo>
                <a:lnTo>
                  <a:pt x="1764109" y="1158614"/>
                </a:lnTo>
                <a:lnTo>
                  <a:pt x="1783947" y="1091913"/>
                </a:lnTo>
                <a:lnTo>
                  <a:pt x="1798406" y="1023151"/>
                </a:lnTo>
                <a:lnTo>
                  <a:pt x="1807252" y="952556"/>
                </a:lnTo>
                <a:lnTo>
                  <a:pt x="1810252" y="880353"/>
                </a:lnTo>
                <a:lnTo>
                  <a:pt x="1807252" y="808151"/>
                </a:lnTo>
                <a:lnTo>
                  <a:pt x="1798406" y="737555"/>
                </a:lnTo>
                <a:lnTo>
                  <a:pt x="1783947" y="668794"/>
                </a:lnTo>
                <a:lnTo>
                  <a:pt x="1764109" y="602094"/>
                </a:lnTo>
                <a:lnTo>
                  <a:pt x="1739123" y="537680"/>
                </a:lnTo>
                <a:lnTo>
                  <a:pt x="1709224" y="475780"/>
                </a:lnTo>
                <a:lnTo>
                  <a:pt x="1674644" y="416621"/>
                </a:lnTo>
                <a:lnTo>
                  <a:pt x="1635616" y="360428"/>
                </a:lnTo>
                <a:lnTo>
                  <a:pt x="1592373" y="307429"/>
                </a:lnTo>
                <a:lnTo>
                  <a:pt x="1545147" y="257849"/>
                </a:lnTo>
                <a:lnTo>
                  <a:pt x="1494173" y="211917"/>
                </a:lnTo>
                <a:lnTo>
                  <a:pt x="1439682" y="169857"/>
                </a:lnTo>
                <a:lnTo>
                  <a:pt x="1381908" y="131897"/>
                </a:lnTo>
                <a:lnTo>
                  <a:pt x="1321084" y="98263"/>
                </a:lnTo>
                <a:lnTo>
                  <a:pt x="1257442" y="69182"/>
                </a:lnTo>
                <a:lnTo>
                  <a:pt x="1191216" y="44881"/>
                </a:lnTo>
                <a:lnTo>
                  <a:pt x="1122639" y="25585"/>
                </a:lnTo>
                <a:lnTo>
                  <a:pt x="1051942" y="11522"/>
                </a:lnTo>
                <a:lnTo>
                  <a:pt x="979361" y="2918"/>
                </a:lnTo>
                <a:lnTo>
                  <a:pt x="905126" y="0"/>
                </a:lnTo>
                <a:lnTo>
                  <a:pt x="830892" y="2918"/>
                </a:lnTo>
                <a:lnTo>
                  <a:pt x="758310" y="11522"/>
                </a:lnTo>
                <a:lnTo>
                  <a:pt x="687614" y="25585"/>
                </a:lnTo>
                <a:lnTo>
                  <a:pt x="619036" y="44881"/>
                </a:lnTo>
                <a:lnTo>
                  <a:pt x="552810" y="69182"/>
                </a:lnTo>
                <a:lnTo>
                  <a:pt x="489168" y="98263"/>
                </a:lnTo>
                <a:lnTo>
                  <a:pt x="428344" y="131897"/>
                </a:lnTo>
                <a:lnTo>
                  <a:pt x="370570" y="169857"/>
                </a:lnTo>
                <a:lnTo>
                  <a:pt x="316079" y="211917"/>
                </a:lnTo>
                <a:lnTo>
                  <a:pt x="265105" y="257849"/>
                </a:lnTo>
                <a:lnTo>
                  <a:pt x="217880" y="307429"/>
                </a:lnTo>
                <a:lnTo>
                  <a:pt x="174636" y="360428"/>
                </a:lnTo>
                <a:lnTo>
                  <a:pt x="135608" y="416621"/>
                </a:lnTo>
                <a:lnTo>
                  <a:pt x="101028" y="475780"/>
                </a:lnTo>
                <a:lnTo>
                  <a:pt x="71129" y="537680"/>
                </a:lnTo>
                <a:lnTo>
                  <a:pt x="46143" y="602094"/>
                </a:lnTo>
                <a:lnTo>
                  <a:pt x="26305" y="668794"/>
                </a:lnTo>
                <a:lnTo>
                  <a:pt x="11846" y="737555"/>
                </a:lnTo>
                <a:lnTo>
                  <a:pt x="3000" y="808151"/>
                </a:lnTo>
                <a:lnTo>
                  <a:pt x="0" y="880353"/>
                </a:lnTo>
                <a:close/>
              </a:path>
            </a:pathLst>
          </a:custGeom>
          <a:solidFill>
            <a:srgbClr val="FAA657">
              <a:alpha val="51000"/>
            </a:srgbClr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2" name="object 82"/>
          <p:cNvSpPr/>
          <p:nvPr/>
        </p:nvSpPr>
        <p:spPr>
          <a:xfrm>
            <a:off x="4414372" y="54871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3" name="object 84"/>
          <p:cNvSpPr/>
          <p:nvPr/>
        </p:nvSpPr>
        <p:spPr>
          <a:xfrm>
            <a:off x="5399747" y="55212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4" name="object 86"/>
          <p:cNvSpPr/>
          <p:nvPr/>
        </p:nvSpPr>
        <p:spPr>
          <a:xfrm>
            <a:off x="6251551" y="55023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5" name="object 74"/>
          <p:cNvSpPr/>
          <p:nvPr/>
        </p:nvSpPr>
        <p:spPr>
          <a:xfrm>
            <a:off x="2668469" y="519520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6" name="object 72"/>
          <p:cNvSpPr/>
          <p:nvPr/>
        </p:nvSpPr>
        <p:spPr>
          <a:xfrm>
            <a:off x="5959366" y="251737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40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80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7" name="object 70"/>
          <p:cNvSpPr/>
          <p:nvPr/>
        </p:nvSpPr>
        <p:spPr>
          <a:xfrm>
            <a:off x="5560113" y="213564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8" name="object 68"/>
          <p:cNvSpPr/>
          <p:nvPr/>
        </p:nvSpPr>
        <p:spPr>
          <a:xfrm>
            <a:off x="5148028" y="1723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9" name="object 66"/>
          <p:cNvSpPr/>
          <p:nvPr/>
        </p:nvSpPr>
        <p:spPr>
          <a:xfrm>
            <a:off x="6872003" y="34121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0" name="object 63"/>
          <p:cNvSpPr/>
          <p:nvPr/>
        </p:nvSpPr>
        <p:spPr>
          <a:xfrm>
            <a:off x="5880842" y="502152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6"/>
                </a:lnTo>
                <a:lnTo>
                  <a:pt x="1583" y="198179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6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2"/>
                </a:lnTo>
                <a:lnTo>
                  <a:pt x="49876" y="299561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6"/>
                </a:lnTo>
                <a:lnTo>
                  <a:pt x="196530" y="342926"/>
                </a:lnTo>
                <a:lnTo>
                  <a:pt x="209650" y="339004"/>
                </a:lnTo>
                <a:lnTo>
                  <a:pt x="222295" y="333936"/>
                </a:lnTo>
                <a:lnTo>
                  <a:pt x="234413" y="327778"/>
                </a:lnTo>
                <a:lnTo>
                  <a:pt x="245953" y="320583"/>
                </a:lnTo>
                <a:lnTo>
                  <a:pt x="256864" y="312409"/>
                </a:lnTo>
                <a:lnTo>
                  <a:pt x="267095" y="303311"/>
                </a:lnTo>
                <a:lnTo>
                  <a:pt x="276595" y="293343"/>
                </a:lnTo>
                <a:lnTo>
                  <a:pt x="285312" y="282562"/>
                </a:lnTo>
                <a:lnTo>
                  <a:pt x="293195" y="271023"/>
                </a:lnTo>
                <a:lnTo>
                  <a:pt x="300193" y="258781"/>
                </a:lnTo>
                <a:lnTo>
                  <a:pt x="306255" y="245892"/>
                </a:lnTo>
                <a:lnTo>
                  <a:pt x="311330" y="232411"/>
                </a:lnTo>
                <a:lnTo>
                  <a:pt x="315366" y="218394"/>
                </a:lnTo>
                <a:lnTo>
                  <a:pt x="318312" y="203896"/>
                </a:lnTo>
                <a:lnTo>
                  <a:pt x="320117" y="188973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9" y="93485"/>
                </a:lnTo>
                <a:lnTo>
                  <a:pt x="296006" y="80986"/>
                </a:lnTo>
                <a:lnTo>
                  <a:pt x="288459" y="69169"/>
                </a:lnTo>
                <a:lnTo>
                  <a:pt x="280058" y="58089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4"/>
                </a:lnTo>
                <a:lnTo>
                  <a:pt x="86318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1" name="object 62"/>
          <p:cNvSpPr/>
          <p:nvPr/>
        </p:nvSpPr>
        <p:spPr>
          <a:xfrm>
            <a:off x="4326962" y="34938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2" name="object 60"/>
          <p:cNvSpPr/>
          <p:nvPr/>
        </p:nvSpPr>
        <p:spPr>
          <a:xfrm>
            <a:off x="3451263" y="457102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3" name="object 58"/>
          <p:cNvSpPr/>
          <p:nvPr/>
        </p:nvSpPr>
        <p:spPr>
          <a:xfrm>
            <a:off x="7513462" y="204543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57150">
            <a:solidFill>
              <a:srgbClr val="F69545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4" name="object 56"/>
          <p:cNvSpPr/>
          <p:nvPr/>
        </p:nvSpPr>
        <p:spPr>
          <a:xfrm>
            <a:off x="6553321" y="196196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57150">
            <a:solidFill>
              <a:srgbClr val="F69545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5" name="object 54"/>
          <p:cNvSpPr/>
          <p:nvPr/>
        </p:nvSpPr>
        <p:spPr>
          <a:xfrm>
            <a:off x="7353097" y="275391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6" name="object 52"/>
          <p:cNvSpPr/>
          <p:nvPr/>
        </p:nvSpPr>
        <p:spPr>
          <a:xfrm>
            <a:off x="4696124" y="412086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7" name="object 50"/>
          <p:cNvSpPr/>
          <p:nvPr/>
        </p:nvSpPr>
        <p:spPr>
          <a:xfrm>
            <a:off x="4441297" y="46123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8" name="object 48"/>
          <p:cNvSpPr/>
          <p:nvPr/>
        </p:nvSpPr>
        <p:spPr>
          <a:xfrm>
            <a:off x="3130532" y="40499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9" name="object 42"/>
          <p:cNvSpPr/>
          <p:nvPr/>
        </p:nvSpPr>
        <p:spPr>
          <a:xfrm>
            <a:off x="5748103" y="33118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0" name="object 44"/>
          <p:cNvSpPr/>
          <p:nvPr/>
        </p:nvSpPr>
        <p:spPr>
          <a:xfrm>
            <a:off x="5560113" y="25802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1" name="object 46"/>
          <p:cNvSpPr/>
          <p:nvPr/>
        </p:nvSpPr>
        <p:spPr>
          <a:xfrm>
            <a:off x="5421508" y="296447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2" name="object 40"/>
          <p:cNvSpPr/>
          <p:nvPr/>
        </p:nvSpPr>
        <p:spPr>
          <a:xfrm>
            <a:off x="5213120" y="49216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3" name="object 38"/>
          <p:cNvSpPr/>
          <p:nvPr/>
        </p:nvSpPr>
        <p:spPr>
          <a:xfrm>
            <a:off x="7032365" y="221911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57150">
            <a:solidFill>
              <a:srgbClr val="F69545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4" name="object 36"/>
          <p:cNvSpPr/>
          <p:nvPr/>
        </p:nvSpPr>
        <p:spPr>
          <a:xfrm>
            <a:off x="7385165" y="340218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6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7"/>
                </a:lnTo>
                <a:lnTo>
                  <a:pt x="310251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5" name="object 34"/>
          <p:cNvSpPr/>
          <p:nvPr/>
        </p:nvSpPr>
        <p:spPr>
          <a:xfrm>
            <a:off x="5038354" y="24830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6" name="object 32"/>
          <p:cNvSpPr/>
          <p:nvPr/>
        </p:nvSpPr>
        <p:spPr>
          <a:xfrm>
            <a:off x="7192732" y="159327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7" name="object 30"/>
          <p:cNvSpPr/>
          <p:nvPr/>
        </p:nvSpPr>
        <p:spPr>
          <a:xfrm>
            <a:off x="6201572" y="316997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8" name="object 28"/>
          <p:cNvSpPr/>
          <p:nvPr/>
        </p:nvSpPr>
        <p:spPr>
          <a:xfrm>
            <a:off x="4877989" y="532865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9" name="object 26"/>
          <p:cNvSpPr/>
          <p:nvPr/>
        </p:nvSpPr>
        <p:spPr>
          <a:xfrm>
            <a:off x="5581873" y="4521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0" name="object 24"/>
          <p:cNvSpPr/>
          <p:nvPr/>
        </p:nvSpPr>
        <p:spPr>
          <a:xfrm>
            <a:off x="3528670" y="35173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1" name="object 22"/>
          <p:cNvSpPr/>
          <p:nvPr/>
        </p:nvSpPr>
        <p:spPr>
          <a:xfrm>
            <a:off x="3252845" y="520650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2" name="object 20"/>
          <p:cNvSpPr/>
          <p:nvPr/>
        </p:nvSpPr>
        <p:spPr>
          <a:xfrm>
            <a:off x="3849401" y="4051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3" name="object 18"/>
          <p:cNvSpPr/>
          <p:nvPr/>
        </p:nvSpPr>
        <p:spPr>
          <a:xfrm>
            <a:off x="6713687" y="269105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4" name="object 6"/>
          <p:cNvSpPr txBox="1"/>
          <p:nvPr/>
        </p:nvSpPr>
        <p:spPr>
          <a:xfrm>
            <a:off x="1332125" y="3759280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grpSp>
        <p:nvGrpSpPr>
          <p:cNvPr id="125" name="Group 124"/>
          <p:cNvGrpSpPr/>
          <p:nvPr/>
        </p:nvGrpSpPr>
        <p:grpSpPr>
          <a:xfrm>
            <a:off x="2383438" y="1888930"/>
            <a:ext cx="6303362" cy="4054670"/>
            <a:chOff x="2343901" y="1923700"/>
            <a:chExt cx="6303362" cy="4054670"/>
          </a:xfrm>
        </p:grpSpPr>
        <p:sp>
          <p:nvSpPr>
            <p:cNvPr id="126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127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8" name="object 15"/>
          <p:cNvSpPr txBox="1"/>
          <p:nvPr/>
        </p:nvSpPr>
        <p:spPr>
          <a:xfrm>
            <a:off x="349882" y="365536"/>
            <a:ext cx="1351013" cy="5207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985"/>
              </a:lnSpc>
              <a:spcBef>
                <a:spcPts val="99"/>
              </a:spcBef>
            </a:pPr>
            <a:r>
              <a:rPr sz="2700" spc="0" baseline="3034" dirty="0" smtClean="0">
                <a:solidFill>
                  <a:srgbClr val="215867"/>
                </a:solidFill>
                <a:latin typeface="+mj-lt"/>
                <a:cs typeface="Calibri"/>
              </a:rPr>
              <a:t>epsilon = 1.75</a:t>
            </a:r>
            <a:endParaRPr sz="1800" dirty="0">
              <a:latin typeface="+mj-lt"/>
              <a:cs typeface="Calibri"/>
            </a:endParaRPr>
          </a:p>
          <a:p>
            <a:pPr marL="12700" marR="34289">
              <a:lnSpc>
                <a:spcPts val="2100"/>
              </a:lnSpc>
              <a:spcBef>
                <a:spcPts val="5"/>
              </a:spcBef>
            </a:pPr>
            <a:r>
              <a:rPr sz="2700" spc="0" baseline="1517" dirty="0" smtClean="0">
                <a:solidFill>
                  <a:srgbClr val="215867"/>
                </a:solidFill>
                <a:latin typeface="+mj-lt"/>
                <a:cs typeface="Calibri"/>
              </a:rPr>
              <a:t>n_clu = 3</a:t>
            </a:r>
            <a:endParaRPr sz="1800" dirty="0">
              <a:latin typeface="+mj-lt"/>
              <a:cs typeface="Calibri"/>
            </a:endParaRPr>
          </a:p>
        </p:txBody>
      </p:sp>
      <p:sp>
        <p:nvSpPr>
          <p:cNvPr id="89" name="object 5"/>
          <p:cNvSpPr txBox="1"/>
          <p:nvPr/>
        </p:nvSpPr>
        <p:spPr>
          <a:xfrm>
            <a:off x="2101916" y="365536"/>
            <a:ext cx="6889684" cy="1166986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 marR="41909">
              <a:lnSpc>
                <a:spcPts val="3454"/>
              </a:lnSpc>
              <a:spcBef>
                <a:spcPts val="172"/>
              </a:spcBef>
            </a:pPr>
            <a:r>
              <a:rPr sz="4800" spc="0" baseline="2560" dirty="0" smtClean="0">
                <a:solidFill>
                  <a:srgbClr val="4E81BC"/>
                </a:solidFill>
                <a:latin typeface="+mj-lt"/>
                <a:cs typeface="Calibri"/>
              </a:rPr>
              <a:t>DBSC</a:t>
            </a:r>
            <a:r>
              <a:rPr sz="4800" spc="-4" baseline="2560" dirty="0" smtClean="0">
                <a:solidFill>
                  <a:srgbClr val="4E81BC"/>
                </a:solidFill>
                <a:latin typeface="+mj-lt"/>
                <a:cs typeface="Calibri"/>
              </a:rPr>
              <a:t>A</a:t>
            </a:r>
            <a:r>
              <a:rPr sz="4800" spc="0" baseline="2560" dirty="0" smtClean="0">
                <a:solidFill>
                  <a:srgbClr val="4E81BC"/>
                </a:solidFill>
                <a:latin typeface="+mj-lt"/>
                <a:cs typeface="Calibri"/>
              </a:rPr>
              <a:t>N</a:t>
            </a:r>
            <a:endParaRPr sz="3200" dirty="0">
              <a:latin typeface="+mj-lt"/>
              <a:cs typeface="Calibri"/>
            </a:endParaRPr>
          </a:p>
          <a:p>
            <a:pPr marL="12700">
              <a:lnSpc>
                <a:spcPts val="2770"/>
              </a:lnSpc>
            </a:pPr>
            <a:r>
              <a:rPr lang="en-US" sz="3200" baseline="1137" dirty="0" smtClean="0">
                <a:solidFill>
                  <a:srgbClr val="7F7E7E"/>
                </a:solidFill>
                <a:cs typeface="Calibri"/>
              </a:rPr>
              <a:t>Keep going until you find the entire cluster and no point is left unvisited by this chain reaction</a:t>
            </a:r>
            <a:endParaRPr lang="en-US" sz="3200" i="1" baseline="1137" dirty="0">
              <a:solidFill>
                <a:srgbClr val="7F7E7E"/>
              </a:solidFill>
              <a:cs typeface="Calibri"/>
            </a:endParaRPr>
          </a:p>
        </p:txBody>
      </p:sp>
      <p:sp>
        <p:nvSpPr>
          <p:cNvPr id="90" name="object 3"/>
          <p:cNvSpPr txBox="1"/>
          <p:nvPr/>
        </p:nvSpPr>
        <p:spPr>
          <a:xfrm>
            <a:off x="5426815" y="6116930"/>
            <a:ext cx="542241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latin typeface="Calibri"/>
                <a:cs typeface="Calibri"/>
              </a:rPr>
              <a:t>Age</a:t>
            </a:r>
            <a:endParaRPr sz="2400">
              <a:latin typeface="Calibri"/>
              <a:cs typeface="Calibri"/>
            </a:endParaRPr>
          </a:p>
        </p:txBody>
      </p:sp>
      <p:sp>
        <p:nvSpPr>
          <p:cNvPr id="91" name="object 66"/>
          <p:cNvSpPr/>
          <p:nvPr/>
        </p:nvSpPr>
        <p:spPr>
          <a:xfrm>
            <a:off x="5876946" y="1263431"/>
            <a:ext cx="1810252" cy="1760707"/>
          </a:xfrm>
          <a:custGeom>
            <a:avLst/>
            <a:gdLst/>
            <a:ahLst/>
            <a:cxnLst/>
            <a:rect l="l" t="t" r="r" b="b"/>
            <a:pathLst>
              <a:path w="1810252" h="1760707">
                <a:moveTo>
                  <a:pt x="0" y="880353"/>
                </a:moveTo>
                <a:lnTo>
                  <a:pt x="3000" y="952556"/>
                </a:lnTo>
                <a:lnTo>
                  <a:pt x="11846" y="1023151"/>
                </a:lnTo>
                <a:lnTo>
                  <a:pt x="26305" y="1091913"/>
                </a:lnTo>
                <a:lnTo>
                  <a:pt x="46143" y="1158614"/>
                </a:lnTo>
                <a:lnTo>
                  <a:pt x="71129" y="1223027"/>
                </a:lnTo>
                <a:lnTo>
                  <a:pt x="101028" y="1284927"/>
                </a:lnTo>
                <a:lnTo>
                  <a:pt x="135608" y="1344087"/>
                </a:lnTo>
                <a:lnTo>
                  <a:pt x="174636" y="1400279"/>
                </a:lnTo>
                <a:lnTo>
                  <a:pt x="217880" y="1453279"/>
                </a:lnTo>
                <a:lnTo>
                  <a:pt x="265105" y="1502858"/>
                </a:lnTo>
                <a:lnTo>
                  <a:pt x="316079" y="1548791"/>
                </a:lnTo>
                <a:lnTo>
                  <a:pt x="370570" y="1590850"/>
                </a:lnTo>
                <a:lnTo>
                  <a:pt x="428344" y="1628810"/>
                </a:lnTo>
                <a:lnTo>
                  <a:pt x="489168" y="1662444"/>
                </a:lnTo>
                <a:lnTo>
                  <a:pt x="552810" y="1691525"/>
                </a:lnTo>
                <a:lnTo>
                  <a:pt x="619036" y="1715826"/>
                </a:lnTo>
                <a:lnTo>
                  <a:pt x="687614" y="1735122"/>
                </a:lnTo>
                <a:lnTo>
                  <a:pt x="758310" y="1749185"/>
                </a:lnTo>
                <a:lnTo>
                  <a:pt x="830892" y="1757789"/>
                </a:lnTo>
                <a:lnTo>
                  <a:pt x="905126" y="1760707"/>
                </a:lnTo>
                <a:lnTo>
                  <a:pt x="979361" y="1757789"/>
                </a:lnTo>
                <a:lnTo>
                  <a:pt x="1051942" y="1749185"/>
                </a:lnTo>
                <a:lnTo>
                  <a:pt x="1122639" y="1735122"/>
                </a:lnTo>
                <a:lnTo>
                  <a:pt x="1191216" y="1715826"/>
                </a:lnTo>
                <a:lnTo>
                  <a:pt x="1257442" y="1691525"/>
                </a:lnTo>
                <a:lnTo>
                  <a:pt x="1321084" y="1662444"/>
                </a:lnTo>
                <a:lnTo>
                  <a:pt x="1381908" y="1628810"/>
                </a:lnTo>
                <a:lnTo>
                  <a:pt x="1439682" y="1590850"/>
                </a:lnTo>
                <a:lnTo>
                  <a:pt x="1494173" y="1548791"/>
                </a:lnTo>
                <a:lnTo>
                  <a:pt x="1545147" y="1502858"/>
                </a:lnTo>
                <a:lnTo>
                  <a:pt x="1592373" y="1453279"/>
                </a:lnTo>
                <a:lnTo>
                  <a:pt x="1635616" y="1400279"/>
                </a:lnTo>
                <a:lnTo>
                  <a:pt x="1674644" y="1344087"/>
                </a:lnTo>
                <a:lnTo>
                  <a:pt x="1709224" y="1284927"/>
                </a:lnTo>
                <a:lnTo>
                  <a:pt x="1739123" y="1223027"/>
                </a:lnTo>
                <a:lnTo>
                  <a:pt x="1764109" y="1158614"/>
                </a:lnTo>
                <a:lnTo>
                  <a:pt x="1783947" y="1091913"/>
                </a:lnTo>
                <a:lnTo>
                  <a:pt x="1798406" y="1023151"/>
                </a:lnTo>
                <a:lnTo>
                  <a:pt x="1807252" y="952556"/>
                </a:lnTo>
                <a:lnTo>
                  <a:pt x="1810252" y="880353"/>
                </a:lnTo>
                <a:lnTo>
                  <a:pt x="1807252" y="808151"/>
                </a:lnTo>
                <a:lnTo>
                  <a:pt x="1798406" y="737555"/>
                </a:lnTo>
                <a:lnTo>
                  <a:pt x="1783947" y="668794"/>
                </a:lnTo>
                <a:lnTo>
                  <a:pt x="1764109" y="602094"/>
                </a:lnTo>
                <a:lnTo>
                  <a:pt x="1739123" y="537680"/>
                </a:lnTo>
                <a:lnTo>
                  <a:pt x="1709224" y="475780"/>
                </a:lnTo>
                <a:lnTo>
                  <a:pt x="1674644" y="416621"/>
                </a:lnTo>
                <a:lnTo>
                  <a:pt x="1635616" y="360428"/>
                </a:lnTo>
                <a:lnTo>
                  <a:pt x="1592373" y="307429"/>
                </a:lnTo>
                <a:lnTo>
                  <a:pt x="1545147" y="257849"/>
                </a:lnTo>
                <a:lnTo>
                  <a:pt x="1494173" y="211917"/>
                </a:lnTo>
                <a:lnTo>
                  <a:pt x="1439682" y="169857"/>
                </a:lnTo>
                <a:lnTo>
                  <a:pt x="1381908" y="131897"/>
                </a:lnTo>
                <a:lnTo>
                  <a:pt x="1321084" y="98263"/>
                </a:lnTo>
                <a:lnTo>
                  <a:pt x="1257442" y="69182"/>
                </a:lnTo>
                <a:lnTo>
                  <a:pt x="1191216" y="44881"/>
                </a:lnTo>
                <a:lnTo>
                  <a:pt x="1122639" y="25585"/>
                </a:lnTo>
                <a:lnTo>
                  <a:pt x="1051942" y="11522"/>
                </a:lnTo>
                <a:lnTo>
                  <a:pt x="979361" y="2918"/>
                </a:lnTo>
                <a:lnTo>
                  <a:pt x="905126" y="0"/>
                </a:lnTo>
                <a:lnTo>
                  <a:pt x="830892" y="2918"/>
                </a:lnTo>
                <a:lnTo>
                  <a:pt x="758310" y="11522"/>
                </a:lnTo>
                <a:lnTo>
                  <a:pt x="687614" y="25585"/>
                </a:lnTo>
                <a:lnTo>
                  <a:pt x="619036" y="44881"/>
                </a:lnTo>
                <a:lnTo>
                  <a:pt x="552810" y="69182"/>
                </a:lnTo>
                <a:lnTo>
                  <a:pt x="489168" y="98263"/>
                </a:lnTo>
                <a:lnTo>
                  <a:pt x="428344" y="131897"/>
                </a:lnTo>
                <a:lnTo>
                  <a:pt x="370570" y="169857"/>
                </a:lnTo>
                <a:lnTo>
                  <a:pt x="316079" y="211917"/>
                </a:lnTo>
                <a:lnTo>
                  <a:pt x="265105" y="257849"/>
                </a:lnTo>
                <a:lnTo>
                  <a:pt x="217880" y="307429"/>
                </a:lnTo>
                <a:lnTo>
                  <a:pt x="174636" y="360428"/>
                </a:lnTo>
                <a:lnTo>
                  <a:pt x="135608" y="416621"/>
                </a:lnTo>
                <a:lnTo>
                  <a:pt x="101028" y="475780"/>
                </a:lnTo>
                <a:lnTo>
                  <a:pt x="71129" y="537680"/>
                </a:lnTo>
                <a:lnTo>
                  <a:pt x="46143" y="602094"/>
                </a:lnTo>
                <a:lnTo>
                  <a:pt x="26305" y="668794"/>
                </a:lnTo>
                <a:lnTo>
                  <a:pt x="11846" y="737555"/>
                </a:lnTo>
                <a:lnTo>
                  <a:pt x="3000" y="808151"/>
                </a:lnTo>
                <a:lnTo>
                  <a:pt x="0" y="880353"/>
                </a:lnTo>
                <a:close/>
              </a:path>
            </a:pathLst>
          </a:custGeom>
          <a:solidFill>
            <a:srgbClr val="FAA657">
              <a:alpha val="51000"/>
            </a:srgbClr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2" name="object 82"/>
          <p:cNvSpPr/>
          <p:nvPr/>
        </p:nvSpPr>
        <p:spPr>
          <a:xfrm>
            <a:off x="4414372" y="54871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3" name="object 84"/>
          <p:cNvSpPr/>
          <p:nvPr/>
        </p:nvSpPr>
        <p:spPr>
          <a:xfrm>
            <a:off x="5399747" y="55212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4" name="object 86"/>
          <p:cNvSpPr/>
          <p:nvPr/>
        </p:nvSpPr>
        <p:spPr>
          <a:xfrm>
            <a:off x="6251551" y="55023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5" name="object 74"/>
          <p:cNvSpPr/>
          <p:nvPr/>
        </p:nvSpPr>
        <p:spPr>
          <a:xfrm>
            <a:off x="2668469" y="519520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6" name="object 72"/>
          <p:cNvSpPr/>
          <p:nvPr/>
        </p:nvSpPr>
        <p:spPr>
          <a:xfrm>
            <a:off x="5959366" y="251737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40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80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7" name="object 70"/>
          <p:cNvSpPr/>
          <p:nvPr/>
        </p:nvSpPr>
        <p:spPr>
          <a:xfrm>
            <a:off x="5560113" y="213564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8" name="object 68"/>
          <p:cNvSpPr/>
          <p:nvPr/>
        </p:nvSpPr>
        <p:spPr>
          <a:xfrm>
            <a:off x="5148028" y="1723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9" name="object 66"/>
          <p:cNvSpPr/>
          <p:nvPr/>
        </p:nvSpPr>
        <p:spPr>
          <a:xfrm>
            <a:off x="6872003" y="34121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0" name="object 63"/>
          <p:cNvSpPr/>
          <p:nvPr/>
        </p:nvSpPr>
        <p:spPr>
          <a:xfrm>
            <a:off x="5880842" y="502152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6"/>
                </a:lnTo>
                <a:lnTo>
                  <a:pt x="1583" y="198179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6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2"/>
                </a:lnTo>
                <a:lnTo>
                  <a:pt x="49876" y="299561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6"/>
                </a:lnTo>
                <a:lnTo>
                  <a:pt x="196530" y="342926"/>
                </a:lnTo>
                <a:lnTo>
                  <a:pt x="209650" y="339004"/>
                </a:lnTo>
                <a:lnTo>
                  <a:pt x="222295" y="333936"/>
                </a:lnTo>
                <a:lnTo>
                  <a:pt x="234413" y="327778"/>
                </a:lnTo>
                <a:lnTo>
                  <a:pt x="245953" y="320583"/>
                </a:lnTo>
                <a:lnTo>
                  <a:pt x="256864" y="312409"/>
                </a:lnTo>
                <a:lnTo>
                  <a:pt x="267095" y="303311"/>
                </a:lnTo>
                <a:lnTo>
                  <a:pt x="276595" y="293343"/>
                </a:lnTo>
                <a:lnTo>
                  <a:pt x="285312" y="282562"/>
                </a:lnTo>
                <a:lnTo>
                  <a:pt x="293195" y="271023"/>
                </a:lnTo>
                <a:lnTo>
                  <a:pt x="300193" y="258781"/>
                </a:lnTo>
                <a:lnTo>
                  <a:pt x="306255" y="245892"/>
                </a:lnTo>
                <a:lnTo>
                  <a:pt x="311330" y="232411"/>
                </a:lnTo>
                <a:lnTo>
                  <a:pt x="315366" y="218394"/>
                </a:lnTo>
                <a:lnTo>
                  <a:pt x="318312" y="203896"/>
                </a:lnTo>
                <a:lnTo>
                  <a:pt x="320117" y="188973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9" y="93485"/>
                </a:lnTo>
                <a:lnTo>
                  <a:pt x="296006" y="80986"/>
                </a:lnTo>
                <a:lnTo>
                  <a:pt x="288459" y="69169"/>
                </a:lnTo>
                <a:lnTo>
                  <a:pt x="280058" y="58089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4"/>
                </a:lnTo>
                <a:lnTo>
                  <a:pt x="86318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1" name="object 62"/>
          <p:cNvSpPr/>
          <p:nvPr/>
        </p:nvSpPr>
        <p:spPr>
          <a:xfrm>
            <a:off x="4326962" y="34938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2" name="object 60"/>
          <p:cNvSpPr/>
          <p:nvPr/>
        </p:nvSpPr>
        <p:spPr>
          <a:xfrm>
            <a:off x="3451263" y="457102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3" name="object 58"/>
          <p:cNvSpPr/>
          <p:nvPr/>
        </p:nvSpPr>
        <p:spPr>
          <a:xfrm>
            <a:off x="7513462" y="204543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57150">
            <a:solidFill>
              <a:srgbClr val="F69545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4" name="object 56"/>
          <p:cNvSpPr/>
          <p:nvPr/>
        </p:nvSpPr>
        <p:spPr>
          <a:xfrm>
            <a:off x="6553321" y="196196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5" name="object 54"/>
          <p:cNvSpPr/>
          <p:nvPr/>
        </p:nvSpPr>
        <p:spPr>
          <a:xfrm>
            <a:off x="7353097" y="275391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6" name="object 52"/>
          <p:cNvSpPr/>
          <p:nvPr/>
        </p:nvSpPr>
        <p:spPr>
          <a:xfrm>
            <a:off x="4696124" y="412086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7" name="object 50"/>
          <p:cNvSpPr/>
          <p:nvPr/>
        </p:nvSpPr>
        <p:spPr>
          <a:xfrm>
            <a:off x="4441297" y="46123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8" name="object 48"/>
          <p:cNvSpPr/>
          <p:nvPr/>
        </p:nvSpPr>
        <p:spPr>
          <a:xfrm>
            <a:off x="3130532" y="40499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9" name="object 42"/>
          <p:cNvSpPr/>
          <p:nvPr/>
        </p:nvSpPr>
        <p:spPr>
          <a:xfrm>
            <a:off x="5748103" y="33118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0" name="object 44"/>
          <p:cNvSpPr/>
          <p:nvPr/>
        </p:nvSpPr>
        <p:spPr>
          <a:xfrm>
            <a:off x="5560113" y="25802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1" name="object 46"/>
          <p:cNvSpPr/>
          <p:nvPr/>
        </p:nvSpPr>
        <p:spPr>
          <a:xfrm>
            <a:off x="5421508" y="296447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2" name="object 40"/>
          <p:cNvSpPr/>
          <p:nvPr/>
        </p:nvSpPr>
        <p:spPr>
          <a:xfrm>
            <a:off x="5213120" y="49216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3" name="object 38"/>
          <p:cNvSpPr/>
          <p:nvPr/>
        </p:nvSpPr>
        <p:spPr>
          <a:xfrm>
            <a:off x="7032365" y="221911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57150">
            <a:solidFill>
              <a:srgbClr val="F69545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4" name="object 36"/>
          <p:cNvSpPr/>
          <p:nvPr/>
        </p:nvSpPr>
        <p:spPr>
          <a:xfrm>
            <a:off x="7385165" y="340218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6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7"/>
                </a:lnTo>
                <a:lnTo>
                  <a:pt x="310251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5" name="object 34"/>
          <p:cNvSpPr/>
          <p:nvPr/>
        </p:nvSpPr>
        <p:spPr>
          <a:xfrm>
            <a:off x="5038354" y="24830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6" name="object 32"/>
          <p:cNvSpPr/>
          <p:nvPr/>
        </p:nvSpPr>
        <p:spPr>
          <a:xfrm>
            <a:off x="7192732" y="159327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57150">
            <a:solidFill>
              <a:srgbClr val="F69545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7" name="object 30"/>
          <p:cNvSpPr/>
          <p:nvPr/>
        </p:nvSpPr>
        <p:spPr>
          <a:xfrm>
            <a:off x="6201572" y="316997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8" name="object 28"/>
          <p:cNvSpPr/>
          <p:nvPr/>
        </p:nvSpPr>
        <p:spPr>
          <a:xfrm>
            <a:off x="4877989" y="532865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9" name="object 26"/>
          <p:cNvSpPr/>
          <p:nvPr/>
        </p:nvSpPr>
        <p:spPr>
          <a:xfrm>
            <a:off x="5581873" y="4521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0" name="object 24"/>
          <p:cNvSpPr/>
          <p:nvPr/>
        </p:nvSpPr>
        <p:spPr>
          <a:xfrm>
            <a:off x="3528670" y="35173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1" name="object 22"/>
          <p:cNvSpPr/>
          <p:nvPr/>
        </p:nvSpPr>
        <p:spPr>
          <a:xfrm>
            <a:off x="3252845" y="520650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2" name="object 20"/>
          <p:cNvSpPr/>
          <p:nvPr/>
        </p:nvSpPr>
        <p:spPr>
          <a:xfrm>
            <a:off x="3849401" y="4051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3" name="object 18"/>
          <p:cNvSpPr/>
          <p:nvPr/>
        </p:nvSpPr>
        <p:spPr>
          <a:xfrm>
            <a:off x="6713687" y="269105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4" name="object 6"/>
          <p:cNvSpPr txBox="1"/>
          <p:nvPr/>
        </p:nvSpPr>
        <p:spPr>
          <a:xfrm>
            <a:off x="1332125" y="3759280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grpSp>
        <p:nvGrpSpPr>
          <p:cNvPr id="125" name="Group 124"/>
          <p:cNvGrpSpPr/>
          <p:nvPr/>
        </p:nvGrpSpPr>
        <p:grpSpPr>
          <a:xfrm>
            <a:off x="2383438" y="1888930"/>
            <a:ext cx="6303362" cy="4054670"/>
            <a:chOff x="2343901" y="1923700"/>
            <a:chExt cx="6303362" cy="4054670"/>
          </a:xfrm>
        </p:grpSpPr>
        <p:sp>
          <p:nvSpPr>
            <p:cNvPr id="126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127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8" name="object 15"/>
          <p:cNvSpPr txBox="1"/>
          <p:nvPr/>
        </p:nvSpPr>
        <p:spPr>
          <a:xfrm>
            <a:off x="349882" y="365536"/>
            <a:ext cx="1351013" cy="5207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985"/>
              </a:lnSpc>
              <a:spcBef>
                <a:spcPts val="99"/>
              </a:spcBef>
            </a:pPr>
            <a:r>
              <a:rPr sz="2700" spc="0" baseline="3034" dirty="0" smtClean="0">
                <a:solidFill>
                  <a:srgbClr val="215867"/>
                </a:solidFill>
                <a:latin typeface="+mj-lt"/>
                <a:cs typeface="Calibri"/>
              </a:rPr>
              <a:t>epsilon = 1.75</a:t>
            </a:r>
            <a:endParaRPr sz="1800" dirty="0">
              <a:latin typeface="+mj-lt"/>
              <a:cs typeface="Calibri"/>
            </a:endParaRPr>
          </a:p>
          <a:p>
            <a:pPr marL="12700" marR="34289">
              <a:lnSpc>
                <a:spcPts val="2100"/>
              </a:lnSpc>
              <a:spcBef>
                <a:spcPts val="5"/>
              </a:spcBef>
            </a:pPr>
            <a:r>
              <a:rPr sz="2700" spc="0" baseline="1517" dirty="0" smtClean="0">
                <a:solidFill>
                  <a:srgbClr val="215867"/>
                </a:solidFill>
                <a:latin typeface="+mj-lt"/>
                <a:cs typeface="Calibri"/>
              </a:rPr>
              <a:t>n_clu = 3</a:t>
            </a:r>
            <a:endParaRPr sz="1800" dirty="0">
              <a:latin typeface="+mj-lt"/>
              <a:cs typeface="Calibri"/>
            </a:endParaRPr>
          </a:p>
        </p:txBody>
      </p:sp>
      <p:sp>
        <p:nvSpPr>
          <p:cNvPr id="89" name="object 5"/>
          <p:cNvSpPr txBox="1"/>
          <p:nvPr/>
        </p:nvSpPr>
        <p:spPr>
          <a:xfrm>
            <a:off x="2101916" y="365536"/>
            <a:ext cx="6889684" cy="1166986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 marR="41909">
              <a:lnSpc>
                <a:spcPts val="3454"/>
              </a:lnSpc>
              <a:spcBef>
                <a:spcPts val="172"/>
              </a:spcBef>
            </a:pPr>
            <a:r>
              <a:rPr sz="4800" spc="0" baseline="2560" dirty="0" smtClean="0">
                <a:solidFill>
                  <a:srgbClr val="4E81BC"/>
                </a:solidFill>
                <a:latin typeface="+mj-lt"/>
                <a:cs typeface="Calibri"/>
              </a:rPr>
              <a:t>DBSC</a:t>
            </a:r>
            <a:r>
              <a:rPr sz="4800" spc="-4" baseline="2560" dirty="0" smtClean="0">
                <a:solidFill>
                  <a:srgbClr val="4E81BC"/>
                </a:solidFill>
                <a:latin typeface="+mj-lt"/>
                <a:cs typeface="Calibri"/>
              </a:rPr>
              <a:t>A</a:t>
            </a:r>
            <a:r>
              <a:rPr sz="4800" spc="0" baseline="2560" dirty="0" smtClean="0">
                <a:solidFill>
                  <a:srgbClr val="4E81BC"/>
                </a:solidFill>
                <a:latin typeface="+mj-lt"/>
                <a:cs typeface="Calibri"/>
              </a:rPr>
              <a:t>N</a:t>
            </a:r>
            <a:endParaRPr sz="3200" dirty="0">
              <a:latin typeface="+mj-lt"/>
              <a:cs typeface="Calibri"/>
            </a:endParaRPr>
          </a:p>
          <a:p>
            <a:pPr marL="12700">
              <a:lnSpc>
                <a:spcPts val="2770"/>
              </a:lnSpc>
            </a:pPr>
            <a:r>
              <a:rPr lang="en-US" sz="3200" baseline="1137" dirty="0" smtClean="0">
                <a:solidFill>
                  <a:srgbClr val="7F7E7E"/>
                </a:solidFill>
                <a:cs typeface="Calibri"/>
              </a:rPr>
              <a:t>Keep going until you find the entire cluster and no point is left unvisited by this chain reaction</a:t>
            </a:r>
            <a:endParaRPr lang="en-US" sz="3200" i="1" baseline="1137" dirty="0">
              <a:solidFill>
                <a:srgbClr val="7F7E7E"/>
              </a:solidFill>
              <a:cs typeface="Calibri"/>
            </a:endParaRPr>
          </a:p>
        </p:txBody>
      </p:sp>
      <p:sp>
        <p:nvSpPr>
          <p:cNvPr id="90" name="object 3"/>
          <p:cNvSpPr txBox="1"/>
          <p:nvPr/>
        </p:nvSpPr>
        <p:spPr>
          <a:xfrm>
            <a:off x="5426815" y="6116930"/>
            <a:ext cx="542241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latin typeface="Calibri"/>
                <a:cs typeface="Calibri"/>
              </a:rPr>
              <a:t>Age</a:t>
            </a:r>
            <a:endParaRPr sz="2400">
              <a:latin typeface="Calibri"/>
              <a:cs typeface="Calibri"/>
            </a:endParaRPr>
          </a:p>
        </p:txBody>
      </p:sp>
      <p:sp>
        <p:nvSpPr>
          <p:cNvPr id="91" name="object 66"/>
          <p:cNvSpPr/>
          <p:nvPr/>
        </p:nvSpPr>
        <p:spPr>
          <a:xfrm>
            <a:off x="6375308" y="1480704"/>
            <a:ext cx="1810252" cy="1760707"/>
          </a:xfrm>
          <a:custGeom>
            <a:avLst/>
            <a:gdLst/>
            <a:ahLst/>
            <a:cxnLst/>
            <a:rect l="l" t="t" r="r" b="b"/>
            <a:pathLst>
              <a:path w="1810252" h="1760707">
                <a:moveTo>
                  <a:pt x="0" y="880353"/>
                </a:moveTo>
                <a:lnTo>
                  <a:pt x="3000" y="952556"/>
                </a:lnTo>
                <a:lnTo>
                  <a:pt x="11846" y="1023151"/>
                </a:lnTo>
                <a:lnTo>
                  <a:pt x="26305" y="1091913"/>
                </a:lnTo>
                <a:lnTo>
                  <a:pt x="46143" y="1158614"/>
                </a:lnTo>
                <a:lnTo>
                  <a:pt x="71129" y="1223027"/>
                </a:lnTo>
                <a:lnTo>
                  <a:pt x="101028" y="1284927"/>
                </a:lnTo>
                <a:lnTo>
                  <a:pt x="135608" y="1344087"/>
                </a:lnTo>
                <a:lnTo>
                  <a:pt x="174636" y="1400279"/>
                </a:lnTo>
                <a:lnTo>
                  <a:pt x="217880" y="1453279"/>
                </a:lnTo>
                <a:lnTo>
                  <a:pt x="265105" y="1502858"/>
                </a:lnTo>
                <a:lnTo>
                  <a:pt x="316079" y="1548791"/>
                </a:lnTo>
                <a:lnTo>
                  <a:pt x="370570" y="1590850"/>
                </a:lnTo>
                <a:lnTo>
                  <a:pt x="428344" y="1628810"/>
                </a:lnTo>
                <a:lnTo>
                  <a:pt x="489168" y="1662444"/>
                </a:lnTo>
                <a:lnTo>
                  <a:pt x="552810" y="1691525"/>
                </a:lnTo>
                <a:lnTo>
                  <a:pt x="619036" y="1715826"/>
                </a:lnTo>
                <a:lnTo>
                  <a:pt x="687614" y="1735122"/>
                </a:lnTo>
                <a:lnTo>
                  <a:pt x="758310" y="1749185"/>
                </a:lnTo>
                <a:lnTo>
                  <a:pt x="830892" y="1757789"/>
                </a:lnTo>
                <a:lnTo>
                  <a:pt x="905126" y="1760707"/>
                </a:lnTo>
                <a:lnTo>
                  <a:pt x="979361" y="1757789"/>
                </a:lnTo>
                <a:lnTo>
                  <a:pt x="1051942" y="1749185"/>
                </a:lnTo>
                <a:lnTo>
                  <a:pt x="1122639" y="1735122"/>
                </a:lnTo>
                <a:lnTo>
                  <a:pt x="1191216" y="1715826"/>
                </a:lnTo>
                <a:lnTo>
                  <a:pt x="1257442" y="1691525"/>
                </a:lnTo>
                <a:lnTo>
                  <a:pt x="1321084" y="1662444"/>
                </a:lnTo>
                <a:lnTo>
                  <a:pt x="1381908" y="1628810"/>
                </a:lnTo>
                <a:lnTo>
                  <a:pt x="1439682" y="1590850"/>
                </a:lnTo>
                <a:lnTo>
                  <a:pt x="1494173" y="1548791"/>
                </a:lnTo>
                <a:lnTo>
                  <a:pt x="1545147" y="1502858"/>
                </a:lnTo>
                <a:lnTo>
                  <a:pt x="1592373" y="1453279"/>
                </a:lnTo>
                <a:lnTo>
                  <a:pt x="1635616" y="1400279"/>
                </a:lnTo>
                <a:lnTo>
                  <a:pt x="1674644" y="1344087"/>
                </a:lnTo>
                <a:lnTo>
                  <a:pt x="1709224" y="1284927"/>
                </a:lnTo>
                <a:lnTo>
                  <a:pt x="1739123" y="1223027"/>
                </a:lnTo>
                <a:lnTo>
                  <a:pt x="1764109" y="1158614"/>
                </a:lnTo>
                <a:lnTo>
                  <a:pt x="1783947" y="1091913"/>
                </a:lnTo>
                <a:lnTo>
                  <a:pt x="1798406" y="1023151"/>
                </a:lnTo>
                <a:lnTo>
                  <a:pt x="1807252" y="952556"/>
                </a:lnTo>
                <a:lnTo>
                  <a:pt x="1810252" y="880353"/>
                </a:lnTo>
                <a:lnTo>
                  <a:pt x="1807252" y="808151"/>
                </a:lnTo>
                <a:lnTo>
                  <a:pt x="1798406" y="737555"/>
                </a:lnTo>
                <a:lnTo>
                  <a:pt x="1783947" y="668794"/>
                </a:lnTo>
                <a:lnTo>
                  <a:pt x="1764109" y="602094"/>
                </a:lnTo>
                <a:lnTo>
                  <a:pt x="1739123" y="537680"/>
                </a:lnTo>
                <a:lnTo>
                  <a:pt x="1709224" y="475780"/>
                </a:lnTo>
                <a:lnTo>
                  <a:pt x="1674644" y="416621"/>
                </a:lnTo>
                <a:lnTo>
                  <a:pt x="1635616" y="360428"/>
                </a:lnTo>
                <a:lnTo>
                  <a:pt x="1592373" y="307429"/>
                </a:lnTo>
                <a:lnTo>
                  <a:pt x="1545147" y="257849"/>
                </a:lnTo>
                <a:lnTo>
                  <a:pt x="1494173" y="211917"/>
                </a:lnTo>
                <a:lnTo>
                  <a:pt x="1439682" y="169857"/>
                </a:lnTo>
                <a:lnTo>
                  <a:pt x="1381908" y="131897"/>
                </a:lnTo>
                <a:lnTo>
                  <a:pt x="1321084" y="98263"/>
                </a:lnTo>
                <a:lnTo>
                  <a:pt x="1257442" y="69182"/>
                </a:lnTo>
                <a:lnTo>
                  <a:pt x="1191216" y="44881"/>
                </a:lnTo>
                <a:lnTo>
                  <a:pt x="1122639" y="25585"/>
                </a:lnTo>
                <a:lnTo>
                  <a:pt x="1051942" y="11522"/>
                </a:lnTo>
                <a:lnTo>
                  <a:pt x="979361" y="2918"/>
                </a:lnTo>
                <a:lnTo>
                  <a:pt x="905126" y="0"/>
                </a:lnTo>
                <a:lnTo>
                  <a:pt x="830892" y="2918"/>
                </a:lnTo>
                <a:lnTo>
                  <a:pt x="758310" y="11522"/>
                </a:lnTo>
                <a:lnTo>
                  <a:pt x="687614" y="25585"/>
                </a:lnTo>
                <a:lnTo>
                  <a:pt x="619036" y="44881"/>
                </a:lnTo>
                <a:lnTo>
                  <a:pt x="552810" y="69182"/>
                </a:lnTo>
                <a:lnTo>
                  <a:pt x="489168" y="98263"/>
                </a:lnTo>
                <a:lnTo>
                  <a:pt x="428344" y="131897"/>
                </a:lnTo>
                <a:lnTo>
                  <a:pt x="370570" y="169857"/>
                </a:lnTo>
                <a:lnTo>
                  <a:pt x="316079" y="211917"/>
                </a:lnTo>
                <a:lnTo>
                  <a:pt x="265105" y="257849"/>
                </a:lnTo>
                <a:lnTo>
                  <a:pt x="217880" y="307429"/>
                </a:lnTo>
                <a:lnTo>
                  <a:pt x="174636" y="360428"/>
                </a:lnTo>
                <a:lnTo>
                  <a:pt x="135608" y="416621"/>
                </a:lnTo>
                <a:lnTo>
                  <a:pt x="101028" y="475780"/>
                </a:lnTo>
                <a:lnTo>
                  <a:pt x="71129" y="537680"/>
                </a:lnTo>
                <a:lnTo>
                  <a:pt x="46143" y="602094"/>
                </a:lnTo>
                <a:lnTo>
                  <a:pt x="26305" y="668794"/>
                </a:lnTo>
                <a:lnTo>
                  <a:pt x="11846" y="737555"/>
                </a:lnTo>
                <a:lnTo>
                  <a:pt x="3000" y="808151"/>
                </a:lnTo>
                <a:lnTo>
                  <a:pt x="0" y="880353"/>
                </a:lnTo>
                <a:close/>
              </a:path>
            </a:pathLst>
          </a:custGeom>
          <a:solidFill>
            <a:srgbClr val="FAA657">
              <a:alpha val="51000"/>
            </a:srgbClr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2" name="object 82"/>
          <p:cNvSpPr/>
          <p:nvPr/>
        </p:nvSpPr>
        <p:spPr>
          <a:xfrm>
            <a:off x="4414372" y="54871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3" name="object 84"/>
          <p:cNvSpPr/>
          <p:nvPr/>
        </p:nvSpPr>
        <p:spPr>
          <a:xfrm>
            <a:off x="5399747" y="55212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4" name="object 86"/>
          <p:cNvSpPr/>
          <p:nvPr/>
        </p:nvSpPr>
        <p:spPr>
          <a:xfrm>
            <a:off x="6251551" y="55023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5" name="object 74"/>
          <p:cNvSpPr/>
          <p:nvPr/>
        </p:nvSpPr>
        <p:spPr>
          <a:xfrm>
            <a:off x="2668469" y="519520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6" name="object 72"/>
          <p:cNvSpPr/>
          <p:nvPr/>
        </p:nvSpPr>
        <p:spPr>
          <a:xfrm>
            <a:off x="5959366" y="251737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40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80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7" name="object 70"/>
          <p:cNvSpPr/>
          <p:nvPr/>
        </p:nvSpPr>
        <p:spPr>
          <a:xfrm>
            <a:off x="5560113" y="213564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8" name="object 68"/>
          <p:cNvSpPr/>
          <p:nvPr/>
        </p:nvSpPr>
        <p:spPr>
          <a:xfrm>
            <a:off x="5148028" y="1723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9" name="object 66"/>
          <p:cNvSpPr/>
          <p:nvPr/>
        </p:nvSpPr>
        <p:spPr>
          <a:xfrm>
            <a:off x="6872003" y="34121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0" name="object 63"/>
          <p:cNvSpPr/>
          <p:nvPr/>
        </p:nvSpPr>
        <p:spPr>
          <a:xfrm>
            <a:off x="5880842" y="502152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6"/>
                </a:lnTo>
                <a:lnTo>
                  <a:pt x="1583" y="198179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6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2"/>
                </a:lnTo>
                <a:lnTo>
                  <a:pt x="49876" y="299561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6"/>
                </a:lnTo>
                <a:lnTo>
                  <a:pt x="196530" y="342926"/>
                </a:lnTo>
                <a:lnTo>
                  <a:pt x="209650" y="339004"/>
                </a:lnTo>
                <a:lnTo>
                  <a:pt x="222295" y="333936"/>
                </a:lnTo>
                <a:lnTo>
                  <a:pt x="234413" y="327778"/>
                </a:lnTo>
                <a:lnTo>
                  <a:pt x="245953" y="320583"/>
                </a:lnTo>
                <a:lnTo>
                  <a:pt x="256864" y="312409"/>
                </a:lnTo>
                <a:lnTo>
                  <a:pt x="267095" y="303311"/>
                </a:lnTo>
                <a:lnTo>
                  <a:pt x="276595" y="293343"/>
                </a:lnTo>
                <a:lnTo>
                  <a:pt x="285312" y="282562"/>
                </a:lnTo>
                <a:lnTo>
                  <a:pt x="293195" y="271023"/>
                </a:lnTo>
                <a:lnTo>
                  <a:pt x="300193" y="258781"/>
                </a:lnTo>
                <a:lnTo>
                  <a:pt x="306255" y="245892"/>
                </a:lnTo>
                <a:lnTo>
                  <a:pt x="311330" y="232411"/>
                </a:lnTo>
                <a:lnTo>
                  <a:pt x="315366" y="218394"/>
                </a:lnTo>
                <a:lnTo>
                  <a:pt x="318312" y="203896"/>
                </a:lnTo>
                <a:lnTo>
                  <a:pt x="320117" y="188973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9" y="93485"/>
                </a:lnTo>
                <a:lnTo>
                  <a:pt x="296006" y="80986"/>
                </a:lnTo>
                <a:lnTo>
                  <a:pt x="288459" y="69169"/>
                </a:lnTo>
                <a:lnTo>
                  <a:pt x="280058" y="58089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4"/>
                </a:lnTo>
                <a:lnTo>
                  <a:pt x="86318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1" name="object 62"/>
          <p:cNvSpPr/>
          <p:nvPr/>
        </p:nvSpPr>
        <p:spPr>
          <a:xfrm>
            <a:off x="4326962" y="34938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2" name="object 60"/>
          <p:cNvSpPr/>
          <p:nvPr/>
        </p:nvSpPr>
        <p:spPr>
          <a:xfrm>
            <a:off x="3451263" y="457102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3" name="object 58"/>
          <p:cNvSpPr/>
          <p:nvPr/>
        </p:nvSpPr>
        <p:spPr>
          <a:xfrm>
            <a:off x="7513462" y="204543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57150">
            <a:solidFill>
              <a:srgbClr val="F69545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4" name="object 56"/>
          <p:cNvSpPr/>
          <p:nvPr/>
        </p:nvSpPr>
        <p:spPr>
          <a:xfrm>
            <a:off x="6553321" y="196196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5" name="object 54"/>
          <p:cNvSpPr/>
          <p:nvPr/>
        </p:nvSpPr>
        <p:spPr>
          <a:xfrm>
            <a:off x="7353097" y="275391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6" name="object 52"/>
          <p:cNvSpPr/>
          <p:nvPr/>
        </p:nvSpPr>
        <p:spPr>
          <a:xfrm>
            <a:off x="4696124" y="412086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7" name="object 50"/>
          <p:cNvSpPr/>
          <p:nvPr/>
        </p:nvSpPr>
        <p:spPr>
          <a:xfrm>
            <a:off x="4441297" y="46123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8" name="object 48"/>
          <p:cNvSpPr/>
          <p:nvPr/>
        </p:nvSpPr>
        <p:spPr>
          <a:xfrm>
            <a:off x="3130532" y="40499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9" name="object 42"/>
          <p:cNvSpPr/>
          <p:nvPr/>
        </p:nvSpPr>
        <p:spPr>
          <a:xfrm>
            <a:off x="5748103" y="33118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0" name="object 44"/>
          <p:cNvSpPr/>
          <p:nvPr/>
        </p:nvSpPr>
        <p:spPr>
          <a:xfrm>
            <a:off x="5560113" y="25802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1" name="object 46"/>
          <p:cNvSpPr/>
          <p:nvPr/>
        </p:nvSpPr>
        <p:spPr>
          <a:xfrm>
            <a:off x="5421508" y="296447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2" name="object 40"/>
          <p:cNvSpPr/>
          <p:nvPr/>
        </p:nvSpPr>
        <p:spPr>
          <a:xfrm>
            <a:off x="5213120" y="49216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3" name="object 38"/>
          <p:cNvSpPr/>
          <p:nvPr/>
        </p:nvSpPr>
        <p:spPr>
          <a:xfrm>
            <a:off x="7032365" y="221911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4" name="object 36"/>
          <p:cNvSpPr/>
          <p:nvPr/>
        </p:nvSpPr>
        <p:spPr>
          <a:xfrm>
            <a:off x="7385165" y="340218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6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7"/>
                </a:lnTo>
                <a:lnTo>
                  <a:pt x="310251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5" name="object 34"/>
          <p:cNvSpPr/>
          <p:nvPr/>
        </p:nvSpPr>
        <p:spPr>
          <a:xfrm>
            <a:off x="5038354" y="24830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6" name="object 32"/>
          <p:cNvSpPr/>
          <p:nvPr/>
        </p:nvSpPr>
        <p:spPr>
          <a:xfrm>
            <a:off x="7192732" y="159327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57150">
            <a:solidFill>
              <a:srgbClr val="F69545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7" name="object 30"/>
          <p:cNvSpPr/>
          <p:nvPr/>
        </p:nvSpPr>
        <p:spPr>
          <a:xfrm>
            <a:off x="6201572" y="316997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8" name="object 28"/>
          <p:cNvSpPr/>
          <p:nvPr/>
        </p:nvSpPr>
        <p:spPr>
          <a:xfrm>
            <a:off x="4877989" y="532865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9" name="object 26"/>
          <p:cNvSpPr/>
          <p:nvPr/>
        </p:nvSpPr>
        <p:spPr>
          <a:xfrm>
            <a:off x="5581873" y="4521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0" name="object 24"/>
          <p:cNvSpPr/>
          <p:nvPr/>
        </p:nvSpPr>
        <p:spPr>
          <a:xfrm>
            <a:off x="3528670" y="35173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1" name="object 22"/>
          <p:cNvSpPr/>
          <p:nvPr/>
        </p:nvSpPr>
        <p:spPr>
          <a:xfrm>
            <a:off x="3252845" y="520650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2" name="object 20"/>
          <p:cNvSpPr/>
          <p:nvPr/>
        </p:nvSpPr>
        <p:spPr>
          <a:xfrm>
            <a:off x="3849401" y="4051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3" name="object 18"/>
          <p:cNvSpPr/>
          <p:nvPr/>
        </p:nvSpPr>
        <p:spPr>
          <a:xfrm>
            <a:off x="6713687" y="269105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4" name="object 6"/>
          <p:cNvSpPr txBox="1"/>
          <p:nvPr/>
        </p:nvSpPr>
        <p:spPr>
          <a:xfrm>
            <a:off x="1332125" y="3759280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grpSp>
        <p:nvGrpSpPr>
          <p:cNvPr id="125" name="Group 124"/>
          <p:cNvGrpSpPr/>
          <p:nvPr/>
        </p:nvGrpSpPr>
        <p:grpSpPr>
          <a:xfrm>
            <a:off x="2383438" y="1888930"/>
            <a:ext cx="6303362" cy="4054670"/>
            <a:chOff x="2343901" y="1923700"/>
            <a:chExt cx="6303362" cy="4054670"/>
          </a:xfrm>
        </p:grpSpPr>
        <p:sp>
          <p:nvSpPr>
            <p:cNvPr id="126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127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8" name="object 15"/>
          <p:cNvSpPr txBox="1"/>
          <p:nvPr/>
        </p:nvSpPr>
        <p:spPr>
          <a:xfrm>
            <a:off x="349882" y="365536"/>
            <a:ext cx="1351013" cy="5207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985"/>
              </a:lnSpc>
              <a:spcBef>
                <a:spcPts val="99"/>
              </a:spcBef>
            </a:pPr>
            <a:r>
              <a:rPr sz="2700" spc="0" baseline="3034" dirty="0" smtClean="0">
                <a:solidFill>
                  <a:srgbClr val="215867"/>
                </a:solidFill>
                <a:latin typeface="+mj-lt"/>
                <a:cs typeface="Calibri"/>
              </a:rPr>
              <a:t>epsilon = 1.75</a:t>
            </a:r>
            <a:endParaRPr sz="1800" dirty="0">
              <a:latin typeface="+mj-lt"/>
              <a:cs typeface="Calibri"/>
            </a:endParaRPr>
          </a:p>
          <a:p>
            <a:pPr marL="12700" marR="34289">
              <a:lnSpc>
                <a:spcPts val="2100"/>
              </a:lnSpc>
              <a:spcBef>
                <a:spcPts val="5"/>
              </a:spcBef>
            </a:pPr>
            <a:r>
              <a:rPr sz="2700" spc="0" baseline="1517" dirty="0" smtClean="0">
                <a:solidFill>
                  <a:srgbClr val="215867"/>
                </a:solidFill>
                <a:latin typeface="+mj-lt"/>
                <a:cs typeface="Calibri"/>
              </a:rPr>
              <a:t>n_clu = 3</a:t>
            </a:r>
            <a:endParaRPr sz="1800" dirty="0">
              <a:latin typeface="+mj-lt"/>
              <a:cs typeface="Calibri"/>
            </a:endParaRPr>
          </a:p>
        </p:txBody>
      </p:sp>
      <p:sp>
        <p:nvSpPr>
          <p:cNvPr id="89" name="object 5"/>
          <p:cNvSpPr txBox="1"/>
          <p:nvPr/>
        </p:nvSpPr>
        <p:spPr>
          <a:xfrm>
            <a:off x="2101916" y="365536"/>
            <a:ext cx="6889684" cy="1166986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 marR="41909">
              <a:lnSpc>
                <a:spcPts val="3454"/>
              </a:lnSpc>
              <a:spcBef>
                <a:spcPts val="172"/>
              </a:spcBef>
            </a:pPr>
            <a:r>
              <a:rPr sz="4800" spc="0" baseline="2560" dirty="0" smtClean="0">
                <a:solidFill>
                  <a:srgbClr val="4E81BC"/>
                </a:solidFill>
                <a:latin typeface="+mj-lt"/>
                <a:cs typeface="Calibri"/>
              </a:rPr>
              <a:t>DBSC</a:t>
            </a:r>
            <a:r>
              <a:rPr sz="4800" spc="-4" baseline="2560" dirty="0" smtClean="0">
                <a:solidFill>
                  <a:srgbClr val="4E81BC"/>
                </a:solidFill>
                <a:latin typeface="+mj-lt"/>
                <a:cs typeface="Calibri"/>
              </a:rPr>
              <a:t>A</a:t>
            </a:r>
            <a:r>
              <a:rPr sz="4800" spc="0" baseline="2560" dirty="0" smtClean="0">
                <a:solidFill>
                  <a:srgbClr val="4E81BC"/>
                </a:solidFill>
                <a:latin typeface="+mj-lt"/>
                <a:cs typeface="Calibri"/>
              </a:rPr>
              <a:t>N</a:t>
            </a:r>
            <a:endParaRPr sz="3200" dirty="0">
              <a:latin typeface="+mj-lt"/>
              <a:cs typeface="Calibri"/>
            </a:endParaRPr>
          </a:p>
          <a:p>
            <a:pPr marL="12700">
              <a:lnSpc>
                <a:spcPts val="2770"/>
              </a:lnSpc>
            </a:pPr>
            <a:r>
              <a:rPr lang="en-US" sz="3200" baseline="1137" dirty="0" smtClean="0">
                <a:solidFill>
                  <a:srgbClr val="7F7E7E"/>
                </a:solidFill>
                <a:cs typeface="Calibri"/>
              </a:rPr>
              <a:t>Keep going until you find the entire cluster and no point is left unvisited by this chain reaction</a:t>
            </a:r>
            <a:endParaRPr lang="en-US" sz="3200" i="1" baseline="1137" dirty="0">
              <a:solidFill>
                <a:srgbClr val="7F7E7E"/>
              </a:solidFill>
              <a:cs typeface="Calibri"/>
            </a:endParaRPr>
          </a:p>
        </p:txBody>
      </p:sp>
      <p:sp>
        <p:nvSpPr>
          <p:cNvPr id="90" name="object 3"/>
          <p:cNvSpPr txBox="1"/>
          <p:nvPr/>
        </p:nvSpPr>
        <p:spPr>
          <a:xfrm>
            <a:off x="5426815" y="6116930"/>
            <a:ext cx="542241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latin typeface="Calibri"/>
                <a:cs typeface="Calibri"/>
              </a:rPr>
              <a:t>Age</a:t>
            </a:r>
            <a:endParaRPr sz="2400">
              <a:latin typeface="Calibri"/>
              <a:cs typeface="Calibri"/>
            </a:endParaRPr>
          </a:p>
        </p:txBody>
      </p:sp>
      <p:sp>
        <p:nvSpPr>
          <p:cNvPr id="91" name="object 66"/>
          <p:cNvSpPr/>
          <p:nvPr/>
        </p:nvSpPr>
        <p:spPr>
          <a:xfrm>
            <a:off x="6748576" y="1252284"/>
            <a:ext cx="1810252" cy="1760707"/>
          </a:xfrm>
          <a:custGeom>
            <a:avLst/>
            <a:gdLst/>
            <a:ahLst/>
            <a:cxnLst/>
            <a:rect l="l" t="t" r="r" b="b"/>
            <a:pathLst>
              <a:path w="1810252" h="1760707">
                <a:moveTo>
                  <a:pt x="0" y="880353"/>
                </a:moveTo>
                <a:lnTo>
                  <a:pt x="3000" y="952556"/>
                </a:lnTo>
                <a:lnTo>
                  <a:pt x="11846" y="1023151"/>
                </a:lnTo>
                <a:lnTo>
                  <a:pt x="26305" y="1091913"/>
                </a:lnTo>
                <a:lnTo>
                  <a:pt x="46143" y="1158614"/>
                </a:lnTo>
                <a:lnTo>
                  <a:pt x="71129" y="1223027"/>
                </a:lnTo>
                <a:lnTo>
                  <a:pt x="101028" y="1284927"/>
                </a:lnTo>
                <a:lnTo>
                  <a:pt x="135608" y="1344087"/>
                </a:lnTo>
                <a:lnTo>
                  <a:pt x="174636" y="1400279"/>
                </a:lnTo>
                <a:lnTo>
                  <a:pt x="217880" y="1453279"/>
                </a:lnTo>
                <a:lnTo>
                  <a:pt x="265105" y="1502858"/>
                </a:lnTo>
                <a:lnTo>
                  <a:pt x="316079" y="1548791"/>
                </a:lnTo>
                <a:lnTo>
                  <a:pt x="370570" y="1590850"/>
                </a:lnTo>
                <a:lnTo>
                  <a:pt x="428344" y="1628810"/>
                </a:lnTo>
                <a:lnTo>
                  <a:pt x="489168" y="1662444"/>
                </a:lnTo>
                <a:lnTo>
                  <a:pt x="552810" y="1691525"/>
                </a:lnTo>
                <a:lnTo>
                  <a:pt x="619036" y="1715826"/>
                </a:lnTo>
                <a:lnTo>
                  <a:pt x="687614" y="1735122"/>
                </a:lnTo>
                <a:lnTo>
                  <a:pt x="758310" y="1749185"/>
                </a:lnTo>
                <a:lnTo>
                  <a:pt x="830892" y="1757789"/>
                </a:lnTo>
                <a:lnTo>
                  <a:pt x="905126" y="1760707"/>
                </a:lnTo>
                <a:lnTo>
                  <a:pt x="979361" y="1757789"/>
                </a:lnTo>
                <a:lnTo>
                  <a:pt x="1051942" y="1749185"/>
                </a:lnTo>
                <a:lnTo>
                  <a:pt x="1122639" y="1735122"/>
                </a:lnTo>
                <a:lnTo>
                  <a:pt x="1191216" y="1715826"/>
                </a:lnTo>
                <a:lnTo>
                  <a:pt x="1257442" y="1691525"/>
                </a:lnTo>
                <a:lnTo>
                  <a:pt x="1321084" y="1662444"/>
                </a:lnTo>
                <a:lnTo>
                  <a:pt x="1381908" y="1628810"/>
                </a:lnTo>
                <a:lnTo>
                  <a:pt x="1439682" y="1590850"/>
                </a:lnTo>
                <a:lnTo>
                  <a:pt x="1494173" y="1548791"/>
                </a:lnTo>
                <a:lnTo>
                  <a:pt x="1545147" y="1502858"/>
                </a:lnTo>
                <a:lnTo>
                  <a:pt x="1592373" y="1453279"/>
                </a:lnTo>
                <a:lnTo>
                  <a:pt x="1635616" y="1400279"/>
                </a:lnTo>
                <a:lnTo>
                  <a:pt x="1674644" y="1344087"/>
                </a:lnTo>
                <a:lnTo>
                  <a:pt x="1709224" y="1284927"/>
                </a:lnTo>
                <a:lnTo>
                  <a:pt x="1739123" y="1223027"/>
                </a:lnTo>
                <a:lnTo>
                  <a:pt x="1764109" y="1158614"/>
                </a:lnTo>
                <a:lnTo>
                  <a:pt x="1783947" y="1091913"/>
                </a:lnTo>
                <a:lnTo>
                  <a:pt x="1798406" y="1023151"/>
                </a:lnTo>
                <a:lnTo>
                  <a:pt x="1807252" y="952556"/>
                </a:lnTo>
                <a:lnTo>
                  <a:pt x="1810252" y="880353"/>
                </a:lnTo>
                <a:lnTo>
                  <a:pt x="1807252" y="808151"/>
                </a:lnTo>
                <a:lnTo>
                  <a:pt x="1798406" y="737555"/>
                </a:lnTo>
                <a:lnTo>
                  <a:pt x="1783947" y="668794"/>
                </a:lnTo>
                <a:lnTo>
                  <a:pt x="1764109" y="602094"/>
                </a:lnTo>
                <a:lnTo>
                  <a:pt x="1739123" y="537680"/>
                </a:lnTo>
                <a:lnTo>
                  <a:pt x="1709224" y="475780"/>
                </a:lnTo>
                <a:lnTo>
                  <a:pt x="1674644" y="416621"/>
                </a:lnTo>
                <a:lnTo>
                  <a:pt x="1635616" y="360428"/>
                </a:lnTo>
                <a:lnTo>
                  <a:pt x="1592373" y="307429"/>
                </a:lnTo>
                <a:lnTo>
                  <a:pt x="1545147" y="257849"/>
                </a:lnTo>
                <a:lnTo>
                  <a:pt x="1494173" y="211917"/>
                </a:lnTo>
                <a:lnTo>
                  <a:pt x="1439682" y="169857"/>
                </a:lnTo>
                <a:lnTo>
                  <a:pt x="1381908" y="131897"/>
                </a:lnTo>
                <a:lnTo>
                  <a:pt x="1321084" y="98263"/>
                </a:lnTo>
                <a:lnTo>
                  <a:pt x="1257442" y="69182"/>
                </a:lnTo>
                <a:lnTo>
                  <a:pt x="1191216" y="44881"/>
                </a:lnTo>
                <a:lnTo>
                  <a:pt x="1122639" y="25585"/>
                </a:lnTo>
                <a:lnTo>
                  <a:pt x="1051942" y="11522"/>
                </a:lnTo>
                <a:lnTo>
                  <a:pt x="979361" y="2918"/>
                </a:lnTo>
                <a:lnTo>
                  <a:pt x="905126" y="0"/>
                </a:lnTo>
                <a:lnTo>
                  <a:pt x="830892" y="2918"/>
                </a:lnTo>
                <a:lnTo>
                  <a:pt x="758310" y="11522"/>
                </a:lnTo>
                <a:lnTo>
                  <a:pt x="687614" y="25585"/>
                </a:lnTo>
                <a:lnTo>
                  <a:pt x="619036" y="44881"/>
                </a:lnTo>
                <a:lnTo>
                  <a:pt x="552810" y="69182"/>
                </a:lnTo>
                <a:lnTo>
                  <a:pt x="489168" y="98263"/>
                </a:lnTo>
                <a:lnTo>
                  <a:pt x="428344" y="131897"/>
                </a:lnTo>
                <a:lnTo>
                  <a:pt x="370570" y="169857"/>
                </a:lnTo>
                <a:lnTo>
                  <a:pt x="316079" y="211917"/>
                </a:lnTo>
                <a:lnTo>
                  <a:pt x="265105" y="257849"/>
                </a:lnTo>
                <a:lnTo>
                  <a:pt x="217880" y="307429"/>
                </a:lnTo>
                <a:lnTo>
                  <a:pt x="174636" y="360428"/>
                </a:lnTo>
                <a:lnTo>
                  <a:pt x="135608" y="416621"/>
                </a:lnTo>
                <a:lnTo>
                  <a:pt x="101028" y="475780"/>
                </a:lnTo>
                <a:lnTo>
                  <a:pt x="71129" y="537680"/>
                </a:lnTo>
                <a:lnTo>
                  <a:pt x="46143" y="602094"/>
                </a:lnTo>
                <a:lnTo>
                  <a:pt x="26305" y="668794"/>
                </a:lnTo>
                <a:lnTo>
                  <a:pt x="11846" y="737555"/>
                </a:lnTo>
                <a:lnTo>
                  <a:pt x="3000" y="808151"/>
                </a:lnTo>
                <a:lnTo>
                  <a:pt x="0" y="880353"/>
                </a:lnTo>
                <a:close/>
              </a:path>
            </a:pathLst>
          </a:custGeom>
          <a:solidFill>
            <a:srgbClr val="FAA657">
              <a:alpha val="51000"/>
            </a:srgbClr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2" name="object 82"/>
          <p:cNvSpPr/>
          <p:nvPr/>
        </p:nvSpPr>
        <p:spPr>
          <a:xfrm>
            <a:off x="4414372" y="54871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3" name="object 84"/>
          <p:cNvSpPr/>
          <p:nvPr/>
        </p:nvSpPr>
        <p:spPr>
          <a:xfrm>
            <a:off x="5399747" y="55212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4" name="object 86"/>
          <p:cNvSpPr/>
          <p:nvPr/>
        </p:nvSpPr>
        <p:spPr>
          <a:xfrm>
            <a:off x="6251551" y="55023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5" name="object 74"/>
          <p:cNvSpPr/>
          <p:nvPr/>
        </p:nvSpPr>
        <p:spPr>
          <a:xfrm>
            <a:off x="2668469" y="519520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6" name="object 72"/>
          <p:cNvSpPr/>
          <p:nvPr/>
        </p:nvSpPr>
        <p:spPr>
          <a:xfrm>
            <a:off x="5959366" y="251737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40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80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7" name="object 70"/>
          <p:cNvSpPr/>
          <p:nvPr/>
        </p:nvSpPr>
        <p:spPr>
          <a:xfrm>
            <a:off x="5560113" y="213564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8" name="object 68"/>
          <p:cNvSpPr/>
          <p:nvPr/>
        </p:nvSpPr>
        <p:spPr>
          <a:xfrm>
            <a:off x="5148028" y="1723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9" name="object 66"/>
          <p:cNvSpPr/>
          <p:nvPr/>
        </p:nvSpPr>
        <p:spPr>
          <a:xfrm>
            <a:off x="6872003" y="34121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0" name="object 63"/>
          <p:cNvSpPr/>
          <p:nvPr/>
        </p:nvSpPr>
        <p:spPr>
          <a:xfrm>
            <a:off x="5880842" y="502152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6"/>
                </a:lnTo>
                <a:lnTo>
                  <a:pt x="1583" y="198179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6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2"/>
                </a:lnTo>
                <a:lnTo>
                  <a:pt x="49876" y="299561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6"/>
                </a:lnTo>
                <a:lnTo>
                  <a:pt x="196530" y="342926"/>
                </a:lnTo>
                <a:lnTo>
                  <a:pt x="209650" y="339004"/>
                </a:lnTo>
                <a:lnTo>
                  <a:pt x="222295" y="333936"/>
                </a:lnTo>
                <a:lnTo>
                  <a:pt x="234413" y="327778"/>
                </a:lnTo>
                <a:lnTo>
                  <a:pt x="245953" y="320583"/>
                </a:lnTo>
                <a:lnTo>
                  <a:pt x="256864" y="312409"/>
                </a:lnTo>
                <a:lnTo>
                  <a:pt x="267095" y="303311"/>
                </a:lnTo>
                <a:lnTo>
                  <a:pt x="276595" y="293343"/>
                </a:lnTo>
                <a:lnTo>
                  <a:pt x="285312" y="282562"/>
                </a:lnTo>
                <a:lnTo>
                  <a:pt x="293195" y="271023"/>
                </a:lnTo>
                <a:lnTo>
                  <a:pt x="300193" y="258781"/>
                </a:lnTo>
                <a:lnTo>
                  <a:pt x="306255" y="245892"/>
                </a:lnTo>
                <a:lnTo>
                  <a:pt x="311330" y="232411"/>
                </a:lnTo>
                <a:lnTo>
                  <a:pt x="315366" y="218394"/>
                </a:lnTo>
                <a:lnTo>
                  <a:pt x="318312" y="203896"/>
                </a:lnTo>
                <a:lnTo>
                  <a:pt x="320117" y="188973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9" y="93485"/>
                </a:lnTo>
                <a:lnTo>
                  <a:pt x="296006" y="80986"/>
                </a:lnTo>
                <a:lnTo>
                  <a:pt x="288459" y="69169"/>
                </a:lnTo>
                <a:lnTo>
                  <a:pt x="280058" y="58089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4"/>
                </a:lnTo>
                <a:lnTo>
                  <a:pt x="86318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1" name="object 62"/>
          <p:cNvSpPr/>
          <p:nvPr/>
        </p:nvSpPr>
        <p:spPr>
          <a:xfrm>
            <a:off x="4326962" y="34938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2" name="object 60"/>
          <p:cNvSpPr/>
          <p:nvPr/>
        </p:nvSpPr>
        <p:spPr>
          <a:xfrm>
            <a:off x="3451263" y="457102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3" name="object 58"/>
          <p:cNvSpPr/>
          <p:nvPr/>
        </p:nvSpPr>
        <p:spPr>
          <a:xfrm>
            <a:off x="7513462" y="204543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4" name="object 56"/>
          <p:cNvSpPr/>
          <p:nvPr/>
        </p:nvSpPr>
        <p:spPr>
          <a:xfrm>
            <a:off x="6553321" y="196196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5" name="object 54"/>
          <p:cNvSpPr/>
          <p:nvPr/>
        </p:nvSpPr>
        <p:spPr>
          <a:xfrm>
            <a:off x="7353097" y="275391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6" name="object 52"/>
          <p:cNvSpPr/>
          <p:nvPr/>
        </p:nvSpPr>
        <p:spPr>
          <a:xfrm>
            <a:off x="4696124" y="412086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7" name="object 50"/>
          <p:cNvSpPr/>
          <p:nvPr/>
        </p:nvSpPr>
        <p:spPr>
          <a:xfrm>
            <a:off x="4441297" y="46123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8" name="object 48"/>
          <p:cNvSpPr/>
          <p:nvPr/>
        </p:nvSpPr>
        <p:spPr>
          <a:xfrm>
            <a:off x="3130532" y="40499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9" name="object 42"/>
          <p:cNvSpPr/>
          <p:nvPr/>
        </p:nvSpPr>
        <p:spPr>
          <a:xfrm>
            <a:off x="5748103" y="33118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0" name="object 44"/>
          <p:cNvSpPr/>
          <p:nvPr/>
        </p:nvSpPr>
        <p:spPr>
          <a:xfrm>
            <a:off x="5560113" y="25802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1" name="object 46"/>
          <p:cNvSpPr/>
          <p:nvPr/>
        </p:nvSpPr>
        <p:spPr>
          <a:xfrm>
            <a:off x="5421508" y="296447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2" name="object 40"/>
          <p:cNvSpPr/>
          <p:nvPr/>
        </p:nvSpPr>
        <p:spPr>
          <a:xfrm>
            <a:off x="5213120" y="49216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3" name="object 38"/>
          <p:cNvSpPr/>
          <p:nvPr/>
        </p:nvSpPr>
        <p:spPr>
          <a:xfrm>
            <a:off x="7032365" y="221911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4" name="object 36"/>
          <p:cNvSpPr/>
          <p:nvPr/>
        </p:nvSpPr>
        <p:spPr>
          <a:xfrm>
            <a:off x="7385165" y="340218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6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7"/>
                </a:lnTo>
                <a:lnTo>
                  <a:pt x="310251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5" name="object 34"/>
          <p:cNvSpPr/>
          <p:nvPr/>
        </p:nvSpPr>
        <p:spPr>
          <a:xfrm>
            <a:off x="5038354" y="24830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6" name="object 32"/>
          <p:cNvSpPr/>
          <p:nvPr/>
        </p:nvSpPr>
        <p:spPr>
          <a:xfrm>
            <a:off x="7192732" y="159327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57150">
            <a:solidFill>
              <a:srgbClr val="F69545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7" name="object 30"/>
          <p:cNvSpPr/>
          <p:nvPr/>
        </p:nvSpPr>
        <p:spPr>
          <a:xfrm>
            <a:off x="6201572" y="316997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8" name="object 28"/>
          <p:cNvSpPr/>
          <p:nvPr/>
        </p:nvSpPr>
        <p:spPr>
          <a:xfrm>
            <a:off x="4877989" y="532865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9" name="object 26"/>
          <p:cNvSpPr/>
          <p:nvPr/>
        </p:nvSpPr>
        <p:spPr>
          <a:xfrm>
            <a:off x="5581873" y="4521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0" name="object 24"/>
          <p:cNvSpPr/>
          <p:nvPr/>
        </p:nvSpPr>
        <p:spPr>
          <a:xfrm>
            <a:off x="3528670" y="35173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1" name="object 22"/>
          <p:cNvSpPr/>
          <p:nvPr/>
        </p:nvSpPr>
        <p:spPr>
          <a:xfrm>
            <a:off x="3252845" y="520650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2" name="object 20"/>
          <p:cNvSpPr/>
          <p:nvPr/>
        </p:nvSpPr>
        <p:spPr>
          <a:xfrm>
            <a:off x="3849401" y="4051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3" name="object 18"/>
          <p:cNvSpPr/>
          <p:nvPr/>
        </p:nvSpPr>
        <p:spPr>
          <a:xfrm>
            <a:off x="6713687" y="269105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4" name="object 6"/>
          <p:cNvSpPr txBox="1"/>
          <p:nvPr/>
        </p:nvSpPr>
        <p:spPr>
          <a:xfrm>
            <a:off x="1332125" y="3759280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grpSp>
        <p:nvGrpSpPr>
          <p:cNvPr id="125" name="Group 124"/>
          <p:cNvGrpSpPr/>
          <p:nvPr/>
        </p:nvGrpSpPr>
        <p:grpSpPr>
          <a:xfrm>
            <a:off x="2383438" y="1888930"/>
            <a:ext cx="6303362" cy="4054670"/>
            <a:chOff x="2343901" y="1923700"/>
            <a:chExt cx="6303362" cy="4054670"/>
          </a:xfrm>
        </p:grpSpPr>
        <p:sp>
          <p:nvSpPr>
            <p:cNvPr id="126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127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" name="object 15"/>
          <p:cNvSpPr txBox="1"/>
          <p:nvPr/>
        </p:nvSpPr>
        <p:spPr>
          <a:xfrm>
            <a:off x="349882" y="365536"/>
            <a:ext cx="1351013" cy="5207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985"/>
              </a:lnSpc>
              <a:spcBef>
                <a:spcPts val="99"/>
              </a:spcBef>
            </a:pPr>
            <a:r>
              <a:rPr sz="2700" spc="0" baseline="3034" dirty="0" smtClean="0">
                <a:solidFill>
                  <a:srgbClr val="215867"/>
                </a:solidFill>
                <a:latin typeface="+mj-lt"/>
                <a:cs typeface="Calibri"/>
              </a:rPr>
              <a:t>epsilon = 1.75</a:t>
            </a:r>
            <a:endParaRPr sz="1800" dirty="0">
              <a:latin typeface="+mj-lt"/>
              <a:cs typeface="Calibri"/>
            </a:endParaRPr>
          </a:p>
          <a:p>
            <a:pPr marL="12700" marR="34289">
              <a:lnSpc>
                <a:spcPts val="2100"/>
              </a:lnSpc>
              <a:spcBef>
                <a:spcPts val="5"/>
              </a:spcBef>
            </a:pPr>
            <a:r>
              <a:rPr sz="2700" spc="0" baseline="1517" dirty="0" smtClean="0">
                <a:solidFill>
                  <a:srgbClr val="215867"/>
                </a:solidFill>
                <a:latin typeface="+mj-lt"/>
                <a:cs typeface="Calibri"/>
              </a:rPr>
              <a:t>n_clu = 3</a:t>
            </a:r>
            <a:endParaRPr sz="1800" dirty="0">
              <a:latin typeface="+mj-lt"/>
              <a:cs typeface="Calibri"/>
            </a:endParaRPr>
          </a:p>
        </p:txBody>
      </p:sp>
      <p:sp>
        <p:nvSpPr>
          <p:cNvPr id="88" name="object 5"/>
          <p:cNvSpPr txBox="1"/>
          <p:nvPr/>
        </p:nvSpPr>
        <p:spPr>
          <a:xfrm>
            <a:off x="2101916" y="365536"/>
            <a:ext cx="6889684" cy="1166986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 marR="41909">
              <a:lnSpc>
                <a:spcPts val="3454"/>
              </a:lnSpc>
              <a:spcBef>
                <a:spcPts val="172"/>
              </a:spcBef>
            </a:pPr>
            <a:r>
              <a:rPr sz="4800" spc="0" baseline="2560" dirty="0" smtClean="0">
                <a:solidFill>
                  <a:srgbClr val="4E81BC"/>
                </a:solidFill>
                <a:latin typeface="+mj-lt"/>
                <a:cs typeface="Calibri"/>
              </a:rPr>
              <a:t>DBSC</a:t>
            </a:r>
            <a:r>
              <a:rPr sz="4800" spc="-4" baseline="2560" dirty="0" smtClean="0">
                <a:solidFill>
                  <a:srgbClr val="4E81BC"/>
                </a:solidFill>
                <a:latin typeface="+mj-lt"/>
                <a:cs typeface="Calibri"/>
              </a:rPr>
              <a:t>A</a:t>
            </a:r>
            <a:r>
              <a:rPr sz="4800" spc="0" baseline="2560" dirty="0" smtClean="0">
                <a:solidFill>
                  <a:srgbClr val="4E81BC"/>
                </a:solidFill>
                <a:latin typeface="+mj-lt"/>
                <a:cs typeface="Calibri"/>
              </a:rPr>
              <a:t>N</a:t>
            </a:r>
            <a:endParaRPr sz="3200" dirty="0">
              <a:latin typeface="+mj-lt"/>
              <a:cs typeface="Calibri"/>
            </a:endParaRPr>
          </a:p>
          <a:p>
            <a:pPr marL="12700">
              <a:lnSpc>
                <a:spcPts val="2770"/>
              </a:lnSpc>
            </a:pPr>
            <a:r>
              <a:rPr lang="en-US" sz="3200" baseline="1137" dirty="0" smtClean="0">
                <a:solidFill>
                  <a:srgbClr val="7F7E7E"/>
                </a:solidFill>
                <a:cs typeface="Calibri"/>
              </a:rPr>
              <a:t>If no neighbors left, randomly try a new (unvisited) point to potentially start a new cluster</a:t>
            </a:r>
            <a:endParaRPr lang="en-US" sz="3200" i="1" baseline="1137" dirty="0">
              <a:solidFill>
                <a:srgbClr val="7F7E7E"/>
              </a:solidFill>
              <a:cs typeface="Calibri"/>
            </a:endParaRPr>
          </a:p>
        </p:txBody>
      </p:sp>
      <p:sp>
        <p:nvSpPr>
          <p:cNvPr id="89" name="object 3"/>
          <p:cNvSpPr txBox="1"/>
          <p:nvPr/>
        </p:nvSpPr>
        <p:spPr>
          <a:xfrm>
            <a:off x="5426815" y="6116930"/>
            <a:ext cx="542241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latin typeface="Calibri"/>
                <a:cs typeface="Calibri"/>
              </a:rPr>
              <a:t>Age</a:t>
            </a:r>
            <a:endParaRPr sz="2400">
              <a:latin typeface="Calibri"/>
              <a:cs typeface="Calibri"/>
            </a:endParaRPr>
          </a:p>
        </p:txBody>
      </p:sp>
      <p:sp>
        <p:nvSpPr>
          <p:cNvPr id="90" name="object 66"/>
          <p:cNvSpPr/>
          <p:nvPr/>
        </p:nvSpPr>
        <p:spPr>
          <a:xfrm>
            <a:off x="6411737" y="883449"/>
            <a:ext cx="1810252" cy="1760707"/>
          </a:xfrm>
          <a:custGeom>
            <a:avLst/>
            <a:gdLst/>
            <a:ahLst/>
            <a:cxnLst/>
            <a:rect l="l" t="t" r="r" b="b"/>
            <a:pathLst>
              <a:path w="1810252" h="1760707">
                <a:moveTo>
                  <a:pt x="0" y="880353"/>
                </a:moveTo>
                <a:lnTo>
                  <a:pt x="3000" y="952556"/>
                </a:lnTo>
                <a:lnTo>
                  <a:pt x="11846" y="1023151"/>
                </a:lnTo>
                <a:lnTo>
                  <a:pt x="26305" y="1091913"/>
                </a:lnTo>
                <a:lnTo>
                  <a:pt x="46143" y="1158614"/>
                </a:lnTo>
                <a:lnTo>
                  <a:pt x="71129" y="1223027"/>
                </a:lnTo>
                <a:lnTo>
                  <a:pt x="101028" y="1284927"/>
                </a:lnTo>
                <a:lnTo>
                  <a:pt x="135608" y="1344087"/>
                </a:lnTo>
                <a:lnTo>
                  <a:pt x="174636" y="1400279"/>
                </a:lnTo>
                <a:lnTo>
                  <a:pt x="217880" y="1453279"/>
                </a:lnTo>
                <a:lnTo>
                  <a:pt x="265105" y="1502858"/>
                </a:lnTo>
                <a:lnTo>
                  <a:pt x="316079" y="1548791"/>
                </a:lnTo>
                <a:lnTo>
                  <a:pt x="370570" y="1590850"/>
                </a:lnTo>
                <a:lnTo>
                  <a:pt x="428344" y="1628810"/>
                </a:lnTo>
                <a:lnTo>
                  <a:pt x="489168" y="1662444"/>
                </a:lnTo>
                <a:lnTo>
                  <a:pt x="552810" y="1691525"/>
                </a:lnTo>
                <a:lnTo>
                  <a:pt x="619036" y="1715826"/>
                </a:lnTo>
                <a:lnTo>
                  <a:pt x="687614" y="1735122"/>
                </a:lnTo>
                <a:lnTo>
                  <a:pt x="758310" y="1749185"/>
                </a:lnTo>
                <a:lnTo>
                  <a:pt x="830892" y="1757789"/>
                </a:lnTo>
                <a:lnTo>
                  <a:pt x="905126" y="1760707"/>
                </a:lnTo>
                <a:lnTo>
                  <a:pt x="979361" y="1757789"/>
                </a:lnTo>
                <a:lnTo>
                  <a:pt x="1051942" y="1749185"/>
                </a:lnTo>
                <a:lnTo>
                  <a:pt x="1122639" y="1735122"/>
                </a:lnTo>
                <a:lnTo>
                  <a:pt x="1191216" y="1715826"/>
                </a:lnTo>
                <a:lnTo>
                  <a:pt x="1257442" y="1691525"/>
                </a:lnTo>
                <a:lnTo>
                  <a:pt x="1321084" y="1662444"/>
                </a:lnTo>
                <a:lnTo>
                  <a:pt x="1381908" y="1628810"/>
                </a:lnTo>
                <a:lnTo>
                  <a:pt x="1439682" y="1590850"/>
                </a:lnTo>
                <a:lnTo>
                  <a:pt x="1494173" y="1548791"/>
                </a:lnTo>
                <a:lnTo>
                  <a:pt x="1545147" y="1502858"/>
                </a:lnTo>
                <a:lnTo>
                  <a:pt x="1592373" y="1453279"/>
                </a:lnTo>
                <a:lnTo>
                  <a:pt x="1635616" y="1400279"/>
                </a:lnTo>
                <a:lnTo>
                  <a:pt x="1674644" y="1344087"/>
                </a:lnTo>
                <a:lnTo>
                  <a:pt x="1709224" y="1284927"/>
                </a:lnTo>
                <a:lnTo>
                  <a:pt x="1739123" y="1223027"/>
                </a:lnTo>
                <a:lnTo>
                  <a:pt x="1764109" y="1158614"/>
                </a:lnTo>
                <a:lnTo>
                  <a:pt x="1783947" y="1091913"/>
                </a:lnTo>
                <a:lnTo>
                  <a:pt x="1798406" y="1023151"/>
                </a:lnTo>
                <a:lnTo>
                  <a:pt x="1807252" y="952556"/>
                </a:lnTo>
                <a:lnTo>
                  <a:pt x="1810252" y="880353"/>
                </a:lnTo>
                <a:lnTo>
                  <a:pt x="1807252" y="808151"/>
                </a:lnTo>
                <a:lnTo>
                  <a:pt x="1798406" y="737555"/>
                </a:lnTo>
                <a:lnTo>
                  <a:pt x="1783947" y="668794"/>
                </a:lnTo>
                <a:lnTo>
                  <a:pt x="1764109" y="602094"/>
                </a:lnTo>
                <a:lnTo>
                  <a:pt x="1739123" y="537680"/>
                </a:lnTo>
                <a:lnTo>
                  <a:pt x="1709224" y="475780"/>
                </a:lnTo>
                <a:lnTo>
                  <a:pt x="1674644" y="416621"/>
                </a:lnTo>
                <a:lnTo>
                  <a:pt x="1635616" y="360428"/>
                </a:lnTo>
                <a:lnTo>
                  <a:pt x="1592373" y="307429"/>
                </a:lnTo>
                <a:lnTo>
                  <a:pt x="1545147" y="257849"/>
                </a:lnTo>
                <a:lnTo>
                  <a:pt x="1494173" y="211917"/>
                </a:lnTo>
                <a:lnTo>
                  <a:pt x="1439682" y="169857"/>
                </a:lnTo>
                <a:lnTo>
                  <a:pt x="1381908" y="131897"/>
                </a:lnTo>
                <a:lnTo>
                  <a:pt x="1321084" y="98263"/>
                </a:lnTo>
                <a:lnTo>
                  <a:pt x="1257442" y="69182"/>
                </a:lnTo>
                <a:lnTo>
                  <a:pt x="1191216" y="44881"/>
                </a:lnTo>
                <a:lnTo>
                  <a:pt x="1122639" y="25585"/>
                </a:lnTo>
                <a:lnTo>
                  <a:pt x="1051942" y="11522"/>
                </a:lnTo>
                <a:lnTo>
                  <a:pt x="979361" y="2918"/>
                </a:lnTo>
                <a:lnTo>
                  <a:pt x="905126" y="0"/>
                </a:lnTo>
                <a:lnTo>
                  <a:pt x="830892" y="2918"/>
                </a:lnTo>
                <a:lnTo>
                  <a:pt x="758310" y="11522"/>
                </a:lnTo>
                <a:lnTo>
                  <a:pt x="687614" y="25585"/>
                </a:lnTo>
                <a:lnTo>
                  <a:pt x="619036" y="44881"/>
                </a:lnTo>
                <a:lnTo>
                  <a:pt x="552810" y="69182"/>
                </a:lnTo>
                <a:lnTo>
                  <a:pt x="489168" y="98263"/>
                </a:lnTo>
                <a:lnTo>
                  <a:pt x="428344" y="131897"/>
                </a:lnTo>
                <a:lnTo>
                  <a:pt x="370570" y="169857"/>
                </a:lnTo>
                <a:lnTo>
                  <a:pt x="316079" y="211917"/>
                </a:lnTo>
                <a:lnTo>
                  <a:pt x="265105" y="257849"/>
                </a:lnTo>
                <a:lnTo>
                  <a:pt x="217880" y="307429"/>
                </a:lnTo>
                <a:lnTo>
                  <a:pt x="174636" y="360428"/>
                </a:lnTo>
                <a:lnTo>
                  <a:pt x="135608" y="416621"/>
                </a:lnTo>
                <a:lnTo>
                  <a:pt x="101028" y="475780"/>
                </a:lnTo>
                <a:lnTo>
                  <a:pt x="71129" y="537680"/>
                </a:lnTo>
                <a:lnTo>
                  <a:pt x="46143" y="602094"/>
                </a:lnTo>
                <a:lnTo>
                  <a:pt x="26305" y="668794"/>
                </a:lnTo>
                <a:lnTo>
                  <a:pt x="11846" y="737555"/>
                </a:lnTo>
                <a:lnTo>
                  <a:pt x="3000" y="808151"/>
                </a:lnTo>
                <a:lnTo>
                  <a:pt x="0" y="880353"/>
                </a:lnTo>
                <a:close/>
              </a:path>
            </a:pathLst>
          </a:custGeom>
          <a:solidFill>
            <a:srgbClr val="FAA657">
              <a:alpha val="51000"/>
            </a:srgbClr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1" name="object 82"/>
          <p:cNvSpPr/>
          <p:nvPr/>
        </p:nvSpPr>
        <p:spPr>
          <a:xfrm>
            <a:off x="4414372" y="54871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2" name="object 84"/>
          <p:cNvSpPr/>
          <p:nvPr/>
        </p:nvSpPr>
        <p:spPr>
          <a:xfrm>
            <a:off x="5399747" y="55212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3" name="object 86"/>
          <p:cNvSpPr/>
          <p:nvPr/>
        </p:nvSpPr>
        <p:spPr>
          <a:xfrm>
            <a:off x="6251551" y="55023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4" name="object 74"/>
          <p:cNvSpPr/>
          <p:nvPr/>
        </p:nvSpPr>
        <p:spPr>
          <a:xfrm>
            <a:off x="2668469" y="519520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5" name="object 72"/>
          <p:cNvSpPr/>
          <p:nvPr/>
        </p:nvSpPr>
        <p:spPr>
          <a:xfrm>
            <a:off x="5959366" y="251737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40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80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6" name="object 70"/>
          <p:cNvSpPr/>
          <p:nvPr/>
        </p:nvSpPr>
        <p:spPr>
          <a:xfrm>
            <a:off x="5560113" y="213564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7" name="object 68"/>
          <p:cNvSpPr/>
          <p:nvPr/>
        </p:nvSpPr>
        <p:spPr>
          <a:xfrm>
            <a:off x="5148028" y="1723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8" name="object 66"/>
          <p:cNvSpPr/>
          <p:nvPr/>
        </p:nvSpPr>
        <p:spPr>
          <a:xfrm>
            <a:off x="6872003" y="34121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9" name="object 63"/>
          <p:cNvSpPr/>
          <p:nvPr/>
        </p:nvSpPr>
        <p:spPr>
          <a:xfrm>
            <a:off x="5880842" y="502152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6"/>
                </a:lnTo>
                <a:lnTo>
                  <a:pt x="1583" y="198179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6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2"/>
                </a:lnTo>
                <a:lnTo>
                  <a:pt x="49876" y="299561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6"/>
                </a:lnTo>
                <a:lnTo>
                  <a:pt x="196530" y="342926"/>
                </a:lnTo>
                <a:lnTo>
                  <a:pt x="209650" y="339004"/>
                </a:lnTo>
                <a:lnTo>
                  <a:pt x="222295" y="333936"/>
                </a:lnTo>
                <a:lnTo>
                  <a:pt x="234413" y="327778"/>
                </a:lnTo>
                <a:lnTo>
                  <a:pt x="245953" y="320583"/>
                </a:lnTo>
                <a:lnTo>
                  <a:pt x="256864" y="312409"/>
                </a:lnTo>
                <a:lnTo>
                  <a:pt x="267095" y="303311"/>
                </a:lnTo>
                <a:lnTo>
                  <a:pt x="276595" y="293343"/>
                </a:lnTo>
                <a:lnTo>
                  <a:pt x="285312" y="282562"/>
                </a:lnTo>
                <a:lnTo>
                  <a:pt x="293195" y="271023"/>
                </a:lnTo>
                <a:lnTo>
                  <a:pt x="300193" y="258781"/>
                </a:lnTo>
                <a:lnTo>
                  <a:pt x="306255" y="245892"/>
                </a:lnTo>
                <a:lnTo>
                  <a:pt x="311330" y="232411"/>
                </a:lnTo>
                <a:lnTo>
                  <a:pt x="315366" y="218394"/>
                </a:lnTo>
                <a:lnTo>
                  <a:pt x="318312" y="203896"/>
                </a:lnTo>
                <a:lnTo>
                  <a:pt x="320117" y="188973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9" y="93485"/>
                </a:lnTo>
                <a:lnTo>
                  <a:pt x="296006" y="80986"/>
                </a:lnTo>
                <a:lnTo>
                  <a:pt x="288459" y="69169"/>
                </a:lnTo>
                <a:lnTo>
                  <a:pt x="280058" y="58089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4"/>
                </a:lnTo>
                <a:lnTo>
                  <a:pt x="86318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0" name="object 62"/>
          <p:cNvSpPr/>
          <p:nvPr/>
        </p:nvSpPr>
        <p:spPr>
          <a:xfrm>
            <a:off x="4326962" y="34938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1" name="object 60"/>
          <p:cNvSpPr/>
          <p:nvPr/>
        </p:nvSpPr>
        <p:spPr>
          <a:xfrm>
            <a:off x="3451263" y="457102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2" name="object 58"/>
          <p:cNvSpPr/>
          <p:nvPr/>
        </p:nvSpPr>
        <p:spPr>
          <a:xfrm>
            <a:off x="7513462" y="204543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3" name="object 56"/>
          <p:cNvSpPr/>
          <p:nvPr/>
        </p:nvSpPr>
        <p:spPr>
          <a:xfrm>
            <a:off x="6553321" y="196196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4" name="object 54"/>
          <p:cNvSpPr/>
          <p:nvPr/>
        </p:nvSpPr>
        <p:spPr>
          <a:xfrm>
            <a:off x="7353097" y="275391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5" name="object 52"/>
          <p:cNvSpPr/>
          <p:nvPr/>
        </p:nvSpPr>
        <p:spPr>
          <a:xfrm>
            <a:off x="4696124" y="412086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6" name="object 50"/>
          <p:cNvSpPr/>
          <p:nvPr/>
        </p:nvSpPr>
        <p:spPr>
          <a:xfrm>
            <a:off x="4441297" y="46123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7" name="object 48"/>
          <p:cNvSpPr/>
          <p:nvPr/>
        </p:nvSpPr>
        <p:spPr>
          <a:xfrm>
            <a:off x="3130532" y="40499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8" name="object 42"/>
          <p:cNvSpPr/>
          <p:nvPr/>
        </p:nvSpPr>
        <p:spPr>
          <a:xfrm>
            <a:off x="5748103" y="33118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9" name="object 44"/>
          <p:cNvSpPr/>
          <p:nvPr/>
        </p:nvSpPr>
        <p:spPr>
          <a:xfrm>
            <a:off x="5560113" y="25802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0" name="object 46"/>
          <p:cNvSpPr/>
          <p:nvPr/>
        </p:nvSpPr>
        <p:spPr>
          <a:xfrm>
            <a:off x="5421508" y="296447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1" name="object 40"/>
          <p:cNvSpPr/>
          <p:nvPr/>
        </p:nvSpPr>
        <p:spPr>
          <a:xfrm>
            <a:off x="5213120" y="49216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2" name="object 38"/>
          <p:cNvSpPr/>
          <p:nvPr/>
        </p:nvSpPr>
        <p:spPr>
          <a:xfrm>
            <a:off x="7032365" y="221911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3" name="object 36"/>
          <p:cNvSpPr/>
          <p:nvPr/>
        </p:nvSpPr>
        <p:spPr>
          <a:xfrm>
            <a:off x="7385165" y="340218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6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7"/>
                </a:lnTo>
                <a:lnTo>
                  <a:pt x="310251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4" name="object 34"/>
          <p:cNvSpPr/>
          <p:nvPr/>
        </p:nvSpPr>
        <p:spPr>
          <a:xfrm>
            <a:off x="5038354" y="24830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5" name="object 32"/>
          <p:cNvSpPr/>
          <p:nvPr/>
        </p:nvSpPr>
        <p:spPr>
          <a:xfrm>
            <a:off x="7192732" y="159327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6" name="object 30"/>
          <p:cNvSpPr/>
          <p:nvPr/>
        </p:nvSpPr>
        <p:spPr>
          <a:xfrm>
            <a:off x="6201572" y="316997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7" name="object 28"/>
          <p:cNvSpPr/>
          <p:nvPr/>
        </p:nvSpPr>
        <p:spPr>
          <a:xfrm>
            <a:off x="4877989" y="532865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8" name="object 26"/>
          <p:cNvSpPr/>
          <p:nvPr/>
        </p:nvSpPr>
        <p:spPr>
          <a:xfrm>
            <a:off x="5581873" y="4521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9" name="object 24"/>
          <p:cNvSpPr/>
          <p:nvPr/>
        </p:nvSpPr>
        <p:spPr>
          <a:xfrm>
            <a:off x="3528670" y="35173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0" name="object 22"/>
          <p:cNvSpPr/>
          <p:nvPr/>
        </p:nvSpPr>
        <p:spPr>
          <a:xfrm>
            <a:off x="3252845" y="520650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1" name="object 20"/>
          <p:cNvSpPr/>
          <p:nvPr/>
        </p:nvSpPr>
        <p:spPr>
          <a:xfrm>
            <a:off x="3849401" y="4051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2" name="object 18"/>
          <p:cNvSpPr/>
          <p:nvPr/>
        </p:nvSpPr>
        <p:spPr>
          <a:xfrm>
            <a:off x="6713687" y="269105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3" name="object 6"/>
          <p:cNvSpPr txBox="1"/>
          <p:nvPr/>
        </p:nvSpPr>
        <p:spPr>
          <a:xfrm>
            <a:off x="1332125" y="3759280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grpSp>
        <p:nvGrpSpPr>
          <p:cNvPr id="124" name="Group 123"/>
          <p:cNvGrpSpPr/>
          <p:nvPr/>
        </p:nvGrpSpPr>
        <p:grpSpPr>
          <a:xfrm>
            <a:off x="2383438" y="1888930"/>
            <a:ext cx="6303362" cy="4054670"/>
            <a:chOff x="2343901" y="1923700"/>
            <a:chExt cx="6303362" cy="4054670"/>
          </a:xfrm>
        </p:grpSpPr>
        <p:sp>
          <p:nvSpPr>
            <p:cNvPr id="125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126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alpha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" name="object 15"/>
          <p:cNvSpPr txBox="1"/>
          <p:nvPr/>
        </p:nvSpPr>
        <p:spPr>
          <a:xfrm>
            <a:off x="349882" y="365536"/>
            <a:ext cx="1351013" cy="5207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985"/>
              </a:lnSpc>
              <a:spcBef>
                <a:spcPts val="99"/>
              </a:spcBef>
            </a:pPr>
            <a:r>
              <a:rPr sz="2700" spc="0" baseline="3034" dirty="0" smtClean="0">
                <a:solidFill>
                  <a:srgbClr val="215867"/>
                </a:solidFill>
                <a:latin typeface="+mj-lt"/>
                <a:cs typeface="Calibri"/>
              </a:rPr>
              <a:t>epsilon = 1.75</a:t>
            </a:r>
            <a:endParaRPr sz="1800" dirty="0">
              <a:latin typeface="+mj-lt"/>
              <a:cs typeface="Calibri"/>
            </a:endParaRPr>
          </a:p>
          <a:p>
            <a:pPr marL="12700" marR="34289">
              <a:lnSpc>
                <a:spcPts val="2100"/>
              </a:lnSpc>
              <a:spcBef>
                <a:spcPts val="5"/>
              </a:spcBef>
            </a:pPr>
            <a:r>
              <a:rPr sz="2700" spc="0" baseline="1517" dirty="0" smtClean="0">
                <a:solidFill>
                  <a:srgbClr val="215867"/>
                </a:solidFill>
                <a:latin typeface="+mj-lt"/>
                <a:cs typeface="Calibri"/>
              </a:rPr>
              <a:t>n_clu = 3</a:t>
            </a:r>
            <a:endParaRPr sz="1800" dirty="0">
              <a:latin typeface="+mj-lt"/>
              <a:cs typeface="Calibri"/>
            </a:endParaRPr>
          </a:p>
        </p:txBody>
      </p:sp>
      <p:sp>
        <p:nvSpPr>
          <p:cNvPr id="88" name="object 5"/>
          <p:cNvSpPr txBox="1"/>
          <p:nvPr/>
        </p:nvSpPr>
        <p:spPr>
          <a:xfrm>
            <a:off x="2101916" y="365536"/>
            <a:ext cx="6889684" cy="1166986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 marR="41909">
              <a:lnSpc>
                <a:spcPts val="3454"/>
              </a:lnSpc>
              <a:spcBef>
                <a:spcPts val="172"/>
              </a:spcBef>
            </a:pPr>
            <a:r>
              <a:rPr sz="4800" spc="0" baseline="2560" dirty="0" smtClean="0">
                <a:solidFill>
                  <a:srgbClr val="4E81BC"/>
                </a:solidFill>
                <a:latin typeface="+mj-lt"/>
                <a:cs typeface="Calibri"/>
              </a:rPr>
              <a:t>DBSC</a:t>
            </a:r>
            <a:r>
              <a:rPr sz="4800" spc="-4" baseline="2560" dirty="0" smtClean="0">
                <a:solidFill>
                  <a:srgbClr val="4E81BC"/>
                </a:solidFill>
                <a:latin typeface="+mj-lt"/>
                <a:cs typeface="Calibri"/>
              </a:rPr>
              <a:t>A</a:t>
            </a:r>
            <a:r>
              <a:rPr sz="4800" spc="0" baseline="2560" dirty="0" smtClean="0">
                <a:solidFill>
                  <a:srgbClr val="4E81BC"/>
                </a:solidFill>
                <a:latin typeface="+mj-lt"/>
                <a:cs typeface="Calibri"/>
              </a:rPr>
              <a:t>N</a:t>
            </a:r>
            <a:endParaRPr sz="3200" dirty="0">
              <a:latin typeface="+mj-lt"/>
              <a:cs typeface="Calibri"/>
            </a:endParaRPr>
          </a:p>
          <a:p>
            <a:pPr marL="12700">
              <a:lnSpc>
                <a:spcPts val="2770"/>
              </a:lnSpc>
            </a:pPr>
            <a:r>
              <a:rPr lang="en-US" sz="3200" baseline="1137" dirty="0" smtClean="0">
                <a:solidFill>
                  <a:srgbClr val="7F7E7E"/>
                </a:solidFill>
                <a:cs typeface="Calibri"/>
              </a:rPr>
              <a:t>If no neighbors left, randomly try a new (unvisited) point to potentially start a new cluster</a:t>
            </a:r>
            <a:endParaRPr lang="en-US" sz="3200" i="1" baseline="1137" dirty="0">
              <a:solidFill>
                <a:srgbClr val="7F7E7E"/>
              </a:solidFill>
              <a:cs typeface="Calibri"/>
            </a:endParaRPr>
          </a:p>
        </p:txBody>
      </p:sp>
      <p:sp>
        <p:nvSpPr>
          <p:cNvPr id="89" name="object 3"/>
          <p:cNvSpPr txBox="1"/>
          <p:nvPr/>
        </p:nvSpPr>
        <p:spPr>
          <a:xfrm>
            <a:off x="5426815" y="6116930"/>
            <a:ext cx="542241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latin typeface="Calibri"/>
                <a:cs typeface="Calibri"/>
              </a:rPr>
              <a:t>Age</a:t>
            </a:r>
            <a:endParaRPr sz="2400">
              <a:latin typeface="Calibri"/>
              <a:cs typeface="Calibri"/>
            </a:endParaRPr>
          </a:p>
        </p:txBody>
      </p:sp>
      <p:sp>
        <p:nvSpPr>
          <p:cNvPr id="90" name="object 66"/>
          <p:cNvSpPr/>
          <p:nvPr/>
        </p:nvSpPr>
        <p:spPr>
          <a:xfrm>
            <a:off x="5063930" y="4294604"/>
            <a:ext cx="1810252" cy="1760707"/>
          </a:xfrm>
          <a:custGeom>
            <a:avLst/>
            <a:gdLst/>
            <a:ahLst/>
            <a:cxnLst/>
            <a:rect l="l" t="t" r="r" b="b"/>
            <a:pathLst>
              <a:path w="1810252" h="1760707">
                <a:moveTo>
                  <a:pt x="0" y="880353"/>
                </a:moveTo>
                <a:lnTo>
                  <a:pt x="3000" y="952556"/>
                </a:lnTo>
                <a:lnTo>
                  <a:pt x="11846" y="1023151"/>
                </a:lnTo>
                <a:lnTo>
                  <a:pt x="26305" y="1091913"/>
                </a:lnTo>
                <a:lnTo>
                  <a:pt x="46143" y="1158614"/>
                </a:lnTo>
                <a:lnTo>
                  <a:pt x="71129" y="1223027"/>
                </a:lnTo>
                <a:lnTo>
                  <a:pt x="101028" y="1284927"/>
                </a:lnTo>
                <a:lnTo>
                  <a:pt x="135608" y="1344087"/>
                </a:lnTo>
                <a:lnTo>
                  <a:pt x="174636" y="1400279"/>
                </a:lnTo>
                <a:lnTo>
                  <a:pt x="217880" y="1453279"/>
                </a:lnTo>
                <a:lnTo>
                  <a:pt x="265105" y="1502858"/>
                </a:lnTo>
                <a:lnTo>
                  <a:pt x="316079" y="1548791"/>
                </a:lnTo>
                <a:lnTo>
                  <a:pt x="370570" y="1590850"/>
                </a:lnTo>
                <a:lnTo>
                  <a:pt x="428344" y="1628810"/>
                </a:lnTo>
                <a:lnTo>
                  <a:pt x="489168" y="1662444"/>
                </a:lnTo>
                <a:lnTo>
                  <a:pt x="552810" y="1691525"/>
                </a:lnTo>
                <a:lnTo>
                  <a:pt x="619036" y="1715826"/>
                </a:lnTo>
                <a:lnTo>
                  <a:pt x="687614" y="1735122"/>
                </a:lnTo>
                <a:lnTo>
                  <a:pt x="758310" y="1749185"/>
                </a:lnTo>
                <a:lnTo>
                  <a:pt x="830892" y="1757789"/>
                </a:lnTo>
                <a:lnTo>
                  <a:pt x="905126" y="1760707"/>
                </a:lnTo>
                <a:lnTo>
                  <a:pt x="979361" y="1757789"/>
                </a:lnTo>
                <a:lnTo>
                  <a:pt x="1051942" y="1749185"/>
                </a:lnTo>
                <a:lnTo>
                  <a:pt x="1122639" y="1735122"/>
                </a:lnTo>
                <a:lnTo>
                  <a:pt x="1191216" y="1715826"/>
                </a:lnTo>
                <a:lnTo>
                  <a:pt x="1257442" y="1691525"/>
                </a:lnTo>
                <a:lnTo>
                  <a:pt x="1321084" y="1662444"/>
                </a:lnTo>
                <a:lnTo>
                  <a:pt x="1381908" y="1628810"/>
                </a:lnTo>
                <a:lnTo>
                  <a:pt x="1439682" y="1590850"/>
                </a:lnTo>
                <a:lnTo>
                  <a:pt x="1494173" y="1548791"/>
                </a:lnTo>
                <a:lnTo>
                  <a:pt x="1545147" y="1502858"/>
                </a:lnTo>
                <a:lnTo>
                  <a:pt x="1592373" y="1453279"/>
                </a:lnTo>
                <a:lnTo>
                  <a:pt x="1635616" y="1400279"/>
                </a:lnTo>
                <a:lnTo>
                  <a:pt x="1674644" y="1344087"/>
                </a:lnTo>
                <a:lnTo>
                  <a:pt x="1709224" y="1284927"/>
                </a:lnTo>
                <a:lnTo>
                  <a:pt x="1739123" y="1223027"/>
                </a:lnTo>
                <a:lnTo>
                  <a:pt x="1764109" y="1158614"/>
                </a:lnTo>
                <a:lnTo>
                  <a:pt x="1783947" y="1091913"/>
                </a:lnTo>
                <a:lnTo>
                  <a:pt x="1798406" y="1023151"/>
                </a:lnTo>
                <a:lnTo>
                  <a:pt x="1807252" y="952556"/>
                </a:lnTo>
                <a:lnTo>
                  <a:pt x="1810252" y="880353"/>
                </a:lnTo>
                <a:lnTo>
                  <a:pt x="1807252" y="808151"/>
                </a:lnTo>
                <a:lnTo>
                  <a:pt x="1798406" y="737555"/>
                </a:lnTo>
                <a:lnTo>
                  <a:pt x="1783947" y="668794"/>
                </a:lnTo>
                <a:lnTo>
                  <a:pt x="1764109" y="602094"/>
                </a:lnTo>
                <a:lnTo>
                  <a:pt x="1739123" y="537680"/>
                </a:lnTo>
                <a:lnTo>
                  <a:pt x="1709224" y="475780"/>
                </a:lnTo>
                <a:lnTo>
                  <a:pt x="1674644" y="416621"/>
                </a:lnTo>
                <a:lnTo>
                  <a:pt x="1635616" y="360428"/>
                </a:lnTo>
                <a:lnTo>
                  <a:pt x="1592373" y="307429"/>
                </a:lnTo>
                <a:lnTo>
                  <a:pt x="1545147" y="257849"/>
                </a:lnTo>
                <a:lnTo>
                  <a:pt x="1494173" y="211917"/>
                </a:lnTo>
                <a:lnTo>
                  <a:pt x="1439682" y="169857"/>
                </a:lnTo>
                <a:lnTo>
                  <a:pt x="1381908" y="131897"/>
                </a:lnTo>
                <a:lnTo>
                  <a:pt x="1321084" y="98263"/>
                </a:lnTo>
                <a:lnTo>
                  <a:pt x="1257442" y="69182"/>
                </a:lnTo>
                <a:lnTo>
                  <a:pt x="1191216" y="44881"/>
                </a:lnTo>
                <a:lnTo>
                  <a:pt x="1122639" y="25585"/>
                </a:lnTo>
                <a:lnTo>
                  <a:pt x="1051942" y="11522"/>
                </a:lnTo>
                <a:lnTo>
                  <a:pt x="979361" y="2918"/>
                </a:lnTo>
                <a:lnTo>
                  <a:pt x="905126" y="0"/>
                </a:lnTo>
                <a:lnTo>
                  <a:pt x="830892" y="2918"/>
                </a:lnTo>
                <a:lnTo>
                  <a:pt x="758310" y="11522"/>
                </a:lnTo>
                <a:lnTo>
                  <a:pt x="687614" y="25585"/>
                </a:lnTo>
                <a:lnTo>
                  <a:pt x="619036" y="44881"/>
                </a:lnTo>
                <a:lnTo>
                  <a:pt x="552810" y="69182"/>
                </a:lnTo>
                <a:lnTo>
                  <a:pt x="489168" y="98263"/>
                </a:lnTo>
                <a:lnTo>
                  <a:pt x="428344" y="131897"/>
                </a:lnTo>
                <a:lnTo>
                  <a:pt x="370570" y="169857"/>
                </a:lnTo>
                <a:lnTo>
                  <a:pt x="316079" y="211917"/>
                </a:lnTo>
                <a:lnTo>
                  <a:pt x="265105" y="257849"/>
                </a:lnTo>
                <a:lnTo>
                  <a:pt x="217880" y="307429"/>
                </a:lnTo>
                <a:lnTo>
                  <a:pt x="174636" y="360428"/>
                </a:lnTo>
                <a:lnTo>
                  <a:pt x="135608" y="416621"/>
                </a:lnTo>
                <a:lnTo>
                  <a:pt x="101028" y="475780"/>
                </a:lnTo>
                <a:lnTo>
                  <a:pt x="71129" y="537680"/>
                </a:lnTo>
                <a:lnTo>
                  <a:pt x="46143" y="602094"/>
                </a:lnTo>
                <a:lnTo>
                  <a:pt x="26305" y="668794"/>
                </a:lnTo>
                <a:lnTo>
                  <a:pt x="11846" y="737555"/>
                </a:lnTo>
                <a:lnTo>
                  <a:pt x="3000" y="808151"/>
                </a:lnTo>
                <a:lnTo>
                  <a:pt x="0" y="880353"/>
                </a:lnTo>
                <a:close/>
              </a:path>
            </a:pathLst>
          </a:custGeom>
          <a:solidFill>
            <a:srgbClr val="83984F">
              <a:alpha val="50000"/>
            </a:srgbClr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1" name="object 82"/>
          <p:cNvSpPr/>
          <p:nvPr/>
        </p:nvSpPr>
        <p:spPr>
          <a:xfrm>
            <a:off x="4414372" y="54871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2" name="object 84"/>
          <p:cNvSpPr/>
          <p:nvPr/>
        </p:nvSpPr>
        <p:spPr>
          <a:xfrm>
            <a:off x="5399747" y="55212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57150">
            <a:solidFill>
              <a:srgbClr val="AAC56C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3" name="object 86"/>
          <p:cNvSpPr/>
          <p:nvPr/>
        </p:nvSpPr>
        <p:spPr>
          <a:xfrm>
            <a:off x="6251551" y="55023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57150">
            <a:solidFill>
              <a:srgbClr val="AAC56C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4" name="object 74"/>
          <p:cNvSpPr/>
          <p:nvPr/>
        </p:nvSpPr>
        <p:spPr>
          <a:xfrm>
            <a:off x="2668469" y="519520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5" name="object 72"/>
          <p:cNvSpPr/>
          <p:nvPr/>
        </p:nvSpPr>
        <p:spPr>
          <a:xfrm>
            <a:off x="5959366" y="251737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40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80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6" name="object 70"/>
          <p:cNvSpPr/>
          <p:nvPr/>
        </p:nvSpPr>
        <p:spPr>
          <a:xfrm>
            <a:off x="5560113" y="213564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7" name="object 68"/>
          <p:cNvSpPr/>
          <p:nvPr/>
        </p:nvSpPr>
        <p:spPr>
          <a:xfrm>
            <a:off x="5148028" y="1723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8" name="object 66"/>
          <p:cNvSpPr/>
          <p:nvPr/>
        </p:nvSpPr>
        <p:spPr>
          <a:xfrm>
            <a:off x="6872003" y="34121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9" name="object 63"/>
          <p:cNvSpPr/>
          <p:nvPr/>
        </p:nvSpPr>
        <p:spPr>
          <a:xfrm>
            <a:off x="5880842" y="502152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6"/>
                </a:lnTo>
                <a:lnTo>
                  <a:pt x="1583" y="198179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6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2"/>
                </a:lnTo>
                <a:lnTo>
                  <a:pt x="49876" y="299561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6"/>
                </a:lnTo>
                <a:lnTo>
                  <a:pt x="196530" y="342926"/>
                </a:lnTo>
                <a:lnTo>
                  <a:pt x="209650" y="339004"/>
                </a:lnTo>
                <a:lnTo>
                  <a:pt x="222295" y="333936"/>
                </a:lnTo>
                <a:lnTo>
                  <a:pt x="234413" y="327778"/>
                </a:lnTo>
                <a:lnTo>
                  <a:pt x="245953" y="320583"/>
                </a:lnTo>
                <a:lnTo>
                  <a:pt x="256864" y="312409"/>
                </a:lnTo>
                <a:lnTo>
                  <a:pt x="267095" y="303311"/>
                </a:lnTo>
                <a:lnTo>
                  <a:pt x="276595" y="293343"/>
                </a:lnTo>
                <a:lnTo>
                  <a:pt x="285312" y="282562"/>
                </a:lnTo>
                <a:lnTo>
                  <a:pt x="293195" y="271023"/>
                </a:lnTo>
                <a:lnTo>
                  <a:pt x="300193" y="258781"/>
                </a:lnTo>
                <a:lnTo>
                  <a:pt x="306255" y="245892"/>
                </a:lnTo>
                <a:lnTo>
                  <a:pt x="311330" y="232411"/>
                </a:lnTo>
                <a:lnTo>
                  <a:pt x="315366" y="218394"/>
                </a:lnTo>
                <a:lnTo>
                  <a:pt x="318312" y="203896"/>
                </a:lnTo>
                <a:lnTo>
                  <a:pt x="320117" y="188973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9" y="93485"/>
                </a:lnTo>
                <a:lnTo>
                  <a:pt x="296006" y="80986"/>
                </a:lnTo>
                <a:lnTo>
                  <a:pt x="288459" y="69169"/>
                </a:lnTo>
                <a:lnTo>
                  <a:pt x="280058" y="58089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4"/>
                </a:lnTo>
                <a:lnTo>
                  <a:pt x="86318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0" name="object 62"/>
          <p:cNvSpPr/>
          <p:nvPr/>
        </p:nvSpPr>
        <p:spPr>
          <a:xfrm>
            <a:off x="4326962" y="34938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1" name="object 60"/>
          <p:cNvSpPr/>
          <p:nvPr/>
        </p:nvSpPr>
        <p:spPr>
          <a:xfrm>
            <a:off x="3451263" y="457102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2" name="object 58"/>
          <p:cNvSpPr/>
          <p:nvPr/>
        </p:nvSpPr>
        <p:spPr>
          <a:xfrm>
            <a:off x="7513462" y="204543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3" name="object 56"/>
          <p:cNvSpPr/>
          <p:nvPr/>
        </p:nvSpPr>
        <p:spPr>
          <a:xfrm>
            <a:off x="6553321" y="196196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4" name="object 54"/>
          <p:cNvSpPr/>
          <p:nvPr/>
        </p:nvSpPr>
        <p:spPr>
          <a:xfrm>
            <a:off x="7353097" y="275391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5" name="object 52"/>
          <p:cNvSpPr/>
          <p:nvPr/>
        </p:nvSpPr>
        <p:spPr>
          <a:xfrm>
            <a:off x="4696124" y="412086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6" name="object 50"/>
          <p:cNvSpPr/>
          <p:nvPr/>
        </p:nvSpPr>
        <p:spPr>
          <a:xfrm>
            <a:off x="4441297" y="46123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7" name="object 48"/>
          <p:cNvSpPr/>
          <p:nvPr/>
        </p:nvSpPr>
        <p:spPr>
          <a:xfrm>
            <a:off x="3130532" y="40499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8" name="object 42"/>
          <p:cNvSpPr/>
          <p:nvPr/>
        </p:nvSpPr>
        <p:spPr>
          <a:xfrm>
            <a:off x="5748103" y="33118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9" name="object 44"/>
          <p:cNvSpPr/>
          <p:nvPr/>
        </p:nvSpPr>
        <p:spPr>
          <a:xfrm>
            <a:off x="5560113" y="25802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0" name="object 46"/>
          <p:cNvSpPr/>
          <p:nvPr/>
        </p:nvSpPr>
        <p:spPr>
          <a:xfrm>
            <a:off x="5421508" y="296447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1" name="object 40"/>
          <p:cNvSpPr/>
          <p:nvPr/>
        </p:nvSpPr>
        <p:spPr>
          <a:xfrm>
            <a:off x="5213120" y="49216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57150">
            <a:solidFill>
              <a:srgbClr val="AAC56C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2" name="object 38"/>
          <p:cNvSpPr/>
          <p:nvPr/>
        </p:nvSpPr>
        <p:spPr>
          <a:xfrm>
            <a:off x="7032365" y="221911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3" name="object 36"/>
          <p:cNvSpPr/>
          <p:nvPr/>
        </p:nvSpPr>
        <p:spPr>
          <a:xfrm>
            <a:off x="7385165" y="340218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6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7"/>
                </a:lnTo>
                <a:lnTo>
                  <a:pt x="310251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4" name="object 34"/>
          <p:cNvSpPr/>
          <p:nvPr/>
        </p:nvSpPr>
        <p:spPr>
          <a:xfrm>
            <a:off x="5038354" y="24830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5" name="object 32"/>
          <p:cNvSpPr/>
          <p:nvPr/>
        </p:nvSpPr>
        <p:spPr>
          <a:xfrm>
            <a:off x="7192732" y="159327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6" name="object 30"/>
          <p:cNvSpPr/>
          <p:nvPr/>
        </p:nvSpPr>
        <p:spPr>
          <a:xfrm>
            <a:off x="6201572" y="316997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7" name="object 28"/>
          <p:cNvSpPr/>
          <p:nvPr/>
        </p:nvSpPr>
        <p:spPr>
          <a:xfrm>
            <a:off x="4877989" y="532865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8" name="object 26"/>
          <p:cNvSpPr/>
          <p:nvPr/>
        </p:nvSpPr>
        <p:spPr>
          <a:xfrm>
            <a:off x="5581873" y="4521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57150">
            <a:solidFill>
              <a:srgbClr val="AAC56C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9" name="object 24"/>
          <p:cNvSpPr/>
          <p:nvPr/>
        </p:nvSpPr>
        <p:spPr>
          <a:xfrm>
            <a:off x="3528670" y="35173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0" name="object 22"/>
          <p:cNvSpPr/>
          <p:nvPr/>
        </p:nvSpPr>
        <p:spPr>
          <a:xfrm>
            <a:off x="3252845" y="520650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1" name="object 20"/>
          <p:cNvSpPr/>
          <p:nvPr/>
        </p:nvSpPr>
        <p:spPr>
          <a:xfrm>
            <a:off x="3849401" y="4051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2" name="object 18"/>
          <p:cNvSpPr/>
          <p:nvPr/>
        </p:nvSpPr>
        <p:spPr>
          <a:xfrm>
            <a:off x="6713687" y="269105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3" name="object 6"/>
          <p:cNvSpPr txBox="1"/>
          <p:nvPr/>
        </p:nvSpPr>
        <p:spPr>
          <a:xfrm>
            <a:off x="1332125" y="3759280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grpSp>
        <p:nvGrpSpPr>
          <p:cNvPr id="124" name="Group 123"/>
          <p:cNvGrpSpPr/>
          <p:nvPr/>
        </p:nvGrpSpPr>
        <p:grpSpPr>
          <a:xfrm>
            <a:off x="2383438" y="1888930"/>
            <a:ext cx="6303362" cy="4054670"/>
            <a:chOff x="2343901" y="1923700"/>
            <a:chExt cx="6303362" cy="4054670"/>
          </a:xfrm>
        </p:grpSpPr>
        <p:sp>
          <p:nvSpPr>
            <p:cNvPr id="125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126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" name="object 15"/>
          <p:cNvSpPr txBox="1"/>
          <p:nvPr/>
        </p:nvSpPr>
        <p:spPr>
          <a:xfrm>
            <a:off x="349882" y="365536"/>
            <a:ext cx="1351013" cy="5207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985"/>
              </a:lnSpc>
              <a:spcBef>
                <a:spcPts val="99"/>
              </a:spcBef>
            </a:pPr>
            <a:r>
              <a:rPr sz="2700" spc="0" baseline="3034" dirty="0" smtClean="0">
                <a:solidFill>
                  <a:srgbClr val="215867"/>
                </a:solidFill>
                <a:latin typeface="+mj-lt"/>
                <a:cs typeface="Calibri"/>
              </a:rPr>
              <a:t>epsilon = 1.75</a:t>
            </a:r>
            <a:endParaRPr sz="1800" dirty="0">
              <a:latin typeface="+mj-lt"/>
              <a:cs typeface="Calibri"/>
            </a:endParaRPr>
          </a:p>
          <a:p>
            <a:pPr marL="12700" marR="34289">
              <a:lnSpc>
                <a:spcPts val="2100"/>
              </a:lnSpc>
              <a:spcBef>
                <a:spcPts val="5"/>
              </a:spcBef>
            </a:pPr>
            <a:r>
              <a:rPr sz="2700" spc="0" baseline="1517" dirty="0" smtClean="0">
                <a:solidFill>
                  <a:srgbClr val="215867"/>
                </a:solidFill>
                <a:latin typeface="+mj-lt"/>
                <a:cs typeface="Calibri"/>
              </a:rPr>
              <a:t>n_clu = 3</a:t>
            </a:r>
            <a:endParaRPr sz="1800" dirty="0">
              <a:latin typeface="+mj-lt"/>
              <a:cs typeface="Calibri"/>
            </a:endParaRPr>
          </a:p>
        </p:txBody>
      </p:sp>
      <p:sp>
        <p:nvSpPr>
          <p:cNvPr id="85" name="object 5"/>
          <p:cNvSpPr txBox="1"/>
          <p:nvPr/>
        </p:nvSpPr>
        <p:spPr>
          <a:xfrm>
            <a:off x="2101916" y="365536"/>
            <a:ext cx="6889684" cy="807913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 marR="41909">
              <a:lnSpc>
                <a:spcPts val="3454"/>
              </a:lnSpc>
              <a:spcBef>
                <a:spcPts val="172"/>
              </a:spcBef>
            </a:pPr>
            <a:r>
              <a:rPr sz="4800" spc="0" baseline="2560" dirty="0" smtClean="0">
                <a:solidFill>
                  <a:srgbClr val="4E81BC"/>
                </a:solidFill>
                <a:latin typeface="+mj-lt"/>
                <a:cs typeface="Calibri"/>
              </a:rPr>
              <a:t>DBSC</a:t>
            </a:r>
            <a:r>
              <a:rPr sz="4800" spc="-4" baseline="2560" dirty="0" smtClean="0">
                <a:solidFill>
                  <a:srgbClr val="4E81BC"/>
                </a:solidFill>
                <a:latin typeface="+mj-lt"/>
                <a:cs typeface="Calibri"/>
              </a:rPr>
              <a:t>A</a:t>
            </a:r>
            <a:r>
              <a:rPr sz="4800" spc="0" baseline="2560" dirty="0" smtClean="0">
                <a:solidFill>
                  <a:srgbClr val="4E81BC"/>
                </a:solidFill>
                <a:latin typeface="+mj-lt"/>
                <a:cs typeface="Calibri"/>
              </a:rPr>
              <a:t>N</a:t>
            </a:r>
            <a:endParaRPr sz="3200" dirty="0">
              <a:latin typeface="+mj-lt"/>
              <a:cs typeface="Calibri"/>
            </a:endParaRPr>
          </a:p>
          <a:p>
            <a:pPr marL="12700">
              <a:lnSpc>
                <a:spcPts val="2770"/>
              </a:lnSpc>
            </a:pPr>
            <a:r>
              <a:rPr lang="en-US" sz="3200" baseline="1137" dirty="0" smtClean="0">
                <a:solidFill>
                  <a:srgbClr val="7F7E7E"/>
                </a:solidFill>
                <a:cs typeface="Calibri"/>
              </a:rPr>
              <a:t>Keep adding neighbors within </a:t>
            </a:r>
            <a:r>
              <a:rPr lang="en-US" sz="3200" i="1" baseline="1137" dirty="0" smtClean="0">
                <a:solidFill>
                  <a:srgbClr val="7F7E7E"/>
                </a:solidFill>
                <a:cs typeface="Calibri"/>
              </a:rPr>
              <a:t>epsilon </a:t>
            </a:r>
            <a:r>
              <a:rPr lang="en-US" sz="3200" baseline="1137" dirty="0" smtClean="0">
                <a:solidFill>
                  <a:srgbClr val="7F7E7E"/>
                </a:solidFill>
                <a:cs typeface="Calibri"/>
              </a:rPr>
              <a:t>as chain reaction</a:t>
            </a:r>
            <a:endParaRPr lang="en-US" sz="3200" i="1" baseline="1137" dirty="0">
              <a:solidFill>
                <a:srgbClr val="7F7E7E"/>
              </a:solidFill>
              <a:cs typeface="Calibri"/>
            </a:endParaRPr>
          </a:p>
        </p:txBody>
      </p:sp>
      <p:sp>
        <p:nvSpPr>
          <p:cNvPr id="86" name="object 3"/>
          <p:cNvSpPr txBox="1"/>
          <p:nvPr/>
        </p:nvSpPr>
        <p:spPr>
          <a:xfrm>
            <a:off x="5426815" y="6116930"/>
            <a:ext cx="542241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latin typeface="Calibri"/>
                <a:cs typeface="Calibri"/>
              </a:rPr>
              <a:t>Age</a:t>
            </a:r>
            <a:endParaRPr sz="2400">
              <a:latin typeface="Calibri"/>
              <a:cs typeface="Calibri"/>
            </a:endParaRPr>
          </a:p>
        </p:txBody>
      </p:sp>
      <p:sp>
        <p:nvSpPr>
          <p:cNvPr id="87" name="object 66"/>
          <p:cNvSpPr/>
          <p:nvPr/>
        </p:nvSpPr>
        <p:spPr>
          <a:xfrm>
            <a:off x="4516382" y="4164320"/>
            <a:ext cx="1810252" cy="1760707"/>
          </a:xfrm>
          <a:custGeom>
            <a:avLst/>
            <a:gdLst/>
            <a:ahLst/>
            <a:cxnLst/>
            <a:rect l="l" t="t" r="r" b="b"/>
            <a:pathLst>
              <a:path w="1810252" h="1760707">
                <a:moveTo>
                  <a:pt x="0" y="880353"/>
                </a:moveTo>
                <a:lnTo>
                  <a:pt x="3000" y="952556"/>
                </a:lnTo>
                <a:lnTo>
                  <a:pt x="11846" y="1023151"/>
                </a:lnTo>
                <a:lnTo>
                  <a:pt x="26305" y="1091913"/>
                </a:lnTo>
                <a:lnTo>
                  <a:pt x="46143" y="1158614"/>
                </a:lnTo>
                <a:lnTo>
                  <a:pt x="71129" y="1223027"/>
                </a:lnTo>
                <a:lnTo>
                  <a:pt x="101028" y="1284927"/>
                </a:lnTo>
                <a:lnTo>
                  <a:pt x="135608" y="1344087"/>
                </a:lnTo>
                <a:lnTo>
                  <a:pt x="174636" y="1400279"/>
                </a:lnTo>
                <a:lnTo>
                  <a:pt x="217880" y="1453279"/>
                </a:lnTo>
                <a:lnTo>
                  <a:pt x="265105" y="1502858"/>
                </a:lnTo>
                <a:lnTo>
                  <a:pt x="316079" y="1548791"/>
                </a:lnTo>
                <a:lnTo>
                  <a:pt x="370570" y="1590850"/>
                </a:lnTo>
                <a:lnTo>
                  <a:pt x="428344" y="1628810"/>
                </a:lnTo>
                <a:lnTo>
                  <a:pt x="489168" y="1662444"/>
                </a:lnTo>
                <a:lnTo>
                  <a:pt x="552810" y="1691525"/>
                </a:lnTo>
                <a:lnTo>
                  <a:pt x="619036" y="1715826"/>
                </a:lnTo>
                <a:lnTo>
                  <a:pt x="687614" y="1735122"/>
                </a:lnTo>
                <a:lnTo>
                  <a:pt x="758310" y="1749185"/>
                </a:lnTo>
                <a:lnTo>
                  <a:pt x="830892" y="1757789"/>
                </a:lnTo>
                <a:lnTo>
                  <a:pt x="905126" y="1760707"/>
                </a:lnTo>
                <a:lnTo>
                  <a:pt x="979361" y="1757789"/>
                </a:lnTo>
                <a:lnTo>
                  <a:pt x="1051942" y="1749185"/>
                </a:lnTo>
                <a:lnTo>
                  <a:pt x="1122639" y="1735122"/>
                </a:lnTo>
                <a:lnTo>
                  <a:pt x="1191216" y="1715826"/>
                </a:lnTo>
                <a:lnTo>
                  <a:pt x="1257442" y="1691525"/>
                </a:lnTo>
                <a:lnTo>
                  <a:pt x="1321084" y="1662444"/>
                </a:lnTo>
                <a:lnTo>
                  <a:pt x="1381908" y="1628810"/>
                </a:lnTo>
                <a:lnTo>
                  <a:pt x="1439682" y="1590850"/>
                </a:lnTo>
                <a:lnTo>
                  <a:pt x="1494173" y="1548791"/>
                </a:lnTo>
                <a:lnTo>
                  <a:pt x="1545147" y="1502858"/>
                </a:lnTo>
                <a:lnTo>
                  <a:pt x="1592373" y="1453279"/>
                </a:lnTo>
                <a:lnTo>
                  <a:pt x="1635616" y="1400279"/>
                </a:lnTo>
                <a:lnTo>
                  <a:pt x="1674644" y="1344087"/>
                </a:lnTo>
                <a:lnTo>
                  <a:pt x="1709224" y="1284927"/>
                </a:lnTo>
                <a:lnTo>
                  <a:pt x="1739123" y="1223027"/>
                </a:lnTo>
                <a:lnTo>
                  <a:pt x="1764109" y="1158614"/>
                </a:lnTo>
                <a:lnTo>
                  <a:pt x="1783947" y="1091913"/>
                </a:lnTo>
                <a:lnTo>
                  <a:pt x="1798406" y="1023151"/>
                </a:lnTo>
                <a:lnTo>
                  <a:pt x="1807252" y="952556"/>
                </a:lnTo>
                <a:lnTo>
                  <a:pt x="1810252" y="880353"/>
                </a:lnTo>
                <a:lnTo>
                  <a:pt x="1807252" y="808151"/>
                </a:lnTo>
                <a:lnTo>
                  <a:pt x="1798406" y="737555"/>
                </a:lnTo>
                <a:lnTo>
                  <a:pt x="1783947" y="668794"/>
                </a:lnTo>
                <a:lnTo>
                  <a:pt x="1764109" y="602094"/>
                </a:lnTo>
                <a:lnTo>
                  <a:pt x="1739123" y="537680"/>
                </a:lnTo>
                <a:lnTo>
                  <a:pt x="1709224" y="475780"/>
                </a:lnTo>
                <a:lnTo>
                  <a:pt x="1674644" y="416621"/>
                </a:lnTo>
                <a:lnTo>
                  <a:pt x="1635616" y="360428"/>
                </a:lnTo>
                <a:lnTo>
                  <a:pt x="1592373" y="307429"/>
                </a:lnTo>
                <a:lnTo>
                  <a:pt x="1545147" y="257849"/>
                </a:lnTo>
                <a:lnTo>
                  <a:pt x="1494173" y="211917"/>
                </a:lnTo>
                <a:lnTo>
                  <a:pt x="1439682" y="169857"/>
                </a:lnTo>
                <a:lnTo>
                  <a:pt x="1381908" y="131897"/>
                </a:lnTo>
                <a:lnTo>
                  <a:pt x="1321084" y="98263"/>
                </a:lnTo>
                <a:lnTo>
                  <a:pt x="1257442" y="69182"/>
                </a:lnTo>
                <a:lnTo>
                  <a:pt x="1191216" y="44881"/>
                </a:lnTo>
                <a:lnTo>
                  <a:pt x="1122639" y="25585"/>
                </a:lnTo>
                <a:lnTo>
                  <a:pt x="1051942" y="11522"/>
                </a:lnTo>
                <a:lnTo>
                  <a:pt x="979361" y="2918"/>
                </a:lnTo>
                <a:lnTo>
                  <a:pt x="905126" y="0"/>
                </a:lnTo>
                <a:lnTo>
                  <a:pt x="830892" y="2918"/>
                </a:lnTo>
                <a:lnTo>
                  <a:pt x="758310" y="11522"/>
                </a:lnTo>
                <a:lnTo>
                  <a:pt x="687614" y="25585"/>
                </a:lnTo>
                <a:lnTo>
                  <a:pt x="619036" y="44881"/>
                </a:lnTo>
                <a:lnTo>
                  <a:pt x="552810" y="69182"/>
                </a:lnTo>
                <a:lnTo>
                  <a:pt x="489168" y="98263"/>
                </a:lnTo>
                <a:lnTo>
                  <a:pt x="428344" y="131897"/>
                </a:lnTo>
                <a:lnTo>
                  <a:pt x="370570" y="169857"/>
                </a:lnTo>
                <a:lnTo>
                  <a:pt x="316079" y="211917"/>
                </a:lnTo>
                <a:lnTo>
                  <a:pt x="265105" y="257849"/>
                </a:lnTo>
                <a:lnTo>
                  <a:pt x="217880" y="307429"/>
                </a:lnTo>
                <a:lnTo>
                  <a:pt x="174636" y="360428"/>
                </a:lnTo>
                <a:lnTo>
                  <a:pt x="135608" y="416621"/>
                </a:lnTo>
                <a:lnTo>
                  <a:pt x="101028" y="475780"/>
                </a:lnTo>
                <a:lnTo>
                  <a:pt x="71129" y="537680"/>
                </a:lnTo>
                <a:lnTo>
                  <a:pt x="46143" y="602094"/>
                </a:lnTo>
                <a:lnTo>
                  <a:pt x="26305" y="668794"/>
                </a:lnTo>
                <a:lnTo>
                  <a:pt x="11846" y="737555"/>
                </a:lnTo>
                <a:lnTo>
                  <a:pt x="3000" y="808151"/>
                </a:lnTo>
                <a:lnTo>
                  <a:pt x="0" y="880353"/>
                </a:lnTo>
                <a:close/>
              </a:path>
            </a:pathLst>
          </a:custGeom>
          <a:solidFill>
            <a:srgbClr val="83984F">
              <a:alpha val="50000"/>
            </a:srgbClr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8" name="object 82"/>
          <p:cNvSpPr/>
          <p:nvPr/>
        </p:nvSpPr>
        <p:spPr>
          <a:xfrm>
            <a:off x="4414372" y="54871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9" name="object 84"/>
          <p:cNvSpPr/>
          <p:nvPr/>
        </p:nvSpPr>
        <p:spPr>
          <a:xfrm>
            <a:off x="5399747" y="55212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57150">
            <a:solidFill>
              <a:srgbClr val="AAC56C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0" name="object 86"/>
          <p:cNvSpPr/>
          <p:nvPr/>
        </p:nvSpPr>
        <p:spPr>
          <a:xfrm>
            <a:off x="6251551" y="55023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57150">
            <a:solidFill>
              <a:srgbClr val="AAC56C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1" name="object 74"/>
          <p:cNvSpPr/>
          <p:nvPr/>
        </p:nvSpPr>
        <p:spPr>
          <a:xfrm>
            <a:off x="2668469" y="519520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2" name="object 72"/>
          <p:cNvSpPr/>
          <p:nvPr/>
        </p:nvSpPr>
        <p:spPr>
          <a:xfrm>
            <a:off x="5959366" y="251737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40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80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3" name="object 70"/>
          <p:cNvSpPr/>
          <p:nvPr/>
        </p:nvSpPr>
        <p:spPr>
          <a:xfrm>
            <a:off x="5560113" y="213564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4" name="object 68"/>
          <p:cNvSpPr/>
          <p:nvPr/>
        </p:nvSpPr>
        <p:spPr>
          <a:xfrm>
            <a:off x="5148028" y="1723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5" name="object 66"/>
          <p:cNvSpPr/>
          <p:nvPr/>
        </p:nvSpPr>
        <p:spPr>
          <a:xfrm>
            <a:off x="6872003" y="34121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6" name="object 63"/>
          <p:cNvSpPr/>
          <p:nvPr/>
        </p:nvSpPr>
        <p:spPr>
          <a:xfrm>
            <a:off x="5880842" y="502152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6"/>
                </a:lnTo>
                <a:lnTo>
                  <a:pt x="1583" y="198179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6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2"/>
                </a:lnTo>
                <a:lnTo>
                  <a:pt x="49876" y="299561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6"/>
                </a:lnTo>
                <a:lnTo>
                  <a:pt x="196530" y="342926"/>
                </a:lnTo>
                <a:lnTo>
                  <a:pt x="209650" y="339004"/>
                </a:lnTo>
                <a:lnTo>
                  <a:pt x="222295" y="333936"/>
                </a:lnTo>
                <a:lnTo>
                  <a:pt x="234413" y="327778"/>
                </a:lnTo>
                <a:lnTo>
                  <a:pt x="245953" y="320583"/>
                </a:lnTo>
                <a:lnTo>
                  <a:pt x="256864" y="312409"/>
                </a:lnTo>
                <a:lnTo>
                  <a:pt x="267095" y="303311"/>
                </a:lnTo>
                <a:lnTo>
                  <a:pt x="276595" y="293343"/>
                </a:lnTo>
                <a:lnTo>
                  <a:pt x="285312" y="282562"/>
                </a:lnTo>
                <a:lnTo>
                  <a:pt x="293195" y="271023"/>
                </a:lnTo>
                <a:lnTo>
                  <a:pt x="300193" y="258781"/>
                </a:lnTo>
                <a:lnTo>
                  <a:pt x="306255" y="245892"/>
                </a:lnTo>
                <a:lnTo>
                  <a:pt x="311330" y="232411"/>
                </a:lnTo>
                <a:lnTo>
                  <a:pt x="315366" y="218394"/>
                </a:lnTo>
                <a:lnTo>
                  <a:pt x="318312" y="203896"/>
                </a:lnTo>
                <a:lnTo>
                  <a:pt x="320117" y="188973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9" y="93485"/>
                </a:lnTo>
                <a:lnTo>
                  <a:pt x="296006" y="80986"/>
                </a:lnTo>
                <a:lnTo>
                  <a:pt x="288459" y="69169"/>
                </a:lnTo>
                <a:lnTo>
                  <a:pt x="280058" y="58089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4"/>
                </a:lnTo>
                <a:lnTo>
                  <a:pt x="86318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7" name="object 62"/>
          <p:cNvSpPr/>
          <p:nvPr/>
        </p:nvSpPr>
        <p:spPr>
          <a:xfrm>
            <a:off x="4326962" y="34938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8" name="object 60"/>
          <p:cNvSpPr/>
          <p:nvPr/>
        </p:nvSpPr>
        <p:spPr>
          <a:xfrm>
            <a:off x="3451263" y="457102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9" name="object 58"/>
          <p:cNvSpPr/>
          <p:nvPr/>
        </p:nvSpPr>
        <p:spPr>
          <a:xfrm>
            <a:off x="7513462" y="204543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0" name="object 56"/>
          <p:cNvSpPr/>
          <p:nvPr/>
        </p:nvSpPr>
        <p:spPr>
          <a:xfrm>
            <a:off x="6553321" y="196196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1" name="object 54"/>
          <p:cNvSpPr/>
          <p:nvPr/>
        </p:nvSpPr>
        <p:spPr>
          <a:xfrm>
            <a:off x="7353097" y="275391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2" name="object 52"/>
          <p:cNvSpPr/>
          <p:nvPr/>
        </p:nvSpPr>
        <p:spPr>
          <a:xfrm>
            <a:off x="4696124" y="412086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3" name="object 50"/>
          <p:cNvSpPr/>
          <p:nvPr/>
        </p:nvSpPr>
        <p:spPr>
          <a:xfrm>
            <a:off x="4441297" y="46123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57150">
            <a:solidFill>
              <a:srgbClr val="AAC56C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4" name="object 48"/>
          <p:cNvSpPr/>
          <p:nvPr/>
        </p:nvSpPr>
        <p:spPr>
          <a:xfrm>
            <a:off x="3130532" y="40499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5" name="object 42"/>
          <p:cNvSpPr/>
          <p:nvPr/>
        </p:nvSpPr>
        <p:spPr>
          <a:xfrm>
            <a:off x="5748103" y="33118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6" name="object 44"/>
          <p:cNvSpPr/>
          <p:nvPr/>
        </p:nvSpPr>
        <p:spPr>
          <a:xfrm>
            <a:off x="5560113" y="25802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7" name="object 46"/>
          <p:cNvSpPr/>
          <p:nvPr/>
        </p:nvSpPr>
        <p:spPr>
          <a:xfrm>
            <a:off x="5421508" y="296447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8" name="object 40"/>
          <p:cNvSpPr/>
          <p:nvPr/>
        </p:nvSpPr>
        <p:spPr>
          <a:xfrm>
            <a:off x="5213120" y="49216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9" name="object 38"/>
          <p:cNvSpPr/>
          <p:nvPr/>
        </p:nvSpPr>
        <p:spPr>
          <a:xfrm>
            <a:off x="7032365" y="221911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0" name="object 36"/>
          <p:cNvSpPr/>
          <p:nvPr/>
        </p:nvSpPr>
        <p:spPr>
          <a:xfrm>
            <a:off x="7385165" y="340218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6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7"/>
                </a:lnTo>
                <a:lnTo>
                  <a:pt x="310251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1" name="object 34"/>
          <p:cNvSpPr/>
          <p:nvPr/>
        </p:nvSpPr>
        <p:spPr>
          <a:xfrm>
            <a:off x="5038354" y="24830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2" name="object 32"/>
          <p:cNvSpPr/>
          <p:nvPr/>
        </p:nvSpPr>
        <p:spPr>
          <a:xfrm>
            <a:off x="7192732" y="159327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3" name="object 30"/>
          <p:cNvSpPr/>
          <p:nvPr/>
        </p:nvSpPr>
        <p:spPr>
          <a:xfrm>
            <a:off x="6201572" y="316997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4" name="object 28"/>
          <p:cNvSpPr/>
          <p:nvPr/>
        </p:nvSpPr>
        <p:spPr>
          <a:xfrm>
            <a:off x="4877989" y="532865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57150">
            <a:solidFill>
              <a:srgbClr val="AAC56C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5" name="object 26"/>
          <p:cNvSpPr/>
          <p:nvPr/>
        </p:nvSpPr>
        <p:spPr>
          <a:xfrm>
            <a:off x="5581873" y="4521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57150">
            <a:solidFill>
              <a:srgbClr val="AAC56C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6" name="object 24"/>
          <p:cNvSpPr/>
          <p:nvPr/>
        </p:nvSpPr>
        <p:spPr>
          <a:xfrm>
            <a:off x="3528670" y="35173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7" name="object 22"/>
          <p:cNvSpPr/>
          <p:nvPr/>
        </p:nvSpPr>
        <p:spPr>
          <a:xfrm>
            <a:off x="3252845" y="520650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8" name="object 20"/>
          <p:cNvSpPr/>
          <p:nvPr/>
        </p:nvSpPr>
        <p:spPr>
          <a:xfrm>
            <a:off x="3849401" y="4051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9" name="object 18"/>
          <p:cNvSpPr/>
          <p:nvPr/>
        </p:nvSpPr>
        <p:spPr>
          <a:xfrm>
            <a:off x="6713687" y="269105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0" name="object 6"/>
          <p:cNvSpPr txBox="1"/>
          <p:nvPr/>
        </p:nvSpPr>
        <p:spPr>
          <a:xfrm>
            <a:off x="1332125" y="3759280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grpSp>
        <p:nvGrpSpPr>
          <p:cNvPr id="121" name="Group 120"/>
          <p:cNvGrpSpPr/>
          <p:nvPr/>
        </p:nvGrpSpPr>
        <p:grpSpPr>
          <a:xfrm>
            <a:off x="2383438" y="1888930"/>
            <a:ext cx="6303362" cy="4054670"/>
            <a:chOff x="2343901" y="1923700"/>
            <a:chExt cx="6303362" cy="4054670"/>
          </a:xfrm>
        </p:grpSpPr>
        <p:sp>
          <p:nvSpPr>
            <p:cNvPr id="122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123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" name="object 15"/>
          <p:cNvSpPr txBox="1"/>
          <p:nvPr/>
        </p:nvSpPr>
        <p:spPr>
          <a:xfrm>
            <a:off x="349882" y="365536"/>
            <a:ext cx="1351013" cy="5207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985"/>
              </a:lnSpc>
              <a:spcBef>
                <a:spcPts val="99"/>
              </a:spcBef>
            </a:pPr>
            <a:r>
              <a:rPr sz="2700" spc="0" baseline="3034" dirty="0" smtClean="0">
                <a:solidFill>
                  <a:srgbClr val="215867"/>
                </a:solidFill>
                <a:latin typeface="+mj-lt"/>
                <a:cs typeface="Calibri"/>
              </a:rPr>
              <a:t>epsilon = 1.75</a:t>
            </a:r>
            <a:endParaRPr sz="1800">
              <a:latin typeface="+mj-lt"/>
              <a:cs typeface="Calibri"/>
            </a:endParaRPr>
          </a:p>
          <a:p>
            <a:pPr marL="12700" marR="34289">
              <a:lnSpc>
                <a:spcPts val="2100"/>
              </a:lnSpc>
              <a:spcBef>
                <a:spcPts val="5"/>
              </a:spcBef>
            </a:pPr>
            <a:r>
              <a:rPr sz="2700" spc="0" baseline="1517" dirty="0" smtClean="0">
                <a:solidFill>
                  <a:srgbClr val="215867"/>
                </a:solidFill>
                <a:latin typeface="+mj-lt"/>
                <a:cs typeface="Calibri"/>
              </a:rPr>
              <a:t>n_clu = 3</a:t>
            </a:r>
            <a:endParaRPr sz="1800">
              <a:latin typeface="+mj-lt"/>
              <a:cs typeface="Calibri"/>
            </a:endParaRPr>
          </a:p>
        </p:txBody>
      </p:sp>
      <p:sp>
        <p:nvSpPr>
          <p:cNvPr id="85" name="object 5"/>
          <p:cNvSpPr txBox="1"/>
          <p:nvPr/>
        </p:nvSpPr>
        <p:spPr>
          <a:xfrm>
            <a:off x="2101916" y="365536"/>
            <a:ext cx="6889684" cy="807913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 marR="41909">
              <a:lnSpc>
                <a:spcPts val="3454"/>
              </a:lnSpc>
              <a:spcBef>
                <a:spcPts val="172"/>
              </a:spcBef>
            </a:pPr>
            <a:r>
              <a:rPr sz="4800" spc="0" baseline="2560" dirty="0" smtClean="0">
                <a:solidFill>
                  <a:srgbClr val="4E81BC"/>
                </a:solidFill>
                <a:latin typeface="+mj-lt"/>
                <a:cs typeface="Calibri"/>
              </a:rPr>
              <a:t>DBSC</a:t>
            </a:r>
            <a:r>
              <a:rPr sz="4800" spc="-4" baseline="2560" dirty="0" smtClean="0">
                <a:solidFill>
                  <a:srgbClr val="4E81BC"/>
                </a:solidFill>
                <a:latin typeface="+mj-lt"/>
                <a:cs typeface="Calibri"/>
              </a:rPr>
              <a:t>A</a:t>
            </a:r>
            <a:r>
              <a:rPr sz="4800" spc="0" baseline="2560" dirty="0" smtClean="0">
                <a:solidFill>
                  <a:srgbClr val="4E81BC"/>
                </a:solidFill>
                <a:latin typeface="+mj-lt"/>
                <a:cs typeface="Calibri"/>
              </a:rPr>
              <a:t>N</a:t>
            </a:r>
            <a:endParaRPr sz="3200" dirty="0">
              <a:latin typeface="+mj-lt"/>
              <a:cs typeface="Calibri"/>
            </a:endParaRPr>
          </a:p>
          <a:p>
            <a:pPr marL="12700">
              <a:lnSpc>
                <a:spcPts val="2770"/>
              </a:lnSpc>
            </a:pPr>
            <a:r>
              <a:rPr lang="en-US" sz="3200" baseline="1137" dirty="0" smtClean="0">
                <a:solidFill>
                  <a:srgbClr val="7F7E7E"/>
                </a:solidFill>
                <a:cs typeface="Calibri"/>
              </a:rPr>
              <a:t>Keep adding neighbors within </a:t>
            </a:r>
            <a:r>
              <a:rPr lang="en-US" sz="3200" i="1" baseline="1137" dirty="0" smtClean="0">
                <a:solidFill>
                  <a:srgbClr val="7F7E7E"/>
                </a:solidFill>
                <a:cs typeface="Calibri"/>
              </a:rPr>
              <a:t>epsilon </a:t>
            </a:r>
            <a:r>
              <a:rPr lang="en-US" sz="3200" baseline="1137" dirty="0" smtClean="0">
                <a:solidFill>
                  <a:srgbClr val="7F7E7E"/>
                </a:solidFill>
                <a:cs typeface="Calibri"/>
              </a:rPr>
              <a:t>as chain reaction</a:t>
            </a:r>
            <a:endParaRPr lang="en-US" sz="3200" i="1" baseline="1137" dirty="0">
              <a:solidFill>
                <a:srgbClr val="7F7E7E"/>
              </a:solidFill>
              <a:cs typeface="Calibri"/>
            </a:endParaRPr>
          </a:p>
        </p:txBody>
      </p:sp>
      <p:sp>
        <p:nvSpPr>
          <p:cNvPr id="86" name="object 3"/>
          <p:cNvSpPr txBox="1"/>
          <p:nvPr/>
        </p:nvSpPr>
        <p:spPr>
          <a:xfrm>
            <a:off x="5426815" y="6116930"/>
            <a:ext cx="542241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latin typeface="Calibri"/>
                <a:cs typeface="Calibri"/>
              </a:rPr>
              <a:t>Age</a:t>
            </a:r>
            <a:endParaRPr sz="2400">
              <a:latin typeface="Calibri"/>
              <a:cs typeface="Calibri"/>
            </a:endParaRPr>
          </a:p>
        </p:txBody>
      </p:sp>
      <p:sp>
        <p:nvSpPr>
          <p:cNvPr id="87" name="object 66"/>
          <p:cNvSpPr/>
          <p:nvPr/>
        </p:nvSpPr>
        <p:spPr>
          <a:xfrm>
            <a:off x="4726124" y="4807833"/>
            <a:ext cx="1810252" cy="1760707"/>
          </a:xfrm>
          <a:custGeom>
            <a:avLst/>
            <a:gdLst/>
            <a:ahLst/>
            <a:cxnLst/>
            <a:rect l="l" t="t" r="r" b="b"/>
            <a:pathLst>
              <a:path w="1810252" h="1760707">
                <a:moveTo>
                  <a:pt x="0" y="880353"/>
                </a:moveTo>
                <a:lnTo>
                  <a:pt x="3000" y="952556"/>
                </a:lnTo>
                <a:lnTo>
                  <a:pt x="11846" y="1023151"/>
                </a:lnTo>
                <a:lnTo>
                  <a:pt x="26305" y="1091913"/>
                </a:lnTo>
                <a:lnTo>
                  <a:pt x="46143" y="1158614"/>
                </a:lnTo>
                <a:lnTo>
                  <a:pt x="71129" y="1223027"/>
                </a:lnTo>
                <a:lnTo>
                  <a:pt x="101028" y="1284927"/>
                </a:lnTo>
                <a:lnTo>
                  <a:pt x="135608" y="1344087"/>
                </a:lnTo>
                <a:lnTo>
                  <a:pt x="174636" y="1400279"/>
                </a:lnTo>
                <a:lnTo>
                  <a:pt x="217880" y="1453279"/>
                </a:lnTo>
                <a:lnTo>
                  <a:pt x="265105" y="1502858"/>
                </a:lnTo>
                <a:lnTo>
                  <a:pt x="316079" y="1548791"/>
                </a:lnTo>
                <a:lnTo>
                  <a:pt x="370570" y="1590850"/>
                </a:lnTo>
                <a:lnTo>
                  <a:pt x="428344" y="1628810"/>
                </a:lnTo>
                <a:lnTo>
                  <a:pt x="489168" y="1662444"/>
                </a:lnTo>
                <a:lnTo>
                  <a:pt x="552810" y="1691525"/>
                </a:lnTo>
                <a:lnTo>
                  <a:pt x="619036" y="1715826"/>
                </a:lnTo>
                <a:lnTo>
                  <a:pt x="687614" y="1735122"/>
                </a:lnTo>
                <a:lnTo>
                  <a:pt x="758310" y="1749185"/>
                </a:lnTo>
                <a:lnTo>
                  <a:pt x="830892" y="1757789"/>
                </a:lnTo>
                <a:lnTo>
                  <a:pt x="905126" y="1760707"/>
                </a:lnTo>
                <a:lnTo>
                  <a:pt x="979361" y="1757789"/>
                </a:lnTo>
                <a:lnTo>
                  <a:pt x="1051942" y="1749185"/>
                </a:lnTo>
                <a:lnTo>
                  <a:pt x="1122639" y="1735122"/>
                </a:lnTo>
                <a:lnTo>
                  <a:pt x="1191216" y="1715826"/>
                </a:lnTo>
                <a:lnTo>
                  <a:pt x="1257442" y="1691525"/>
                </a:lnTo>
                <a:lnTo>
                  <a:pt x="1321084" y="1662444"/>
                </a:lnTo>
                <a:lnTo>
                  <a:pt x="1381908" y="1628810"/>
                </a:lnTo>
                <a:lnTo>
                  <a:pt x="1439682" y="1590850"/>
                </a:lnTo>
                <a:lnTo>
                  <a:pt x="1494173" y="1548791"/>
                </a:lnTo>
                <a:lnTo>
                  <a:pt x="1545147" y="1502858"/>
                </a:lnTo>
                <a:lnTo>
                  <a:pt x="1592373" y="1453279"/>
                </a:lnTo>
                <a:lnTo>
                  <a:pt x="1635616" y="1400279"/>
                </a:lnTo>
                <a:lnTo>
                  <a:pt x="1674644" y="1344087"/>
                </a:lnTo>
                <a:lnTo>
                  <a:pt x="1709224" y="1284927"/>
                </a:lnTo>
                <a:lnTo>
                  <a:pt x="1739123" y="1223027"/>
                </a:lnTo>
                <a:lnTo>
                  <a:pt x="1764109" y="1158614"/>
                </a:lnTo>
                <a:lnTo>
                  <a:pt x="1783947" y="1091913"/>
                </a:lnTo>
                <a:lnTo>
                  <a:pt x="1798406" y="1023151"/>
                </a:lnTo>
                <a:lnTo>
                  <a:pt x="1807252" y="952556"/>
                </a:lnTo>
                <a:lnTo>
                  <a:pt x="1810252" y="880353"/>
                </a:lnTo>
                <a:lnTo>
                  <a:pt x="1807252" y="808151"/>
                </a:lnTo>
                <a:lnTo>
                  <a:pt x="1798406" y="737555"/>
                </a:lnTo>
                <a:lnTo>
                  <a:pt x="1783947" y="668794"/>
                </a:lnTo>
                <a:lnTo>
                  <a:pt x="1764109" y="602094"/>
                </a:lnTo>
                <a:lnTo>
                  <a:pt x="1739123" y="537680"/>
                </a:lnTo>
                <a:lnTo>
                  <a:pt x="1709224" y="475780"/>
                </a:lnTo>
                <a:lnTo>
                  <a:pt x="1674644" y="416621"/>
                </a:lnTo>
                <a:lnTo>
                  <a:pt x="1635616" y="360428"/>
                </a:lnTo>
                <a:lnTo>
                  <a:pt x="1592373" y="307429"/>
                </a:lnTo>
                <a:lnTo>
                  <a:pt x="1545147" y="257849"/>
                </a:lnTo>
                <a:lnTo>
                  <a:pt x="1494173" y="211917"/>
                </a:lnTo>
                <a:lnTo>
                  <a:pt x="1439682" y="169857"/>
                </a:lnTo>
                <a:lnTo>
                  <a:pt x="1381908" y="131897"/>
                </a:lnTo>
                <a:lnTo>
                  <a:pt x="1321084" y="98263"/>
                </a:lnTo>
                <a:lnTo>
                  <a:pt x="1257442" y="69182"/>
                </a:lnTo>
                <a:lnTo>
                  <a:pt x="1191216" y="44881"/>
                </a:lnTo>
                <a:lnTo>
                  <a:pt x="1122639" y="25585"/>
                </a:lnTo>
                <a:lnTo>
                  <a:pt x="1051942" y="11522"/>
                </a:lnTo>
                <a:lnTo>
                  <a:pt x="979361" y="2918"/>
                </a:lnTo>
                <a:lnTo>
                  <a:pt x="905126" y="0"/>
                </a:lnTo>
                <a:lnTo>
                  <a:pt x="830892" y="2918"/>
                </a:lnTo>
                <a:lnTo>
                  <a:pt x="758310" y="11522"/>
                </a:lnTo>
                <a:lnTo>
                  <a:pt x="687614" y="25585"/>
                </a:lnTo>
                <a:lnTo>
                  <a:pt x="619036" y="44881"/>
                </a:lnTo>
                <a:lnTo>
                  <a:pt x="552810" y="69182"/>
                </a:lnTo>
                <a:lnTo>
                  <a:pt x="489168" y="98263"/>
                </a:lnTo>
                <a:lnTo>
                  <a:pt x="428344" y="131897"/>
                </a:lnTo>
                <a:lnTo>
                  <a:pt x="370570" y="169857"/>
                </a:lnTo>
                <a:lnTo>
                  <a:pt x="316079" y="211917"/>
                </a:lnTo>
                <a:lnTo>
                  <a:pt x="265105" y="257849"/>
                </a:lnTo>
                <a:lnTo>
                  <a:pt x="217880" y="307429"/>
                </a:lnTo>
                <a:lnTo>
                  <a:pt x="174636" y="360428"/>
                </a:lnTo>
                <a:lnTo>
                  <a:pt x="135608" y="416621"/>
                </a:lnTo>
                <a:lnTo>
                  <a:pt x="101028" y="475780"/>
                </a:lnTo>
                <a:lnTo>
                  <a:pt x="71129" y="537680"/>
                </a:lnTo>
                <a:lnTo>
                  <a:pt x="46143" y="602094"/>
                </a:lnTo>
                <a:lnTo>
                  <a:pt x="26305" y="668794"/>
                </a:lnTo>
                <a:lnTo>
                  <a:pt x="11846" y="737555"/>
                </a:lnTo>
                <a:lnTo>
                  <a:pt x="3000" y="808151"/>
                </a:lnTo>
                <a:lnTo>
                  <a:pt x="0" y="880353"/>
                </a:lnTo>
                <a:close/>
              </a:path>
            </a:pathLst>
          </a:custGeom>
          <a:solidFill>
            <a:srgbClr val="83984F">
              <a:alpha val="50000"/>
            </a:srgbClr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8" name="object 82"/>
          <p:cNvSpPr/>
          <p:nvPr/>
        </p:nvSpPr>
        <p:spPr>
          <a:xfrm>
            <a:off x="4414372" y="54871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9" name="object 84"/>
          <p:cNvSpPr/>
          <p:nvPr/>
        </p:nvSpPr>
        <p:spPr>
          <a:xfrm>
            <a:off x="5399747" y="55212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0" name="object 86"/>
          <p:cNvSpPr/>
          <p:nvPr/>
        </p:nvSpPr>
        <p:spPr>
          <a:xfrm>
            <a:off x="6251551" y="55023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57150">
            <a:solidFill>
              <a:srgbClr val="AAC56C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1" name="object 74"/>
          <p:cNvSpPr/>
          <p:nvPr/>
        </p:nvSpPr>
        <p:spPr>
          <a:xfrm>
            <a:off x="2668469" y="519520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2" name="object 72"/>
          <p:cNvSpPr/>
          <p:nvPr/>
        </p:nvSpPr>
        <p:spPr>
          <a:xfrm>
            <a:off x="5959366" y="251737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40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80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3" name="object 70"/>
          <p:cNvSpPr/>
          <p:nvPr/>
        </p:nvSpPr>
        <p:spPr>
          <a:xfrm>
            <a:off x="5560113" y="213564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4" name="object 68"/>
          <p:cNvSpPr/>
          <p:nvPr/>
        </p:nvSpPr>
        <p:spPr>
          <a:xfrm>
            <a:off x="5148028" y="1723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5" name="object 66"/>
          <p:cNvSpPr/>
          <p:nvPr/>
        </p:nvSpPr>
        <p:spPr>
          <a:xfrm>
            <a:off x="6872003" y="34121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6" name="object 63"/>
          <p:cNvSpPr/>
          <p:nvPr/>
        </p:nvSpPr>
        <p:spPr>
          <a:xfrm>
            <a:off x="5880842" y="502152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6"/>
                </a:lnTo>
                <a:lnTo>
                  <a:pt x="1583" y="198179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6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2"/>
                </a:lnTo>
                <a:lnTo>
                  <a:pt x="49876" y="299561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6"/>
                </a:lnTo>
                <a:lnTo>
                  <a:pt x="196530" y="342926"/>
                </a:lnTo>
                <a:lnTo>
                  <a:pt x="209650" y="339004"/>
                </a:lnTo>
                <a:lnTo>
                  <a:pt x="222295" y="333936"/>
                </a:lnTo>
                <a:lnTo>
                  <a:pt x="234413" y="327778"/>
                </a:lnTo>
                <a:lnTo>
                  <a:pt x="245953" y="320583"/>
                </a:lnTo>
                <a:lnTo>
                  <a:pt x="256864" y="312409"/>
                </a:lnTo>
                <a:lnTo>
                  <a:pt x="267095" y="303311"/>
                </a:lnTo>
                <a:lnTo>
                  <a:pt x="276595" y="293343"/>
                </a:lnTo>
                <a:lnTo>
                  <a:pt x="285312" y="282562"/>
                </a:lnTo>
                <a:lnTo>
                  <a:pt x="293195" y="271023"/>
                </a:lnTo>
                <a:lnTo>
                  <a:pt x="300193" y="258781"/>
                </a:lnTo>
                <a:lnTo>
                  <a:pt x="306255" y="245892"/>
                </a:lnTo>
                <a:lnTo>
                  <a:pt x="311330" y="232411"/>
                </a:lnTo>
                <a:lnTo>
                  <a:pt x="315366" y="218394"/>
                </a:lnTo>
                <a:lnTo>
                  <a:pt x="318312" y="203896"/>
                </a:lnTo>
                <a:lnTo>
                  <a:pt x="320117" y="188973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9" y="93485"/>
                </a:lnTo>
                <a:lnTo>
                  <a:pt x="296006" y="80986"/>
                </a:lnTo>
                <a:lnTo>
                  <a:pt x="288459" y="69169"/>
                </a:lnTo>
                <a:lnTo>
                  <a:pt x="280058" y="58089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4"/>
                </a:lnTo>
                <a:lnTo>
                  <a:pt x="86318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7" name="object 62"/>
          <p:cNvSpPr/>
          <p:nvPr/>
        </p:nvSpPr>
        <p:spPr>
          <a:xfrm>
            <a:off x="4326962" y="34938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8" name="object 60"/>
          <p:cNvSpPr/>
          <p:nvPr/>
        </p:nvSpPr>
        <p:spPr>
          <a:xfrm>
            <a:off x="3451263" y="457102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9" name="object 58"/>
          <p:cNvSpPr/>
          <p:nvPr/>
        </p:nvSpPr>
        <p:spPr>
          <a:xfrm>
            <a:off x="7513462" y="204543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0" name="object 56"/>
          <p:cNvSpPr/>
          <p:nvPr/>
        </p:nvSpPr>
        <p:spPr>
          <a:xfrm>
            <a:off x="6553321" y="196196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1" name="object 54"/>
          <p:cNvSpPr/>
          <p:nvPr/>
        </p:nvSpPr>
        <p:spPr>
          <a:xfrm>
            <a:off x="7353097" y="275391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2" name="object 52"/>
          <p:cNvSpPr/>
          <p:nvPr/>
        </p:nvSpPr>
        <p:spPr>
          <a:xfrm>
            <a:off x="4696124" y="412086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3" name="object 50"/>
          <p:cNvSpPr/>
          <p:nvPr/>
        </p:nvSpPr>
        <p:spPr>
          <a:xfrm>
            <a:off x="4441297" y="46123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57150">
            <a:solidFill>
              <a:srgbClr val="AAC56C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4" name="object 48"/>
          <p:cNvSpPr/>
          <p:nvPr/>
        </p:nvSpPr>
        <p:spPr>
          <a:xfrm>
            <a:off x="3130532" y="40499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5" name="object 42"/>
          <p:cNvSpPr/>
          <p:nvPr/>
        </p:nvSpPr>
        <p:spPr>
          <a:xfrm>
            <a:off x="5748103" y="33118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6" name="object 44"/>
          <p:cNvSpPr/>
          <p:nvPr/>
        </p:nvSpPr>
        <p:spPr>
          <a:xfrm>
            <a:off x="5560113" y="25802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7" name="object 46"/>
          <p:cNvSpPr/>
          <p:nvPr/>
        </p:nvSpPr>
        <p:spPr>
          <a:xfrm>
            <a:off x="5421508" y="296447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8" name="object 40"/>
          <p:cNvSpPr/>
          <p:nvPr/>
        </p:nvSpPr>
        <p:spPr>
          <a:xfrm>
            <a:off x="5213120" y="49216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9" name="object 38"/>
          <p:cNvSpPr/>
          <p:nvPr/>
        </p:nvSpPr>
        <p:spPr>
          <a:xfrm>
            <a:off x="7032365" y="221911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0" name="object 36"/>
          <p:cNvSpPr/>
          <p:nvPr/>
        </p:nvSpPr>
        <p:spPr>
          <a:xfrm>
            <a:off x="7385165" y="340218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6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7"/>
                </a:lnTo>
                <a:lnTo>
                  <a:pt x="310251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1" name="object 34"/>
          <p:cNvSpPr/>
          <p:nvPr/>
        </p:nvSpPr>
        <p:spPr>
          <a:xfrm>
            <a:off x="5038354" y="24830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2" name="object 32"/>
          <p:cNvSpPr/>
          <p:nvPr/>
        </p:nvSpPr>
        <p:spPr>
          <a:xfrm>
            <a:off x="7192732" y="159327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3" name="object 30"/>
          <p:cNvSpPr/>
          <p:nvPr/>
        </p:nvSpPr>
        <p:spPr>
          <a:xfrm>
            <a:off x="6201572" y="316997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4" name="object 28"/>
          <p:cNvSpPr/>
          <p:nvPr/>
        </p:nvSpPr>
        <p:spPr>
          <a:xfrm>
            <a:off x="4877989" y="532865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57150">
            <a:solidFill>
              <a:srgbClr val="AAC56C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5" name="object 26"/>
          <p:cNvSpPr/>
          <p:nvPr/>
        </p:nvSpPr>
        <p:spPr>
          <a:xfrm>
            <a:off x="5581873" y="4521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57150">
            <a:solidFill>
              <a:srgbClr val="AAC56C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6" name="object 24"/>
          <p:cNvSpPr/>
          <p:nvPr/>
        </p:nvSpPr>
        <p:spPr>
          <a:xfrm>
            <a:off x="3528670" y="35173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7" name="object 22"/>
          <p:cNvSpPr/>
          <p:nvPr/>
        </p:nvSpPr>
        <p:spPr>
          <a:xfrm>
            <a:off x="3252845" y="520650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8" name="object 20"/>
          <p:cNvSpPr/>
          <p:nvPr/>
        </p:nvSpPr>
        <p:spPr>
          <a:xfrm>
            <a:off x="3849401" y="4051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9" name="object 18"/>
          <p:cNvSpPr/>
          <p:nvPr/>
        </p:nvSpPr>
        <p:spPr>
          <a:xfrm>
            <a:off x="6713687" y="269105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0" name="object 6"/>
          <p:cNvSpPr txBox="1"/>
          <p:nvPr/>
        </p:nvSpPr>
        <p:spPr>
          <a:xfrm>
            <a:off x="1332125" y="3759280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grpSp>
        <p:nvGrpSpPr>
          <p:cNvPr id="121" name="Group 120"/>
          <p:cNvGrpSpPr/>
          <p:nvPr/>
        </p:nvGrpSpPr>
        <p:grpSpPr>
          <a:xfrm>
            <a:off x="2383438" y="1888930"/>
            <a:ext cx="6303362" cy="4054670"/>
            <a:chOff x="2343901" y="1923700"/>
            <a:chExt cx="6303362" cy="4054670"/>
          </a:xfrm>
        </p:grpSpPr>
        <p:sp>
          <p:nvSpPr>
            <p:cNvPr id="122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123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" name="object 82"/>
          <p:cNvSpPr/>
          <p:nvPr/>
        </p:nvSpPr>
        <p:spPr>
          <a:xfrm>
            <a:off x="4414372" y="54871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2" name="object 84"/>
          <p:cNvSpPr/>
          <p:nvPr/>
        </p:nvSpPr>
        <p:spPr>
          <a:xfrm>
            <a:off x="5399747" y="55212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3" name="object 86"/>
          <p:cNvSpPr/>
          <p:nvPr/>
        </p:nvSpPr>
        <p:spPr>
          <a:xfrm>
            <a:off x="6251551" y="55023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4" name="object 74"/>
          <p:cNvSpPr/>
          <p:nvPr/>
        </p:nvSpPr>
        <p:spPr>
          <a:xfrm>
            <a:off x="2668469" y="519520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5" name="object 72"/>
          <p:cNvSpPr/>
          <p:nvPr/>
        </p:nvSpPr>
        <p:spPr>
          <a:xfrm>
            <a:off x="5959366" y="251737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40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80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6" name="object 70"/>
          <p:cNvSpPr/>
          <p:nvPr/>
        </p:nvSpPr>
        <p:spPr>
          <a:xfrm>
            <a:off x="5560113" y="213564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7" name="object 68"/>
          <p:cNvSpPr/>
          <p:nvPr/>
        </p:nvSpPr>
        <p:spPr>
          <a:xfrm>
            <a:off x="5148028" y="1723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8" name="object 66"/>
          <p:cNvSpPr/>
          <p:nvPr/>
        </p:nvSpPr>
        <p:spPr>
          <a:xfrm>
            <a:off x="6872003" y="34121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9" name="object 63"/>
          <p:cNvSpPr/>
          <p:nvPr/>
        </p:nvSpPr>
        <p:spPr>
          <a:xfrm>
            <a:off x="5880842" y="502152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6"/>
                </a:lnTo>
                <a:lnTo>
                  <a:pt x="1583" y="198179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6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2"/>
                </a:lnTo>
                <a:lnTo>
                  <a:pt x="49876" y="299561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6"/>
                </a:lnTo>
                <a:lnTo>
                  <a:pt x="196530" y="342926"/>
                </a:lnTo>
                <a:lnTo>
                  <a:pt x="209650" y="339004"/>
                </a:lnTo>
                <a:lnTo>
                  <a:pt x="222295" y="333936"/>
                </a:lnTo>
                <a:lnTo>
                  <a:pt x="234413" y="327778"/>
                </a:lnTo>
                <a:lnTo>
                  <a:pt x="245953" y="320583"/>
                </a:lnTo>
                <a:lnTo>
                  <a:pt x="256864" y="312409"/>
                </a:lnTo>
                <a:lnTo>
                  <a:pt x="267095" y="303311"/>
                </a:lnTo>
                <a:lnTo>
                  <a:pt x="276595" y="293343"/>
                </a:lnTo>
                <a:lnTo>
                  <a:pt x="285312" y="282562"/>
                </a:lnTo>
                <a:lnTo>
                  <a:pt x="293195" y="271023"/>
                </a:lnTo>
                <a:lnTo>
                  <a:pt x="300193" y="258781"/>
                </a:lnTo>
                <a:lnTo>
                  <a:pt x="306255" y="245892"/>
                </a:lnTo>
                <a:lnTo>
                  <a:pt x="311330" y="232411"/>
                </a:lnTo>
                <a:lnTo>
                  <a:pt x="315366" y="218394"/>
                </a:lnTo>
                <a:lnTo>
                  <a:pt x="318312" y="203896"/>
                </a:lnTo>
                <a:lnTo>
                  <a:pt x="320117" y="188973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9" y="93485"/>
                </a:lnTo>
                <a:lnTo>
                  <a:pt x="296006" y="80986"/>
                </a:lnTo>
                <a:lnTo>
                  <a:pt x="288459" y="69169"/>
                </a:lnTo>
                <a:lnTo>
                  <a:pt x="280058" y="58089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4"/>
                </a:lnTo>
                <a:lnTo>
                  <a:pt x="86318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0" name="object 62"/>
          <p:cNvSpPr/>
          <p:nvPr/>
        </p:nvSpPr>
        <p:spPr>
          <a:xfrm>
            <a:off x="4326962" y="34938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1" name="object 60"/>
          <p:cNvSpPr/>
          <p:nvPr/>
        </p:nvSpPr>
        <p:spPr>
          <a:xfrm>
            <a:off x="3451263" y="457102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2" name="object 58"/>
          <p:cNvSpPr/>
          <p:nvPr/>
        </p:nvSpPr>
        <p:spPr>
          <a:xfrm>
            <a:off x="7513462" y="204543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3" name="object 56"/>
          <p:cNvSpPr/>
          <p:nvPr/>
        </p:nvSpPr>
        <p:spPr>
          <a:xfrm>
            <a:off x="6553321" y="196196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4" name="object 54"/>
          <p:cNvSpPr/>
          <p:nvPr/>
        </p:nvSpPr>
        <p:spPr>
          <a:xfrm>
            <a:off x="7353097" y="275391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5" name="object 52"/>
          <p:cNvSpPr/>
          <p:nvPr/>
        </p:nvSpPr>
        <p:spPr>
          <a:xfrm>
            <a:off x="4696124" y="412086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6" name="object 50"/>
          <p:cNvSpPr/>
          <p:nvPr/>
        </p:nvSpPr>
        <p:spPr>
          <a:xfrm>
            <a:off x="4441297" y="46123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7" name="object 48"/>
          <p:cNvSpPr/>
          <p:nvPr/>
        </p:nvSpPr>
        <p:spPr>
          <a:xfrm>
            <a:off x="3130532" y="40499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8" name="object 42"/>
          <p:cNvSpPr/>
          <p:nvPr/>
        </p:nvSpPr>
        <p:spPr>
          <a:xfrm>
            <a:off x="5748103" y="33118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9" name="object 44"/>
          <p:cNvSpPr/>
          <p:nvPr/>
        </p:nvSpPr>
        <p:spPr>
          <a:xfrm>
            <a:off x="5560113" y="25802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0" name="object 46"/>
          <p:cNvSpPr/>
          <p:nvPr/>
        </p:nvSpPr>
        <p:spPr>
          <a:xfrm>
            <a:off x="5421508" y="296447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1" name="object 40"/>
          <p:cNvSpPr/>
          <p:nvPr/>
        </p:nvSpPr>
        <p:spPr>
          <a:xfrm>
            <a:off x="5213120" y="49216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2" name="object 38"/>
          <p:cNvSpPr/>
          <p:nvPr/>
        </p:nvSpPr>
        <p:spPr>
          <a:xfrm>
            <a:off x="7032365" y="221911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3" name="object 36"/>
          <p:cNvSpPr/>
          <p:nvPr/>
        </p:nvSpPr>
        <p:spPr>
          <a:xfrm>
            <a:off x="7385165" y="340218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6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7"/>
                </a:lnTo>
                <a:lnTo>
                  <a:pt x="310251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4" name="object 34"/>
          <p:cNvSpPr/>
          <p:nvPr/>
        </p:nvSpPr>
        <p:spPr>
          <a:xfrm>
            <a:off x="5038354" y="24830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5" name="object 32"/>
          <p:cNvSpPr/>
          <p:nvPr/>
        </p:nvSpPr>
        <p:spPr>
          <a:xfrm>
            <a:off x="7192732" y="159327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6" name="object 30"/>
          <p:cNvSpPr/>
          <p:nvPr/>
        </p:nvSpPr>
        <p:spPr>
          <a:xfrm>
            <a:off x="6201572" y="316997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7" name="object 28"/>
          <p:cNvSpPr/>
          <p:nvPr/>
        </p:nvSpPr>
        <p:spPr>
          <a:xfrm>
            <a:off x="4877989" y="532865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8" name="object 26"/>
          <p:cNvSpPr/>
          <p:nvPr/>
        </p:nvSpPr>
        <p:spPr>
          <a:xfrm>
            <a:off x="5581873" y="4521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9" name="object 24"/>
          <p:cNvSpPr/>
          <p:nvPr/>
        </p:nvSpPr>
        <p:spPr>
          <a:xfrm>
            <a:off x="3528670" y="35173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0" name="object 22"/>
          <p:cNvSpPr/>
          <p:nvPr/>
        </p:nvSpPr>
        <p:spPr>
          <a:xfrm>
            <a:off x="3252845" y="520650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1" name="object 20"/>
          <p:cNvSpPr/>
          <p:nvPr/>
        </p:nvSpPr>
        <p:spPr>
          <a:xfrm>
            <a:off x="3849401" y="4051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2" name="object 18"/>
          <p:cNvSpPr/>
          <p:nvPr/>
        </p:nvSpPr>
        <p:spPr>
          <a:xfrm>
            <a:off x="6713687" y="269105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3" name="object 6"/>
          <p:cNvSpPr txBox="1"/>
          <p:nvPr/>
        </p:nvSpPr>
        <p:spPr>
          <a:xfrm>
            <a:off x="1332125" y="3759280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sp>
        <p:nvSpPr>
          <p:cNvPr id="114" name="object 5"/>
          <p:cNvSpPr txBox="1"/>
          <p:nvPr/>
        </p:nvSpPr>
        <p:spPr>
          <a:xfrm>
            <a:off x="5426815" y="6116930"/>
            <a:ext cx="542241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Age</a:t>
            </a:r>
            <a:endParaRPr sz="2400">
              <a:cs typeface="Calibri"/>
            </a:endParaRPr>
          </a:p>
        </p:txBody>
      </p:sp>
      <p:grpSp>
        <p:nvGrpSpPr>
          <p:cNvPr id="115" name="Group 114"/>
          <p:cNvGrpSpPr/>
          <p:nvPr/>
        </p:nvGrpSpPr>
        <p:grpSpPr>
          <a:xfrm>
            <a:off x="2383438" y="1888930"/>
            <a:ext cx="6303362" cy="4054670"/>
            <a:chOff x="2343901" y="1923700"/>
            <a:chExt cx="6303362" cy="4054670"/>
          </a:xfrm>
        </p:grpSpPr>
        <p:sp>
          <p:nvSpPr>
            <p:cNvPr id="116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117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  <p:sp>
        <p:nvSpPr>
          <p:cNvPr id="118" name="object 10"/>
          <p:cNvSpPr txBox="1"/>
          <p:nvPr/>
        </p:nvSpPr>
        <p:spPr>
          <a:xfrm>
            <a:off x="2101916" y="369650"/>
            <a:ext cx="6296519" cy="4318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3400"/>
              </a:lnSpc>
              <a:spcBef>
                <a:spcPts val="170"/>
              </a:spcBef>
            </a:pPr>
            <a:r>
              <a:rPr lang="en-US" sz="4800" baseline="1706" dirty="0">
                <a:solidFill>
                  <a:srgbClr val="4E81BC"/>
                </a:solidFill>
                <a:latin typeface="+mj-lt"/>
                <a:cs typeface="Calibri"/>
              </a:rPr>
              <a:t>Agglomerative </a:t>
            </a:r>
            <a:r>
              <a:rPr sz="4800" spc="0" baseline="1706" dirty="0" smtClean="0">
                <a:solidFill>
                  <a:srgbClr val="4E81BC"/>
                </a:solidFill>
                <a:latin typeface="+mj-lt"/>
                <a:cs typeface="Calibri"/>
              </a:rPr>
              <a:t>Hierarchical Clustering</a:t>
            </a:r>
            <a:endParaRPr sz="3200" dirty="0">
              <a:latin typeface="+mj-lt"/>
              <a:cs typeface="Calibri"/>
            </a:endParaRPr>
          </a:p>
        </p:txBody>
      </p:sp>
      <p:sp>
        <p:nvSpPr>
          <p:cNvPr id="119" name="object 11"/>
          <p:cNvSpPr txBox="1"/>
          <p:nvPr/>
        </p:nvSpPr>
        <p:spPr>
          <a:xfrm>
            <a:off x="2101916" y="852250"/>
            <a:ext cx="6296519" cy="4318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3400"/>
              </a:lnSpc>
              <a:spcBef>
                <a:spcPts val="170"/>
              </a:spcBef>
            </a:pPr>
            <a:r>
              <a:rPr sz="4800" spc="0" baseline="1706" dirty="0" smtClean="0">
                <a:solidFill>
                  <a:srgbClr val="7F7E7E"/>
                </a:solidFill>
                <a:latin typeface="+mj-lt"/>
                <a:cs typeface="Calibri"/>
              </a:rPr>
              <a:t>Find</a:t>
            </a:r>
            <a:r>
              <a:rPr lang="en-US" sz="4800" spc="0" baseline="1706" dirty="0" smtClean="0">
                <a:solidFill>
                  <a:srgbClr val="7F7E7E"/>
                </a:solidFill>
                <a:latin typeface="+mj-lt"/>
                <a:cs typeface="Calibri"/>
              </a:rPr>
              <a:t> next closet pair, merge</a:t>
            </a:r>
            <a:endParaRPr sz="3200" dirty="0">
              <a:latin typeface="+mj-lt"/>
              <a:cs typeface="Calibri"/>
            </a:endParaRPr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" name="object 15"/>
          <p:cNvSpPr txBox="1"/>
          <p:nvPr/>
        </p:nvSpPr>
        <p:spPr>
          <a:xfrm>
            <a:off x="349882" y="365536"/>
            <a:ext cx="1351013" cy="5207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985"/>
              </a:lnSpc>
              <a:spcBef>
                <a:spcPts val="99"/>
              </a:spcBef>
            </a:pPr>
            <a:r>
              <a:rPr sz="2700" spc="0" baseline="3034" dirty="0" smtClean="0">
                <a:solidFill>
                  <a:srgbClr val="215867"/>
                </a:solidFill>
                <a:latin typeface="+mj-lt"/>
                <a:cs typeface="Calibri"/>
              </a:rPr>
              <a:t>epsilon = 1.75</a:t>
            </a:r>
            <a:endParaRPr sz="1800">
              <a:latin typeface="+mj-lt"/>
              <a:cs typeface="Calibri"/>
            </a:endParaRPr>
          </a:p>
          <a:p>
            <a:pPr marL="12700" marR="34289">
              <a:lnSpc>
                <a:spcPts val="2100"/>
              </a:lnSpc>
              <a:spcBef>
                <a:spcPts val="5"/>
              </a:spcBef>
            </a:pPr>
            <a:r>
              <a:rPr sz="2700" spc="0" baseline="1517" dirty="0" smtClean="0">
                <a:solidFill>
                  <a:srgbClr val="215867"/>
                </a:solidFill>
                <a:latin typeface="+mj-lt"/>
                <a:cs typeface="Calibri"/>
              </a:rPr>
              <a:t>n_clu = 3</a:t>
            </a:r>
            <a:endParaRPr sz="1800">
              <a:latin typeface="+mj-lt"/>
              <a:cs typeface="Calibri"/>
            </a:endParaRPr>
          </a:p>
        </p:txBody>
      </p:sp>
      <p:sp>
        <p:nvSpPr>
          <p:cNvPr id="85" name="object 5"/>
          <p:cNvSpPr txBox="1"/>
          <p:nvPr/>
        </p:nvSpPr>
        <p:spPr>
          <a:xfrm>
            <a:off x="2101916" y="365536"/>
            <a:ext cx="6889684" cy="807913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 marR="41909">
              <a:lnSpc>
                <a:spcPts val="3454"/>
              </a:lnSpc>
              <a:spcBef>
                <a:spcPts val="172"/>
              </a:spcBef>
            </a:pPr>
            <a:r>
              <a:rPr sz="4800" spc="0" baseline="2560" dirty="0" smtClean="0">
                <a:solidFill>
                  <a:srgbClr val="4E81BC"/>
                </a:solidFill>
                <a:latin typeface="+mj-lt"/>
                <a:cs typeface="Calibri"/>
              </a:rPr>
              <a:t>DBSC</a:t>
            </a:r>
            <a:r>
              <a:rPr sz="4800" spc="-4" baseline="2560" dirty="0" smtClean="0">
                <a:solidFill>
                  <a:srgbClr val="4E81BC"/>
                </a:solidFill>
                <a:latin typeface="+mj-lt"/>
                <a:cs typeface="Calibri"/>
              </a:rPr>
              <a:t>A</a:t>
            </a:r>
            <a:r>
              <a:rPr sz="4800" spc="0" baseline="2560" dirty="0" smtClean="0">
                <a:solidFill>
                  <a:srgbClr val="4E81BC"/>
                </a:solidFill>
                <a:latin typeface="+mj-lt"/>
                <a:cs typeface="Calibri"/>
              </a:rPr>
              <a:t>N</a:t>
            </a:r>
            <a:endParaRPr sz="3200" dirty="0">
              <a:latin typeface="+mj-lt"/>
              <a:cs typeface="Calibri"/>
            </a:endParaRPr>
          </a:p>
          <a:p>
            <a:pPr marL="12700">
              <a:lnSpc>
                <a:spcPts val="2770"/>
              </a:lnSpc>
            </a:pPr>
            <a:r>
              <a:rPr lang="en-US" sz="3200" baseline="1137" dirty="0" smtClean="0">
                <a:solidFill>
                  <a:srgbClr val="7F7E7E"/>
                </a:solidFill>
                <a:cs typeface="Calibri"/>
              </a:rPr>
              <a:t>Keep adding neighbors within </a:t>
            </a:r>
            <a:r>
              <a:rPr lang="en-US" sz="3200" i="1" baseline="1137" dirty="0" smtClean="0">
                <a:solidFill>
                  <a:srgbClr val="7F7E7E"/>
                </a:solidFill>
                <a:cs typeface="Calibri"/>
              </a:rPr>
              <a:t>epsilon </a:t>
            </a:r>
            <a:r>
              <a:rPr lang="en-US" sz="3200" baseline="1137" dirty="0" smtClean="0">
                <a:solidFill>
                  <a:srgbClr val="7F7E7E"/>
                </a:solidFill>
                <a:cs typeface="Calibri"/>
              </a:rPr>
              <a:t>as chain reaction</a:t>
            </a:r>
            <a:endParaRPr lang="en-US" sz="3200" i="1" baseline="1137" dirty="0">
              <a:solidFill>
                <a:srgbClr val="7F7E7E"/>
              </a:solidFill>
              <a:cs typeface="Calibri"/>
            </a:endParaRPr>
          </a:p>
        </p:txBody>
      </p:sp>
      <p:sp>
        <p:nvSpPr>
          <p:cNvPr id="86" name="object 3"/>
          <p:cNvSpPr txBox="1"/>
          <p:nvPr/>
        </p:nvSpPr>
        <p:spPr>
          <a:xfrm>
            <a:off x="5426815" y="6116930"/>
            <a:ext cx="542241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latin typeface="Calibri"/>
                <a:cs typeface="Calibri"/>
              </a:rPr>
              <a:t>Age</a:t>
            </a:r>
            <a:endParaRPr sz="2400">
              <a:latin typeface="Calibri"/>
              <a:cs typeface="Calibri"/>
            </a:endParaRPr>
          </a:p>
        </p:txBody>
      </p:sp>
      <p:sp>
        <p:nvSpPr>
          <p:cNvPr id="87" name="object 66"/>
          <p:cNvSpPr/>
          <p:nvPr/>
        </p:nvSpPr>
        <p:spPr>
          <a:xfrm>
            <a:off x="5547621" y="4775480"/>
            <a:ext cx="1810252" cy="1760707"/>
          </a:xfrm>
          <a:custGeom>
            <a:avLst/>
            <a:gdLst/>
            <a:ahLst/>
            <a:cxnLst/>
            <a:rect l="l" t="t" r="r" b="b"/>
            <a:pathLst>
              <a:path w="1810252" h="1760707">
                <a:moveTo>
                  <a:pt x="0" y="880353"/>
                </a:moveTo>
                <a:lnTo>
                  <a:pt x="3000" y="952556"/>
                </a:lnTo>
                <a:lnTo>
                  <a:pt x="11846" y="1023151"/>
                </a:lnTo>
                <a:lnTo>
                  <a:pt x="26305" y="1091913"/>
                </a:lnTo>
                <a:lnTo>
                  <a:pt x="46143" y="1158614"/>
                </a:lnTo>
                <a:lnTo>
                  <a:pt x="71129" y="1223027"/>
                </a:lnTo>
                <a:lnTo>
                  <a:pt x="101028" y="1284927"/>
                </a:lnTo>
                <a:lnTo>
                  <a:pt x="135608" y="1344087"/>
                </a:lnTo>
                <a:lnTo>
                  <a:pt x="174636" y="1400279"/>
                </a:lnTo>
                <a:lnTo>
                  <a:pt x="217880" y="1453279"/>
                </a:lnTo>
                <a:lnTo>
                  <a:pt x="265105" y="1502858"/>
                </a:lnTo>
                <a:lnTo>
                  <a:pt x="316079" y="1548791"/>
                </a:lnTo>
                <a:lnTo>
                  <a:pt x="370570" y="1590850"/>
                </a:lnTo>
                <a:lnTo>
                  <a:pt x="428344" y="1628810"/>
                </a:lnTo>
                <a:lnTo>
                  <a:pt x="489168" y="1662444"/>
                </a:lnTo>
                <a:lnTo>
                  <a:pt x="552810" y="1691525"/>
                </a:lnTo>
                <a:lnTo>
                  <a:pt x="619036" y="1715826"/>
                </a:lnTo>
                <a:lnTo>
                  <a:pt x="687614" y="1735122"/>
                </a:lnTo>
                <a:lnTo>
                  <a:pt x="758310" y="1749185"/>
                </a:lnTo>
                <a:lnTo>
                  <a:pt x="830892" y="1757789"/>
                </a:lnTo>
                <a:lnTo>
                  <a:pt x="905126" y="1760707"/>
                </a:lnTo>
                <a:lnTo>
                  <a:pt x="979361" y="1757789"/>
                </a:lnTo>
                <a:lnTo>
                  <a:pt x="1051942" y="1749185"/>
                </a:lnTo>
                <a:lnTo>
                  <a:pt x="1122639" y="1735122"/>
                </a:lnTo>
                <a:lnTo>
                  <a:pt x="1191216" y="1715826"/>
                </a:lnTo>
                <a:lnTo>
                  <a:pt x="1257442" y="1691525"/>
                </a:lnTo>
                <a:lnTo>
                  <a:pt x="1321084" y="1662444"/>
                </a:lnTo>
                <a:lnTo>
                  <a:pt x="1381908" y="1628810"/>
                </a:lnTo>
                <a:lnTo>
                  <a:pt x="1439682" y="1590850"/>
                </a:lnTo>
                <a:lnTo>
                  <a:pt x="1494173" y="1548791"/>
                </a:lnTo>
                <a:lnTo>
                  <a:pt x="1545147" y="1502858"/>
                </a:lnTo>
                <a:lnTo>
                  <a:pt x="1592373" y="1453279"/>
                </a:lnTo>
                <a:lnTo>
                  <a:pt x="1635616" y="1400279"/>
                </a:lnTo>
                <a:lnTo>
                  <a:pt x="1674644" y="1344087"/>
                </a:lnTo>
                <a:lnTo>
                  <a:pt x="1709224" y="1284927"/>
                </a:lnTo>
                <a:lnTo>
                  <a:pt x="1739123" y="1223027"/>
                </a:lnTo>
                <a:lnTo>
                  <a:pt x="1764109" y="1158614"/>
                </a:lnTo>
                <a:lnTo>
                  <a:pt x="1783947" y="1091913"/>
                </a:lnTo>
                <a:lnTo>
                  <a:pt x="1798406" y="1023151"/>
                </a:lnTo>
                <a:lnTo>
                  <a:pt x="1807252" y="952556"/>
                </a:lnTo>
                <a:lnTo>
                  <a:pt x="1810252" y="880353"/>
                </a:lnTo>
                <a:lnTo>
                  <a:pt x="1807252" y="808151"/>
                </a:lnTo>
                <a:lnTo>
                  <a:pt x="1798406" y="737555"/>
                </a:lnTo>
                <a:lnTo>
                  <a:pt x="1783947" y="668794"/>
                </a:lnTo>
                <a:lnTo>
                  <a:pt x="1764109" y="602094"/>
                </a:lnTo>
                <a:lnTo>
                  <a:pt x="1739123" y="537680"/>
                </a:lnTo>
                <a:lnTo>
                  <a:pt x="1709224" y="475780"/>
                </a:lnTo>
                <a:lnTo>
                  <a:pt x="1674644" y="416621"/>
                </a:lnTo>
                <a:lnTo>
                  <a:pt x="1635616" y="360428"/>
                </a:lnTo>
                <a:lnTo>
                  <a:pt x="1592373" y="307429"/>
                </a:lnTo>
                <a:lnTo>
                  <a:pt x="1545147" y="257849"/>
                </a:lnTo>
                <a:lnTo>
                  <a:pt x="1494173" y="211917"/>
                </a:lnTo>
                <a:lnTo>
                  <a:pt x="1439682" y="169857"/>
                </a:lnTo>
                <a:lnTo>
                  <a:pt x="1381908" y="131897"/>
                </a:lnTo>
                <a:lnTo>
                  <a:pt x="1321084" y="98263"/>
                </a:lnTo>
                <a:lnTo>
                  <a:pt x="1257442" y="69182"/>
                </a:lnTo>
                <a:lnTo>
                  <a:pt x="1191216" y="44881"/>
                </a:lnTo>
                <a:lnTo>
                  <a:pt x="1122639" y="25585"/>
                </a:lnTo>
                <a:lnTo>
                  <a:pt x="1051942" y="11522"/>
                </a:lnTo>
                <a:lnTo>
                  <a:pt x="979361" y="2918"/>
                </a:lnTo>
                <a:lnTo>
                  <a:pt x="905126" y="0"/>
                </a:lnTo>
                <a:lnTo>
                  <a:pt x="830892" y="2918"/>
                </a:lnTo>
                <a:lnTo>
                  <a:pt x="758310" y="11522"/>
                </a:lnTo>
                <a:lnTo>
                  <a:pt x="687614" y="25585"/>
                </a:lnTo>
                <a:lnTo>
                  <a:pt x="619036" y="44881"/>
                </a:lnTo>
                <a:lnTo>
                  <a:pt x="552810" y="69182"/>
                </a:lnTo>
                <a:lnTo>
                  <a:pt x="489168" y="98263"/>
                </a:lnTo>
                <a:lnTo>
                  <a:pt x="428344" y="131897"/>
                </a:lnTo>
                <a:lnTo>
                  <a:pt x="370570" y="169857"/>
                </a:lnTo>
                <a:lnTo>
                  <a:pt x="316079" y="211917"/>
                </a:lnTo>
                <a:lnTo>
                  <a:pt x="265105" y="257849"/>
                </a:lnTo>
                <a:lnTo>
                  <a:pt x="217880" y="307429"/>
                </a:lnTo>
                <a:lnTo>
                  <a:pt x="174636" y="360428"/>
                </a:lnTo>
                <a:lnTo>
                  <a:pt x="135608" y="416621"/>
                </a:lnTo>
                <a:lnTo>
                  <a:pt x="101028" y="475780"/>
                </a:lnTo>
                <a:lnTo>
                  <a:pt x="71129" y="537680"/>
                </a:lnTo>
                <a:lnTo>
                  <a:pt x="46143" y="602094"/>
                </a:lnTo>
                <a:lnTo>
                  <a:pt x="26305" y="668794"/>
                </a:lnTo>
                <a:lnTo>
                  <a:pt x="11846" y="737555"/>
                </a:lnTo>
                <a:lnTo>
                  <a:pt x="3000" y="808151"/>
                </a:lnTo>
                <a:lnTo>
                  <a:pt x="0" y="880353"/>
                </a:lnTo>
                <a:close/>
              </a:path>
            </a:pathLst>
          </a:custGeom>
          <a:solidFill>
            <a:srgbClr val="83984F">
              <a:alpha val="50000"/>
            </a:srgbClr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8" name="object 82"/>
          <p:cNvSpPr/>
          <p:nvPr/>
        </p:nvSpPr>
        <p:spPr>
          <a:xfrm>
            <a:off x="4414372" y="54871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9" name="object 84"/>
          <p:cNvSpPr/>
          <p:nvPr/>
        </p:nvSpPr>
        <p:spPr>
          <a:xfrm>
            <a:off x="5399747" y="55212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0" name="object 86"/>
          <p:cNvSpPr/>
          <p:nvPr/>
        </p:nvSpPr>
        <p:spPr>
          <a:xfrm>
            <a:off x="6251551" y="55023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1" name="object 74"/>
          <p:cNvSpPr/>
          <p:nvPr/>
        </p:nvSpPr>
        <p:spPr>
          <a:xfrm>
            <a:off x="2668469" y="519520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2" name="object 72"/>
          <p:cNvSpPr/>
          <p:nvPr/>
        </p:nvSpPr>
        <p:spPr>
          <a:xfrm>
            <a:off x="5959366" y="251737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40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80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3" name="object 70"/>
          <p:cNvSpPr/>
          <p:nvPr/>
        </p:nvSpPr>
        <p:spPr>
          <a:xfrm>
            <a:off x="5560113" y="213564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4" name="object 68"/>
          <p:cNvSpPr/>
          <p:nvPr/>
        </p:nvSpPr>
        <p:spPr>
          <a:xfrm>
            <a:off x="5148028" y="1723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5" name="object 66"/>
          <p:cNvSpPr/>
          <p:nvPr/>
        </p:nvSpPr>
        <p:spPr>
          <a:xfrm>
            <a:off x="6872003" y="34121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6" name="object 63"/>
          <p:cNvSpPr/>
          <p:nvPr/>
        </p:nvSpPr>
        <p:spPr>
          <a:xfrm>
            <a:off x="5880842" y="502152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6"/>
                </a:lnTo>
                <a:lnTo>
                  <a:pt x="1583" y="198179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6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2"/>
                </a:lnTo>
                <a:lnTo>
                  <a:pt x="49876" y="299561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6"/>
                </a:lnTo>
                <a:lnTo>
                  <a:pt x="196530" y="342926"/>
                </a:lnTo>
                <a:lnTo>
                  <a:pt x="209650" y="339004"/>
                </a:lnTo>
                <a:lnTo>
                  <a:pt x="222295" y="333936"/>
                </a:lnTo>
                <a:lnTo>
                  <a:pt x="234413" y="327778"/>
                </a:lnTo>
                <a:lnTo>
                  <a:pt x="245953" y="320583"/>
                </a:lnTo>
                <a:lnTo>
                  <a:pt x="256864" y="312409"/>
                </a:lnTo>
                <a:lnTo>
                  <a:pt x="267095" y="303311"/>
                </a:lnTo>
                <a:lnTo>
                  <a:pt x="276595" y="293343"/>
                </a:lnTo>
                <a:lnTo>
                  <a:pt x="285312" y="282562"/>
                </a:lnTo>
                <a:lnTo>
                  <a:pt x="293195" y="271023"/>
                </a:lnTo>
                <a:lnTo>
                  <a:pt x="300193" y="258781"/>
                </a:lnTo>
                <a:lnTo>
                  <a:pt x="306255" y="245892"/>
                </a:lnTo>
                <a:lnTo>
                  <a:pt x="311330" y="232411"/>
                </a:lnTo>
                <a:lnTo>
                  <a:pt x="315366" y="218394"/>
                </a:lnTo>
                <a:lnTo>
                  <a:pt x="318312" y="203896"/>
                </a:lnTo>
                <a:lnTo>
                  <a:pt x="320117" y="188973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9" y="93485"/>
                </a:lnTo>
                <a:lnTo>
                  <a:pt x="296006" y="80986"/>
                </a:lnTo>
                <a:lnTo>
                  <a:pt x="288459" y="69169"/>
                </a:lnTo>
                <a:lnTo>
                  <a:pt x="280058" y="58089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4"/>
                </a:lnTo>
                <a:lnTo>
                  <a:pt x="86318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7" name="object 62"/>
          <p:cNvSpPr/>
          <p:nvPr/>
        </p:nvSpPr>
        <p:spPr>
          <a:xfrm>
            <a:off x="4326962" y="34938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8" name="object 60"/>
          <p:cNvSpPr/>
          <p:nvPr/>
        </p:nvSpPr>
        <p:spPr>
          <a:xfrm>
            <a:off x="3451263" y="457102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9" name="object 58"/>
          <p:cNvSpPr/>
          <p:nvPr/>
        </p:nvSpPr>
        <p:spPr>
          <a:xfrm>
            <a:off x="7513462" y="204543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0" name="object 56"/>
          <p:cNvSpPr/>
          <p:nvPr/>
        </p:nvSpPr>
        <p:spPr>
          <a:xfrm>
            <a:off x="6553321" y="196196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1" name="object 54"/>
          <p:cNvSpPr/>
          <p:nvPr/>
        </p:nvSpPr>
        <p:spPr>
          <a:xfrm>
            <a:off x="7353097" y="275391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2" name="object 52"/>
          <p:cNvSpPr/>
          <p:nvPr/>
        </p:nvSpPr>
        <p:spPr>
          <a:xfrm>
            <a:off x="4696124" y="412086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3" name="object 50"/>
          <p:cNvSpPr/>
          <p:nvPr/>
        </p:nvSpPr>
        <p:spPr>
          <a:xfrm>
            <a:off x="4441297" y="46123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57150">
            <a:solidFill>
              <a:srgbClr val="AAC56C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4" name="object 48"/>
          <p:cNvSpPr/>
          <p:nvPr/>
        </p:nvSpPr>
        <p:spPr>
          <a:xfrm>
            <a:off x="3130532" y="40499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5" name="object 42"/>
          <p:cNvSpPr/>
          <p:nvPr/>
        </p:nvSpPr>
        <p:spPr>
          <a:xfrm>
            <a:off x="5748103" y="33118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6" name="object 44"/>
          <p:cNvSpPr/>
          <p:nvPr/>
        </p:nvSpPr>
        <p:spPr>
          <a:xfrm>
            <a:off x="5560113" y="25802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7" name="object 46"/>
          <p:cNvSpPr/>
          <p:nvPr/>
        </p:nvSpPr>
        <p:spPr>
          <a:xfrm>
            <a:off x="5421508" y="296447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8" name="object 40"/>
          <p:cNvSpPr/>
          <p:nvPr/>
        </p:nvSpPr>
        <p:spPr>
          <a:xfrm>
            <a:off x="5213120" y="49216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9" name="object 38"/>
          <p:cNvSpPr/>
          <p:nvPr/>
        </p:nvSpPr>
        <p:spPr>
          <a:xfrm>
            <a:off x="7032365" y="221911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0" name="object 36"/>
          <p:cNvSpPr/>
          <p:nvPr/>
        </p:nvSpPr>
        <p:spPr>
          <a:xfrm>
            <a:off x="7385165" y="340218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6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7"/>
                </a:lnTo>
                <a:lnTo>
                  <a:pt x="310251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1" name="object 34"/>
          <p:cNvSpPr/>
          <p:nvPr/>
        </p:nvSpPr>
        <p:spPr>
          <a:xfrm>
            <a:off x="5038354" y="24830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2" name="object 32"/>
          <p:cNvSpPr/>
          <p:nvPr/>
        </p:nvSpPr>
        <p:spPr>
          <a:xfrm>
            <a:off x="7192732" y="159327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3" name="object 30"/>
          <p:cNvSpPr/>
          <p:nvPr/>
        </p:nvSpPr>
        <p:spPr>
          <a:xfrm>
            <a:off x="6201572" y="316997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4" name="object 28"/>
          <p:cNvSpPr/>
          <p:nvPr/>
        </p:nvSpPr>
        <p:spPr>
          <a:xfrm>
            <a:off x="4877989" y="532865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57150">
            <a:solidFill>
              <a:srgbClr val="AAC56C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5" name="object 26"/>
          <p:cNvSpPr/>
          <p:nvPr/>
        </p:nvSpPr>
        <p:spPr>
          <a:xfrm>
            <a:off x="5581873" y="4521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57150">
            <a:solidFill>
              <a:srgbClr val="AAC56C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6" name="object 24"/>
          <p:cNvSpPr/>
          <p:nvPr/>
        </p:nvSpPr>
        <p:spPr>
          <a:xfrm>
            <a:off x="3528670" y="35173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7" name="object 22"/>
          <p:cNvSpPr/>
          <p:nvPr/>
        </p:nvSpPr>
        <p:spPr>
          <a:xfrm>
            <a:off x="3252845" y="520650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8" name="object 20"/>
          <p:cNvSpPr/>
          <p:nvPr/>
        </p:nvSpPr>
        <p:spPr>
          <a:xfrm>
            <a:off x="3849401" y="4051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9" name="object 18"/>
          <p:cNvSpPr/>
          <p:nvPr/>
        </p:nvSpPr>
        <p:spPr>
          <a:xfrm>
            <a:off x="6713687" y="269105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0" name="object 6"/>
          <p:cNvSpPr txBox="1"/>
          <p:nvPr/>
        </p:nvSpPr>
        <p:spPr>
          <a:xfrm>
            <a:off x="1332125" y="3759280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grpSp>
        <p:nvGrpSpPr>
          <p:cNvPr id="121" name="Group 120"/>
          <p:cNvGrpSpPr/>
          <p:nvPr/>
        </p:nvGrpSpPr>
        <p:grpSpPr>
          <a:xfrm>
            <a:off x="2383438" y="1888930"/>
            <a:ext cx="6303362" cy="4054670"/>
            <a:chOff x="2343901" y="1923700"/>
            <a:chExt cx="6303362" cy="4054670"/>
          </a:xfrm>
        </p:grpSpPr>
        <p:sp>
          <p:nvSpPr>
            <p:cNvPr id="122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123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" name="object 3"/>
          <p:cNvSpPr txBox="1"/>
          <p:nvPr/>
        </p:nvSpPr>
        <p:spPr>
          <a:xfrm>
            <a:off x="5426815" y="6116930"/>
            <a:ext cx="542241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latin typeface="Calibri"/>
                <a:cs typeface="Calibri"/>
              </a:rPr>
              <a:t>Age</a:t>
            </a:r>
            <a:endParaRPr sz="2400">
              <a:latin typeface="Calibri"/>
              <a:cs typeface="Calibri"/>
            </a:endParaRPr>
          </a:p>
        </p:txBody>
      </p:sp>
      <p:sp>
        <p:nvSpPr>
          <p:cNvPr id="85" name="object 66"/>
          <p:cNvSpPr/>
          <p:nvPr/>
        </p:nvSpPr>
        <p:spPr>
          <a:xfrm>
            <a:off x="4158805" y="4695347"/>
            <a:ext cx="1810252" cy="1760707"/>
          </a:xfrm>
          <a:custGeom>
            <a:avLst/>
            <a:gdLst/>
            <a:ahLst/>
            <a:cxnLst/>
            <a:rect l="l" t="t" r="r" b="b"/>
            <a:pathLst>
              <a:path w="1810252" h="1760707">
                <a:moveTo>
                  <a:pt x="0" y="880353"/>
                </a:moveTo>
                <a:lnTo>
                  <a:pt x="3000" y="952556"/>
                </a:lnTo>
                <a:lnTo>
                  <a:pt x="11846" y="1023151"/>
                </a:lnTo>
                <a:lnTo>
                  <a:pt x="26305" y="1091913"/>
                </a:lnTo>
                <a:lnTo>
                  <a:pt x="46143" y="1158614"/>
                </a:lnTo>
                <a:lnTo>
                  <a:pt x="71129" y="1223027"/>
                </a:lnTo>
                <a:lnTo>
                  <a:pt x="101028" y="1284927"/>
                </a:lnTo>
                <a:lnTo>
                  <a:pt x="135608" y="1344087"/>
                </a:lnTo>
                <a:lnTo>
                  <a:pt x="174636" y="1400279"/>
                </a:lnTo>
                <a:lnTo>
                  <a:pt x="217880" y="1453279"/>
                </a:lnTo>
                <a:lnTo>
                  <a:pt x="265105" y="1502858"/>
                </a:lnTo>
                <a:lnTo>
                  <a:pt x="316079" y="1548791"/>
                </a:lnTo>
                <a:lnTo>
                  <a:pt x="370570" y="1590850"/>
                </a:lnTo>
                <a:lnTo>
                  <a:pt x="428344" y="1628810"/>
                </a:lnTo>
                <a:lnTo>
                  <a:pt x="489168" y="1662444"/>
                </a:lnTo>
                <a:lnTo>
                  <a:pt x="552810" y="1691525"/>
                </a:lnTo>
                <a:lnTo>
                  <a:pt x="619036" y="1715826"/>
                </a:lnTo>
                <a:lnTo>
                  <a:pt x="687614" y="1735122"/>
                </a:lnTo>
                <a:lnTo>
                  <a:pt x="758310" y="1749185"/>
                </a:lnTo>
                <a:lnTo>
                  <a:pt x="830892" y="1757789"/>
                </a:lnTo>
                <a:lnTo>
                  <a:pt x="905126" y="1760707"/>
                </a:lnTo>
                <a:lnTo>
                  <a:pt x="979361" y="1757789"/>
                </a:lnTo>
                <a:lnTo>
                  <a:pt x="1051942" y="1749185"/>
                </a:lnTo>
                <a:lnTo>
                  <a:pt x="1122639" y="1735122"/>
                </a:lnTo>
                <a:lnTo>
                  <a:pt x="1191216" y="1715826"/>
                </a:lnTo>
                <a:lnTo>
                  <a:pt x="1257442" y="1691525"/>
                </a:lnTo>
                <a:lnTo>
                  <a:pt x="1321084" y="1662444"/>
                </a:lnTo>
                <a:lnTo>
                  <a:pt x="1381908" y="1628810"/>
                </a:lnTo>
                <a:lnTo>
                  <a:pt x="1439682" y="1590850"/>
                </a:lnTo>
                <a:lnTo>
                  <a:pt x="1494173" y="1548791"/>
                </a:lnTo>
                <a:lnTo>
                  <a:pt x="1545147" y="1502858"/>
                </a:lnTo>
                <a:lnTo>
                  <a:pt x="1592373" y="1453279"/>
                </a:lnTo>
                <a:lnTo>
                  <a:pt x="1635616" y="1400279"/>
                </a:lnTo>
                <a:lnTo>
                  <a:pt x="1674644" y="1344087"/>
                </a:lnTo>
                <a:lnTo>
                  <a:pt x="1709224" y="1284927"/>
                </a:lnTo>
                <a:lnTo>
                  <a:pt x="1739123" y="1223027"/>
                </a:lnTo>
                <a:lnTo>
                  <a:pt x="1764109" y="1158614"/>
                </a:lnTo>
                <a:lnTo>
                  <a:pt x="1783947" y="1091913"/>
                </a:lnTo>
                <a:lnTo>
                  <a:pt x="1798406" y="1023151"/>
                </a:lnTo>
                <a:lnTo>
                  <a:pt x="1807252" y="952556"/>
                </a:lnTo>
                <a:lnTo>
                  <a:pt x="1810252" y="880353"/>
                </a:lnTo>
                <a:lnTo>
                  <a:pt x="1807252" y="808151"/>
                </a:lnTo>
                <a:lnTo>
                  <a:pt x="1798406" y="737555"/>
                </a:lnTo>
                <a:lnTo>
                  <a:pt x="1783947" y="668794"/>
                </a:lnTo>
                <a:lnTo>
                  <a:pt x="1764109" y="602094"/>
                </a:lnTo>
                <a:lnTo>
                  <a:pt x="1739123" y="537680"/>
                </a:lnTo>
                <a:lnTo>
                  <a:pt x="1709224" y="475780"/>
                </a:lnTo>
                <a:lnTo>
                  <a:pt x="1674644" y="416621"/>
                </a:lnTo>
                <a:lnTo>
                  <a:pt x="1635616" y="360428"/>
                </a:lnTo>
                <a:lnTo>
                  <a:pt x="1592373" y="307429"/>
                </a:lnTo>
                <a:lnTo>
                  <a:pt x="1545147" y="257849"/>
                </a:lnTo>
                <a:lnTo>
                  <a:pt x="1494173" y="211917"/>
                </a:lnTo>
                <a:lnTo>
                  <a:pt x="1439682" y="169857"/>
                </a:lnTo>
                <a:lnTo>
                  <a:pt x="1381908" y="131897"/>
                </a:lnTo>
                <a:lnTo>
                  <a:pt x="1321084" y="98263"/>
                </a:lnTo>
                <a:lnTo>
                  <a:pt x="1257442" y="69182"/>
                </a:lnTo>
                <a:lnTo>
                  <a:pt x="1191216" y="44881"/>
                </a:lnTo>
                <a:lnTo>
                  <a:pt x="1122639" y="25585"/>
                </a:lnTo>
                <a:lnTo>
                  <a:pt x="1051942" y="11522"/>
                </a:lnTo>
                <a:lnTo>
                  <a:pt x="979361" y="2918"/>
                </a:lnTo>
                <a:lnTo>
                  <a:pt x="905126" y="0"/>
                </a:lnTo>
                <a:lnTo>
                  <a:pt x="830892" y="2918"/>
                </a:lnTo>
                <a:lnTo>
                  <a:pt x="758310" y="11522"/>
                </a:lnTo>
                <a:lnTo>
                  <a:pt x="687614" y="25585"/>
                </a:lnTo>
                <a:lnTo>
                  <a:pt x="619036" y="44881"/>
                </a:lnTo>
                <a:lnTo>
                  <a:pt x="552810" y="69182"/>
                </a:lnTo>
                <a:lnTo>
                  <a:pt x="489168" y="98263"/>
                </a:lnTo>
                <a:lnTo>
                  <a:pt x="428344" y="131897"/>
                </a:lnTo>
                <a:lnTo>
                  <a:pt x="370570" y="169857"/>
                </a:lnTo>
                <a:lnTo>
                  <a:pt x="316079" y="211917"/>
                </a:lnTo>
                <a:lnTo>
                  <a:pt x="265105" y="257849"/>
                </a:lnTo>
                <a:lnTo>
                  <a:pt x="217880" y="307429"/>
                </a:lnTo>
                <a:lnTo>
                  <a:pt x="174636" y="360428"/>
                </a:lnTo>
                <a:lnTo>
                  <a:pt x="135608" y="416621"/>
                </a:lnTo>
                <a:lnTo>
                  <a:pt x="101028" y="475780"/>
                </a:lnTo>
                <a:lnTo>
                  <a:pt x="71129" y="537680"/>
                </a:lnTo>
                <a:lnTo>
                  <a:pt x="46143" y="602094"/>
                </a:lnTo>
                <a:lnTo>
                  <a:pt x="26305" y="668794"/>
                </a:lnTo>
                <a:lnTo>
                  <a:pt x="11846" y="737555"/>
                </a:lnTo>
                <a:lnTo>
                  <a:pt x="3000" y="808151"/>
                </a:lnTo>
                <a:lnTo>
                  <a:pt x="0" y="880353"/>
                </a:lnTo>
                <a:close/>
              </a:path>
            </a:pathLst>
          </a:custGeom>
          <a:solidFill>
            <a:srgbClr val="83984F">
              <a:alpha val="50000"/>
            </a:srgbClr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6" name="object 82"/>
          <p:cNvSpPr/>
          <p:nvPr/>
        </p:nvSpPr>
        <p:spPr>
          <a:xfrm>
            <a:off x="4414372" y="54871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57150">
            <a:solidFill>
              <a:srgbClr val="AAC56C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7" name="object 84"/>
          <p:cNvSpPr/>
          <p:nvPr/>
        </p:nvSpPr>
        <p:spPr>
          <a:xfrm>
            <a:off x="5399747" y="55212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8" name="object 86"/>
          <p:cNvSpPr/>
          <p:nvPr/>
        </p:nvSpPr>
        <p:spPr>
          <a:xfrm>
            <a:off x="6251551" y="55023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9" name="object 74"/>
          <p:cNvSpPr/>
          <p:nvPr/>
        </p:nvSpPr>
        <p:spPr>
          <a:xfrm>
            <a:off x="2668469" y="519520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0" name="object 72"/>
          <p:cNvSpPr/>
          <p:nvPr/>
        </p:nvSpPr>
        <p:spPr>
          <a:xfrm>
            <a:off x="5959366" y="251737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40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80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1" name="object 70"/>
          <p:cNvSpPr/>
          <p:nvPr/>
        </p:nvSpPr>
        <p:spPr>
          <a:xfrm>
            <a:off x="5560113" y="213564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2" name="object 68"/>
          <p:cNvSpPr/>
          <p:nvPr/>
        </p:nvSpPr>
        <p:spPr>
          <a:xfrm>
            <a:off x="5148028" y="1723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3" name="object 66"/>
          <p:cNvSpPr/>
          <p:nvPr/>
        </p:nvSpPr>
        <p:spPr>
          <a:xfrm>
            <a:off x="6872003" y="34121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4" name="object 63"/>
          <p:cNvSpPr/>
          <p:nvPr/>
        </p:nvSpPr>
        <p:spPr>
          <a:xfrm>
            <a:off x="5880842" y="502152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6"/>
                </a:lnTo>
                <a:lnTo>
                  <a:pt x="1583" y="198179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6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2"/>
                </a:lnTo>
                <a:lnTo>
                  <a:pt x="49876" y="299561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6"/>
                </a:lnTo>
                <a:lnTo>
                  <a:pt x="196530" y="342926"/>
                </a:lnTo>
                <a:lnTo>
                  <a:pt x="209650" y="339004"/>
                </a:lnTo>
                <a:lnTo>
                  <a:pt x="222295" y="333936"/>
                </a:lnTo>
                <a:lnTo>
                  <a:pt x="234413" y="327778"/>
                </a:lnTo>
                <a:lnTo>
                  <a:pt x="245953" y="320583"/>
                </a:lnTo>
                <a:lnTo>
                  <a:pt x="256864" y="312409"/>
                </a:lnTo>
                <a:lnTo>
                  <a:pt x="267095" y="303311"/>
                </a:lnTo>
                <a:lnTo>
                  <a:pt x="276595" y="293343"/>
                </a:lnTo>
                <a:lnTo>
                  <a:pt x="285312" y="282562"/>
                </a:lnTo>
                <a:lnTo>
                  <a:pt x="293195" y="271023"/>
                </a:lnTo>
                <a:lnTo>
                  <a:pt x="300193" y="258781"/>
                </a:lnTo>
                <a:lnTo>
                  <a:pt x="306255" y="245892"/>
                </a:lnTo>
                <a:lnTo>
                  <a:pt x="311330" y="232411"/>
                </a:lnTo>
                <a:lnTo>
                  <a:pt x="315366" y="218394"/>
                </a:lnTo>
                <a:lnTo>
                  <a:pt x="318312" y="203896"/>
                </a:lnTo>
                <a:lnTo>
                  <a:pt x="320117" y="188973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9" y="93485"/>
                </a:lnTo>
                <a:lnTo>
                  <a:pt x="296006" y="80986"/>
                </a:lnTo>
                <a:lnTo>
                  <a:pt x="288459" y="69169"/>
                </a:lnTo>
                <a:lnTo>
                  <a:pt x="280058" y="58089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4"/>
                </a:lnTo>
                <a:lnTo>
                  <a:pt x="86318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5" name="object 62"/>
          <p:cNvSpPr/>
          <p:nvPr/>
        </p:nvSpPr>
        <p:spPr>
          <a:xfrm>
            <a:off x="4326962" y="34938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6" name="object 60"/>
          <p:cNvSpPr/>
          <p:nvPr/>
        </p:nvSpPr>
        <p:spPr>
          <a:xfrm>
            <a:off x="3451263" y="457102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7" name="object 58"/>
          <p:cNvSpPr/>
          <p:nvPr/>
        </p:nvSpPr>
        <p:spPr>
          <a:xfrm>
            <a:off x="7513462" y="204543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8" name="object 56"/>
          <p:cNvSpPr/>
          <p:nvPr/>
        </p:nvSpPr>
        <p:spPr>
          <a:xfrm>
            <a:off x="6553321" y="196196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9" name="object 54"/>
          <p:cNvSpPr/>
          <p:nvPr/>
        </p:nvSpPr>
        <p:spPr>
          <a:xfrm>
            <a:off x="7353097" y="275391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0" name="object 52"/>
          <p:cNvSpPr/>
          <p:nvPr/>
        </p:nvSpPr>
        <p:spPr>
          <a:xfrm>
            <a:off x="4696124" y="412086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1" name="object 50"/>
          <p:cNvSpPr/>
          <p:nvPr/>
        </p:nvSpPr>
        <p:spPr>
          <a:xfrm>
            <a:off x="4441297" y="46123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57150">
            <a:solidFill>
              <a:srgbClr val="AAC56C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2" name="object 48"/>
          <p:cNvSpPr/>
          <p:nvPr/>
        </p:nvSpPr>
        <p:spPr>
          <a:xfrm>
            <a:off x="3130532" y="40499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3" name="object 42"/>
          <p:cNvSpPr/>
          <p:nvPr/>
        </p:nvSpPr>
        <p:spPr>
          <a:xfrm>
            <a:off x="5748103" y="33118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4" name="object 44"/>
          <p:cNvSpPr/>
          <p:nvPr/>
        </p:nvSpPr>
        <p:spPr>
          <a:xfrm>
            <a:off x="5560113" y="25802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5" name="object 46"/>
          <p:cNvSpPr/>
          <p:nvPr/>
        </p:nvSpPr>
        <p:spPr>
          <a:xfrm>
            <a:off x="5421508" y="296447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6" name="object 40"/>
          <p:cNvSpPr/>
          <p:nvPr/>
        </p:nvSpPr>
        <p:spPr>
          <a:xfrm>
            <a:off x="5213120" y="49216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7" name="object 38"/>
          <p:cNvSpPr/>
          <p:nvPr/>
        </p:nvSpPr>
        <p:spPr>
          <a:xfrm>
            <a:off x="7032365" y="221911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8" name="object 36"/>
          <p:cNvSpPr/>
          <p:nvPr/>
        </p:nvSpPr>
        <p:spPr>
          <a:xfrm>
            <a:off x="7385165" y="340218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6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7"/>
                </a:lnTo>
                <a:lnTo>
                  <a:pt x="310251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9" name="object 34"/>
          <p:cNvSpPr/>
          <p:nvPr/>
        </p:nvSpPr>
        <p:spPr>
          <a:xfrm>
            <a:off x="5038354" y="24830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0" name="object 32"/>
          <p:cNvSpPr/>
          <p:nvPr/>
        </p:nvSpPr>
        <p:spPr>
          <a:xfrm>
            <a:off x="7192732" y="159327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1" name="object 30"/>
          <p:cNvSpPr/>
          <p:nvPr/>
        </p:nvSpPr>
        <p:spPr>
          <a:xfrm>
            <a:off x="6201572" y="316997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2" name="object 28"/>
          <p:cNvSpPr/>
          <p:nvPr/>
        </p:nvSpPr>
        <p:spPr>
          <a:xfrm>
            <a:off x="4877989" y="532865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57150">
            <a:solidFill>
              <a:srgbClr val="AAC56C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3" name="object 26"/>
          <p:cNvSpPr/>
          <p:nvPr/>
        </p:nvSpPr>
        <p:spPr>
          <a:xfrm>
            <a:off x="5581873" y="4521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57150">
            <a:solidFill>
              <a:srgbClr val="AAC56C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4" name="object 24"/>
          <p:cNvSpPr/>
          <p:nvPr/>
        </p:nvSpPr>
        <p:spPr>
          <a:xfrm>
            <a:off x="3528670" y="35173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5" name="object 22"/>
          <p:cNvSpPr/>
          <p:nvPr/>
        </p:nvSpPr>
        <p:spPr>
          <a:xfrm>
            <a:off x="3252845" y="520650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6" name="object 20"/>
          <p:cNvSpPr/>
          <p:nvPr/>
        </p:nvSpPr>
        <p:spPr>
          <a:xfrm>
            <a:off x="3849401" y="4051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7" name="object 18"/>
          <p:cNvSpPr/>
          <p:nvPr/>
        </p:nvSpPr>
        <p:spPr>
          <a:xfrm>
            <a:off x="6713687" y="269105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8" name="object 6"/>
          <p:cNvSpPr txBox="1"/>
          <p:nvPr/>
        </p:nvSpPr>
        <p:spPr>
          <a:xfrm>
            <a:off x="1332125" y="3759280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grpSp>
        <p:nvGrpSpPr>
          <p:cNvPr id="119" name="Group 118"/>
          <p:cNvGrpSpPr/>
          <p:nvPr/>
        </p:nvGrpSpPr>
        <p:grpSpPr>
          <a:xfrm>
            <a:off x="2383438" y="1888930"/>
            <a:ext cx="6303362" cy="4054670"/>
            <a:chOff x="2343901" y="1923700"/>
            <a:chExt cx="6303362" cy="4054670"/>
          </a:xfrm>
        </p:grpSpPr>
        <p:sp>
          <p:nvSpPr>
            <p:cNvPr id="120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121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  <p:sp>
        <p:nvSpPr>
          <p:cNvPr id="122" name="object 15"/>
          <p:cNvSpPr txBox="1"/>
          <p:nvPr/>
        </p:nvSpPr>
        <p:spPr>
          <a:xfrm>
            <a:off x="349882" y="365536"/>
            <a:ext cx="1351013" cy="5207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985"/>
              </a:lnSpc>
              <a:spcBef>
                <a:spcPts val="99"/>
              </a:spcBef>
            </a:pPr>
            <a:r>
              <a:rPr sz="2700" spc="0" baseline="3034" dirty="0" smtClean="0">
                <a:solidFill>
                  <a:srgbClr val="215867"/>
                </a:solidFill>
                <a:latin typeface="+mj-lt"/>
                <a:cs typeface="Calibri"/>
              </a:rPr>
              <a:t>epsilon = 1.75</a:t>
            </a:r>
            <a:endParaRPr sz="1800">
              <a:latin typeface="+mj-lt"/>
              <a:cs typeface="Calibri"/>
            </a:endParaRPr>
          </a:p>
          <a:p>
            <a:pPr marL="12700" marR="34289">
              <a:lnSpc>
                <a:spcPts val="2100"/>
              </a:lnSpc>
              <a:spcBef>
                <a:spcPts val="5"/>
              </a:spcBef>
            </a:pPr>
            <a:r>
              <a:rPr sz="2700" spc="0" baseline="1517" dirty="0" smtClean="0">
                <a:solidFill>
                  <a:srgbClr val="215867"/>
                </a:solidFill>
                <a:latin typeface="+mj-lt"/>
                <a:cs typeface="Calibri"/>
              </a:rPr>
              <a:t>n_clu = 3</a:t>
            </a:r>
            <a:endParaRPr sz="1800">
              <a:latin typeface="+mj-lt"/>
              <a:cs typeface="Calibri"/>
            </a:endParaRPr>
          </a:p>
        </p:txBody>
      </p:sp>
      <p:sp>
        <p:nvSpPr>
          <p:cNvPr id="123" name="object 5"/>
          <p:cNvSpPr txBox="1"/>
          <p:nvPr/>
        </p:nvSpPr>
        <p:spPr>
          <a:xfrm>
            <a:off x="2101916" y="365536"/>
            <a:ext cx="6889684" cy="807913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 marR="41909">
              <a:lnSpc>
                <a:spcPts val="3454"/>
              </a:lnSpc>
              <a:spcBef>
                <a:spcPts val="172"/>
              </a:spcBef>
            </a:pPr>
            <a:r>
              <a:rPr sz="4800" spc="0" baseline="2560" dirty="0" smtClean="0">
                <a:solidFill>
                  <a:srgbClr val="4E81BC"/>
                </a:solidFill>
                <a:latin typeface="+mj-lt"/>
                <a:cs typeface="Calibri"/>
              </a:rPr>
              <a:t>DBSC</a:t>
            </a:r>
            <a:r>
              <a:rPr sz="4800" spc="-4" baseline="2560" dirty="0" smtClean="0">
                <a:solidFill>
                  <a:srgbClr val="4E81BC"/>
                </a:solidFill>
                <a:latin typeface="+mj-lt"/>
                <a:cs typeface="Calibri"/>
              </a:rPr>
              <a:t>A</a:t>
            </a:r>
            <a:r>
              <a:rPr sz="4800" spc="0" baseline="2560" dirty="0" smtClean="0">
                <a:solidFill>
                  <a:srgbClr val="4E81BC"/>
                </a:solidFill>
                <a:latin typeface="+mj-lt"/>
                <a:cs typeface="Calibri"/>
              </a:rPr>
              <a:t>N</a:t>
            </a:r>
            <a:endParaRPr sz="3200" dirty="0">
              <a:latin typeface="+mj-lt"/>
              <a:cs typeface="Calibri"/>
            </a:endParaRPr>
          </a:p>
          <a:p>
            <a:pPr marL="12700">
              <a:lnSpc>
                <a:spcPts val="2770"/>
              </a:lnSpc>
            </a:pPr>
            <a:r>
              <a:rPr lang="en-US" sz="3200" baseline="1137" dirty="0" smtClean="0">
                <a:solidFill>
                  <a:srgbClr val="7F7E7E"/>
                </a:solidFill>
                <a:cs typeface="Calibri"/>
              </a:rPr>
              <a:t>Keep adding neighbors within </a:t>
            </a:r>
            <a:r>
              <a:rPr lang="en-US" sz="3200" i="1" baseline="1137" dirty="0" smtClean="0">
                <a:solidFill>
                  <a:srgbClr val="7F7E7E"/>
                </a:solidFill>
                <a:cs typeface="Calibri"/>
              </a:rPr>
              <a:t>epsilon </a:t>
            </a:r>
            <a:r>
              <a:rPr lang="en-US" sz="3200" baseline="1137" dirty="0" smtClean="0">
                <a:solidFill>
                  <a:srgbClr val="7F7E7E"/>
                </a:solidFill>
                <a:cs typeface="Calibri"/>
              </a:rPr>
              <a:t>as chain reaction</a:t>
            </a:r>
            <a:endParaRPr lang="en-US" sz="3200" i="1" baseline="1137" dirty="0">
              <a:solidFill>
                <a:srgbClr val="7F7E7E"/>
              </a:solidFill>
              <a:cs typeface="Calibri"/>
            </a:endParaRPr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" name="object 3"/>
          <p:cNvSpPr txBox="1"/>
          <p:nvPr/>
        </p:nvSpPr>
        <p:spPr>
          <a:xfrm>
            <a:off x="5426815" y="6116930"/>
            <a:ext cx="542241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latin typeface="Calibri"/>
                <a:cs typeface="Calibri"/>
              </a:rPr>
              <a:t>Age</a:t>
            </a:r>
            <a:endParaRPr sz="2400">
              <a:latin typeface="Calibri"/>
              <a:cs typeface="Calibri"/>
            </a:endParaRPr>
          </a:p>
        </p:txBody>
      </p:sp>
      <p:sp>
        <p:nvSpPr>
          <p:cNvPr id="85" name="object 66"/>
          <p:cNvSpPr/>
          <p:nvPr/>
        </p:nvSpPr>
        <p:spPr>
          <a:xfrm>
            <a:off x="4828723" y="3793271"/>
            <a:ext cx="1810252" cy="1760707"/>
          </a:xfrm>
          <a:custGeom>
            <a:avLst/>
            <a:gdLst/>
            <a:ahLst/>
            <a:cxnLst/>
            <a:rect l="l" t="t" r="r" b="b"/>
            <a:pathLst>
              <a:path w="1810252" h="1760707">
                <a:moveTo>
                  <a:pt x="0" y="880353"/>
                </a:moveTo>
                <a:lnTo>
                  <a:pt x="3000" y="952556"/>
                </a:lnTo>
                <a:lnTo>
                  <a:pt x="11846" y="1023151"/>
                </a:lnTo>
                <a:lnTo>
                  <a:pt x="26305" y="1091913"/>
                </a:lnTo>
                <a:lnTo>
                  <a:pt x="46143" y="1158614"/>
                </a:lnTo>
                <a:lnTo>
                  <a:pt x="71129" y="1223027"/>
                </a:lnTo>
                <a:lnTo>
                  <a:pt x="101028" y="1284927"/>
                </a:lnTo>
                <a:lnTo>
                  <a:pt x="135608" y="1344087"/>
                </a:lnTo>
                <a:lnTo>
                  <a:pt x="174636" y="1400279"/>
                </a:lnTo>
                <a:lnTo>
                  <a:pt x="217880" y="1453279"/>
                </a:lnTo>
                <a:lnTo>
                  <a:pt x="265105" y="1502858"/>
                </a:lnTo>
                <a:lnTo>
                  <a:pt x="316079" y="1548791"/>
                </a:lnTo>
                <a:lnTo>
                  <a:pt x="370570" y="1590850"/>
                </a:lnTo>
                <a:lnTo>
                  <a:pt x="428344" y="1628810"/>
                </a:lnTo>
                <a:lnTo>
                  <a:pt x="489168" y="1662444"/>
                </a:lnTo>
                <a:lnTo>
                  <a:pt x="552810" y="1691525"/>
                </a:lnTo>
                <a:lnTo>
                  <a:pt x="619036" y="1715826"/>
                </a:lnTo>
                <a:lnTo>
                  <a:pt x="687614" y="1735122"/>
                </a:lnTo>
                <a:lnTo>
                  <a:pt x="758310" y="1749185"/>
                </a:lnTo>
                <a:lnTo>
                  <a:pt x="830892" y="1757789"/>
                </a:lnTo>
                <a:lnTo>
                  <a:pt x="905126" y="1760707"/>
                </a:lnTo>
                <a:lnTo>
                  <a:pt x="979361" y="1757789"/>
                </a:lnTo>
                <a:lnTo>
                  <a:pt x="1051942" y="1749185"/>
                </a:lnTo>
                <a:lnTo>
                  <a:pt x="1122639" y="1735122"/>
                </a:lnTo>
                <a:lnTo>
                  <a:pt x="1191216" y="1715826"/>
                </a:lnTo>
                <a:lnTo>
                  <a:pt x="1257442" y="1691525"/>
                </a:lnTo>
                <a:lnTo>
                  <a:pt x="1321084" y="1662444"/>
                </a:lnTo>
                <a:lnTo>
                  <a:pt x="1381908" y="1628810"/>
                </a:lnTo>
                <a:lnTo>
                  <a:pt x="1439682" y="1590850"/>
                </a:lnTo>
                <a:lnTo>
                  <a:pt x="1494173" y="1548791"/>
                </a:lnTo>
                <a:lnTo>
                  <a:pt x="1545147" y="1502858"/>
                </a:lnTo>
                <a:lnTo>
                  <a:pt x="1592373" y="1453279"/>
                </a:lnTo>
                <a:lnTo>
                  <a:pt x="1635616" y="1400279"/>
                </a:lnTo>
                <a:lnTo>
                  <a:pt x="1674644" y="1344087"/>
                </a:lnTo>
                <a:lnTo>
                  <a:pt x="1709224" y="1284927"/>
                </a:lnTo>
                <a:lnTo>
                  <a:pt x="1739123" y="1223027"/>
                </a:lnTo>
                <a:lnTo>
                  <a:pt x="1764109" y="1158614"/>
                </a:lnTo>
                <a:lnTo>
                  <a:pt x="1783947" y="1091913"/>
                </a:lnTo>
                <a:lnTo>
                  <a:pt x="1798406" y="1023151"/>
                </a:lnTo>
                <a:lnTo>
                  <a:pt x="1807252" y="952556"/>
                </a:lnTo>
                <a:lnTo>
                  <a:pt x="1810252" y="880353"/>
                </a:lnTo>
                <a:lnTo>
                  <a:pt x="1807252" y="808151"/>
                </a:lnTo>
                <a:lnTo>
                  <a:pt x="1798406" y="737555"/>
                </a:lnTo>
                <a:lnTo>
                  <a:pt x="1783947" y="668794"/>
                </a:lnTo>
                <a:lnTo>
                  <a:pt x="1764109" y="602094"/>
                </a:lnTo>
                <a:lnTo>
                  <a:pt x="1739123" y="537680"/>
                </a:lnTo>
                <a:lnTo>
                  <a:pt x="1709224" y="475780"/>
                </a:lnTo>
                <a:lnTo>
                  <a:pt x="1674644" y="416621"/>
                </a:lnTo>
                <a:lnTo>
                  <a:pt x="1635616" y="360428"/>
                </a:lnTo>
                <a:lnTo>
                  <a:pt x="1592373" y="307429"/>
                </a:lnTo>
                <a:lnTo>
                  <a:pt x="1545147" y="257849"/>
                </a:lnTo>
                <a:lnTo>
                  <a:pt x="1494173" y="211917"/>
                </a:lnTo>
                <a:lnTo>
                  <a:pt x="1439682" y="169857"/>
                </a:lnTo>
                <a:lnTo>
                  <a:pt x="1381908" y="131897"/>
                </a:lnTo>
                <a:lnTo>
                  <a:pt x="1321084" y="98263"/>
                </a:lnTo>
                <a:lnTo>
                  <a:pt x="1257442" y="69182"/>
                </a:lnTo>
                <a:lnTo>
                  <a:pt x="1191216" y="44881"/>
                </a:lnTo>
                <a:lnTo>
                  <a:pt x="1122639" y="25585"/>
                </a:lnTo>
                <a:lnTo>
                  <a:pt x="1051942" y="11522"/>
                </a:lnTo>
                <a:lnTo>
                  <a:pt x="979361" y="2918"/>
                </a:lnTo>
                <a:lnTo>
                  <a:pt x="905126" y="0"/>
                </a:lnTo>
                <a:lnTo>
                  <a:pt x="830892" y="2918"/>
                </a:lnTo>
                <a:lnTo>
                  <a:pt x="758310" y="11522"/>
                </a:lnTo>
                <a:lnTo>
                  <a:pt x="687614" y="25585"/>
                </a:lnTo>
                <a:lnTo>
                  <a:pt x="619036" y="44881"/>
                </a:lnTo>
                <a:lnTo>
                  <a:pt x="552810" y="69182"/>
                </a:lnTo>
                <a:lnTo>
                  <a:pt x="489168" y="98263"/>
                </a:lnTo>
                <a:lnTo>
                  <a:pt x="428344" y="131897"/>
                </a:lnTo>
                <a:lnTo>
                  <a:pt x="370570" y="169857"/>
                </a:lnTo>
                <a:lnTo>
                  <a:pt x="316079" y="211917"/>
                </a:lnTo>
                <a:lnTo>
                  <a:pt x="265105" y="257849"/>
                </a:lnTo>
                <a:lnTo>
                  <a:pt x="217880" y="307429"/>
                </a:lnTo>
                <a:lnTo>
                  <a:pt x="174636" y="360428"/>
                </a:lnTo>
                <a:lnTo>
                  <a:pt x="135608" y="416621"/>
                </a:lnTo>
                <a:lnTo>
                  <a:pt x="101028" y="475780"/>
                </a:lnTo>
                <a:lnTo>
                  <a:pt x="71129" y="537680"/>
                </a:lnTo>
                <a:lnTo>
                  <a:pt x="46143" y="602094"/>
                </a:lnTo>
                <a:lnTo>
                  <a:pt x="26305" y="668794"/>
                </a:lnTo>
                <a:lnTo>
                  <a:pt x="11846" y="737555"/>
                </a:lnTo>
                <a:lnTo>
                  <a:pt x="3000" y="808151"/>
                </a:lnTo>
                <a:lnTo>
                  <a:pt x="0" y="880353"/>
                </a:lnTo>
                <a:close/>
              </a:path>
            </a:pathLst>
          </a:custGeom>
          <a:solidFill>
            <a:srgbClr val="83984F">
              <a:alpha val="50000"/>
            </a:srgbClr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6" name="object 82"/>
          <p:cNvSpPr/>
          <p:nvPr/>
        </p:nvSpPr>
        <p:spPr>
          <a:xfrm>
            <a:off x="4414372" y="54871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57150">
            <a:solidFill>
              <a:srgbClr val="AAC56C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7" name="object 84"/>
          <p:cNvSpPr/>
          <p:nvPr/>
        </p:nvSpPr>
        <p:spPr>
          <a:xfrm>
            <a:off x="5399747" y="55212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8" name="object 86"/>
          <p:cNvSpPr/>
          <p:nvPr/>
        </p:nvSpPr>
        <p:spPr>
          <a:xfrm>
            <a:off x="6251551" y="55023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9" name="object 74"/>
          <p:cNvSpPr/>
          <p:nvPr/>
        </p:nvSpPr>
        <p:spPr>
          <a:xfrm>
            <a:off x="2668469" y="519520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0" name="object 72"/>
          <p:cNvSpPr/>
          <p:nvPr/>
        </p:nvSpPr>
        <p:spPr>
          <a:xfrm>
            <a:off x="5959366" y="251737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40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80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1" name="object 70"/>
          <p:cNvSpPr/>
          <p:nvPr/>
        </p:nvSpPr>
        <p:spPr>
          <a:xfrm>
            <a:off x="5560113" y="213564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2" name="object 68"/>
          <p:cNvSpPr/>
          <p:nvPr/>
        </p:nvSpPr>
        <p:spPr>
          <a:xfrm>
            <a:off x="5148028" y="1723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3" name="object 66"/>
          <p:cNvSpPr/>
          <p:nvPr/>
        </p:nvSpPr>
        <p:spPr>
          <a:xfrm>
            <a:off x="6872003" y="34121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4" name="object 63"/>
          <p:cNvSpPr/>
          <p:nvPr/>
        </p:nvSpPr>
        <p:spPr>
          <a:xfrm>
            <a:off x="5880842" y="502152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6"/>
                </a:lnTo>
                <a:lnTo>
                  <a:pt x="1583" y="198179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6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2"/>
                </a:lnTo>
                <a:lnTo>
                  <a:pt x="49876" y="299561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6"/>
                </a:lnTo>
                <a:lnTo>
                  <a:pt x="196530" y="342926"/>
                </a:lnTo>
                <a:lnTo>
                  <a:pt x="209650" y="339004"/>
                </a:lnTo>
                <a:lnTo>
                  <a:pt x="222295" y="333936"/>
                </a:lnTo>
                <a:lnTo>
                  <a:pt x="234413" y="327778"/>
                </a:lnTo>
                <a:lnTo>
                  <a:pt x="245953" y="320583"/>
                </a:lnTo>
                <a:lnTo>
                  <a:pt x="256864" y="312409"/>
                </a:lnTo>
                <a:lnTo>
                  <a:pt x="267095" y="303311"/>
                </a:lnTo>
                <a:lnTo>
                  <a:pt x="276595" y="293343"/>
                </a:lnTo>
                <a:lnTo>
                  <a:pt x="285312" y="282562"/>
                </a:lnTo>
                <a:lnTo>
                  <a:pt x="293195" y="271023"/>
                </a:lnTo>
                <a:lnTo>
                  <a:pt x="300193" y="258781"/>
                </a:lnTo>
                <a:lnTo>
                  <a:pt x="306255" y="245892"/>
                </a:lnTo>
                <a:lnTo>
                  <a:pt x="311330" y="232411"/>
                </a:lnTo>
                <a:lnTo>
                  <a:pt x="315366" y="218394"/>
                </a:lnTo>
                <a:lnTo>
                  <a:pt x="318312" y="203896"/>
                </a:lnTo>
                <a:lnTo>
                  <a:pt x="320117" y="188973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9" y="93485"/>
                </a:lnTo>
                <a:lnTo>
                  <a:pt x="296006" y="80986"/>
                </a:lnTo>
                <a:lnTo>
                  <a:pt x="288459" y="69169"/>
                </a:lnTo>
                <a:lnTo>
                  <a:pt x="280058" y="58089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4"/>
                </a:lnTo>
                <a:lnTo>
                  <a:pt x="86318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5" name="object 62"/>
          <p:cNvSpPr/>
          <p:nvPr/>
        </p:nvSpPr>
        <p:spPr>
          <a:xfrm>
            <a:off x="4326962" y="34938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6" name="object 60"/>
          <p:cNvSpPr/>
          <p:nvPr/>
        </p:nvSpPr>
        <p:spPr>
          <a:xfrm>
            <a:off x="3451263" y="457102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7" name="object 58"/>
          <p:cNvSpPr/>
          <p:nvPr/>
        </p:nvSpPr>
        <p:spPr>
          <a:xfrm>
            <a:off x="7513462" y="204543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8" name="object 56"/>
          <p:cNvSpPr/>
          <p:nvPr/>
        </p:nvSpPr>
        <p:spPr>
          <a:xfrm>
            <a:off x="6553321" y="196196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9" name="object 54"/>
          <p:cNvSpPr/>
          <p:nvPr/>
        </p:nvSpPr>
        <p:spPr>
          <a:xfrm>
            <a:off x="7353097" y="275391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0" name="object 52"/>
          <p:cNvSpPr/>
          <p:nvPr/>
        </p:nvSpPr>
        <p:spPr>
          <a:xfrm>
            <a:off x="4696124" y="412086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1" name="object 50"/>
          <p:cNvSpPr/>
          <p:nvPr/>
        </p:nvSpPr>
        <p:spPr>
          <a:xfrm>
            <a:off x="4441297" y="46123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57150">
            <a:solidFill>
              <a:srgbClr val="AAC56C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2" name="object 48"/>
          <p:cNvSpPr/>
          <p:nvPr/>
        </p:nvSpPr>
        <p:spPr>
          <a:xfrm>
            <a:off x="3130532" y="40499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3" name="object 42"/>
          <p:cNvSpPr/>
          <p:nvPr/>
        </p:nvSpPr>
        <p:spPr>
          <a:xfrm>
            <a:off x="5748103" y="33118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4" name="object 44"/>
          <p:cNvSpPr/>
          <p:nvPr/>
        </p:nvSpPr>
        <p:spPr>
          <a:xfrm>
            <a:off x="5560113" y="25802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5" name="object 46"/>
          <p:cNvSpPr/>
          <p:nvPr/>
        </p:nvSpPr>
        <p:spPr>
          <a:xfrm>
            <a:off x="5421508" y="296447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6" name="object 40"/>
          <p:cNvSpPr/>
          <p:nvPr/>
        </p:nvSpPr>
        <p:spPr>
          <a:xfrm>
            <a:off x="5213120" y="49216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7" name="object 38"/>
          <p:cNvSpPr/>
          <p:nvPr/>
        </p:nvSpPr>
        <p:spPr>
          <a:xfrm>
            <a:off x="7032365" y="221911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8" name="object 36"/>
          <p:cNvSpPr/>
          <p:nvPr/>
        </p:nvSpPr>
        <p:spPr>
          <a:xfrm>
            <a:off x="7385165" y="340218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6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7"/>
                </a:lnTo>
                <a:lnTo>
                  <a:pt x="310251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9" name="object 34"/>
          <p:cNvSpPr/>
          <p:nvPr/>
        </p:nvSpPr>
        <p:spPr>
          <a:xfrm>
            <a:off x="5038354" y="24830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0" name="object 32"/>
          <p:cNvSpPr/>
          <p:nvPr/>
        </p:nvSpPr>
        <p:spPr>
          <a:xfrm>
            <a:off x="7192732" y="159327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1" name="object 30"/>
          <p:cNvSpPr/>
          <p:nvPr/>
        </p:nvSpPr>
        <p:spPr>
          <a:xfrm>
            <a:off x="6201572" y="316997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2" name="object 28"/>
          <p:cNvSpPr/>
          <p:nvPr/>
        </p:nvSpPr>
        <p:spPr>
          <a:xfrm>
            <a:off x="4877989" y="532865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3" name="object 26"/>
          <p:cNvSpPr/>
          <p:nvPr/>
        </p:nvSpPr>
        <p:spPr>
          <a:xfrm>
            <a:off x="5581873" y="4521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4" name="object 24"/>
          <p:cNvSpPr/>
          <p:nvPr/>
        </p:nvSpPr>
        <p:spPr>
          <a:xfrm>
            <a:off x="3528670" y="35173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5" name="object 22"/>
          <p:cNvSpPr/>
          <p:nvPr/>
        </p:nvSpPr>
        <p:spPr>
          <a:xfrm>
            <a:off x="3252845" y="520650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6" name="object 20"/>
          <p:cNvSpPr/>
          <p:nvPr/>
        </p:nvSpPr>
        <p:spPr>
          <a:xfrm>
            <a:off x="3849401" y="4051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7" name="object 18"/>
          <p:cNvSpPr/>
          <p:nvPr/>
        </p:nvSpPr>
        <p:spPr>
          <a:xfrm>
            <a:off x="6713687" y="269105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8" name="object 6"/>
          <p:cNvSpPr txBox="1"/>
          <p:nvPr/>
        </p:nvSpPr>
        <p:spPr>
          <a:xfrm>
            <a:off x="1332125" y="3759280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grpSp>
        <p:nvGrpSpPr>
          <p:cNvPr id="119" name="Group 118"/>
          <p:cNvGrpSpPr/>
          <p:nvPr/>
        </p:nvGrpSpPr>
        <p:grpSpPr>
          <a:xfrm>
            <a:off x="2383438" y="1888930"/>
            <a:ext cx="6303362" cy="4054670"/>
            <a:chOff x="2343901" y="1923700"/>
            <a:chExt cx="6303362" cy="4054670"/>
          </a:xfrm>
        </p:grpSpPr>
        <p:sp>
          <p:nvSpPr>
            <p:cNvPr id="120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121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  <p:sp>
        <p:nvSpPr>
          <p:cNvPr id="122" name="object 15"/>
          <p:cNvSpPr txBox="1"/>
          <p:nvPr/>
        </p:nvSpPr>
        <p:spPr>
          <a:xfrm>
            <a:off x="349882" y="365536"/>
            <a:ext cx="1351013" cy="5207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985"/>
              </a:lnSpc>
              <a:spcBef>
                <a:spcPts val="99"/>
              </a:spcBef>
            </a:pPr>
            <a:r>
              <a:rPr sz="2700" spc="0" baseline="3034" dirty="0" smtClean="0">
                <a:solidFill>
                  <a:srgbClr val="215867"/>
                </a:solidFill>
                <a:latin typeface="+mj-lt"/>
                <a:cs typeface="Calibri"/>
              </a:rPr>
              <a:t>epsilon = 1.75</a:t>
            </a:r>
            <a:endParaRPr sz="1800">
              <a:latin typeface="+mj-lt"/>
              <a:cs typeface="Calibri"/>
            </a:endParaRPr>
          </a:p>
          <a:p>
            <a:pPr marL="12700" marR="34289">
              <a:lnSpc>
                <a:spcPts val="2100"/>
              </a:lnSpc>
              <a:spcBef>
                <a:spcPts val="5"/>
              </a:spcBef>
            </a:pPr>
            <a:r>
              <a:rPr sz="2700" spc="0" baseline="1517" dirty="0" smtClean="0">
                <a:solidFill>
                  <a:srgbClr val="215867"/>
                </a:solidFill>
                <a:latin typeface="+mj-lt"/>
                <a:cs typeface="Calibri"/>
              </a:rPr>
              <a:t>n_clu = 3</a:t>
            </a:r>
            <a:endParaRPr sz="1800">
              <a:latin typeface="+mj-lt"/>
              <a:cs typeface="Calibri"/>
            </a:endParaRPr>
          </a:p>
        </p:txBody>
      </p:sp>
      <p:sp>
        <p:nvSpPr>
          <p:cNvPr id="123" name="object 5"/>
          <p:cNvSpPr txBox="1"/>
          <p:nvPr/>
        </p:nvSpPr>
        <p:spPr>
          <a:xfrm>
            <a:off x="2101916" y="365536"/>
            <a:ext cx="6889684" cy="807913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 marR="41909">
              <a:lnSpc>
                <a:spcPts val="3454"/>
              </a:lnSpc>
              <a:spcBef>
                <a:spcPts val="172"/>
              </a:spcBef>
            </a:pPr>
            <a:r>
              <a:rPr sz="4800" spc="0" baseline="2560" dirty="0" smtClean="0">
                <a:solidFill>
                  <a:srgbClr val="4E81BC"/>
                </a:solidFill>
                <a:latin typeface="+mj-lt"/>
                <a:cs typeface="Calibri"/>
              </a:rPr>
              <a:t>DBSC</a:t>
            </a:r>
            <a:r>
              <a:rPr sz="4800" spc="-4" baseline="2560" dirty="0" smtClean="0">
                <a:solidFill>
                  <a:srgbClr val="4E81BC"/>
                </a:solidFill>
                <a:latin typeface="+mj-lt"/>
                <a:cs typeface="Calibri"/>
              </a:rPr>
              <a:t>A</a:t>
            </a:r>
            <a:r>
              <a:rPr sz="4800" spc="0" baseline="2560" dirty="0" smtClean="0">
                <a:solidFill>
                  <a:srgbClr val="4E81BC"/>
                </a:solidFill>
                <a:latin typeface="+mj-lt"/>
                <a:cs typeface="Calibri"/>
              </a:rPr>
              <a:t>N</a:t>
            </a:r>
            <a:endParaRPr sz="3200" dirty="0">
              <a:latin typeface="+mj-lt"/>
              <a:cs typeface="Calibri"/>
            </a:endParaRPr>
          </a:p>
          <a:p>
            <a:pPr marL="12700">
              <a:lnSpc>
                <a:spcPts val="2770"/>
              </a:lnSpc>
            </a:pPr>
            <a:r>
              <a:rPr lang="en-US" sz="3200" baseline="1137" dirty="0" smtClean="0">
                <a:solidFill>
                  <a:srgbClr val="7F7E7E"/>
                </a:solidFill>
                <a:cs typeface="Calibri"/>
              </a:rPr>
              <a:t>Keep adding neighbors within </a:t>
            </a:r>
            <a:r>
              <a:rPr lang="en-US" sz="3200" i="1" baseline="1137" dirty="0" smtClean="0">
                <a:solidFill>
                  <a:srgbClr val="7F7E7E"/>
                </a:solidFill>
                <a:cs typeface="Calibri"/>
              </a:rPr>
              <a:t>epsilon </a:t>
            </a:r>
            <a:r>
              <a:rPr lang="en-US" sz="3200" baseline="1137" dirty="0" smtClean="0">
                <a:solidFill>
                  <a:srgbClr val="7F7E7E"/>
                </a:solidFill>
                <a:cs typeface="Calibri"/>
              </a:rPr>
              <a:t>as chain reaction</a:t>
            </a:r>
            <a:endParaRPr lang="en-US" sz="3200" i="1" baseline="1137" dirty="0">
              <a:solidFill>
                <a:srgbClr val="7F7E7E"/>
              </a:solidFill>
              <a:cs typeface="Calibri"/>
            </a:endParaRPr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" name="object 3"/>
          <p:cNvSpPr txBox="1"/>
          <p:nvPr/>
        </p:nvSpPr>
        <p:spPr>
          <a:xfrm>
            <a:off x="5426815" y="6116930"/>
            <a:ext cx="542241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latin typeface="Calibri"/>
                <a:cs typeface="Calibri"/>
              </a:rPr>
              <a:t>Age</a:t>
            </a:r>
            <a:endParaRPr sz="2400">
              <a:latin typeface="Calibri"/>
              <a:cs typeface="Calibri"/>
            </a:endParaRPr>
          </a:p>
        </p:txBody>
      </p:sp>
      <p:sp>
        <p:nvSpPr>
          <p:cNvPr id="85" name="object 66"/>
          <p:cNvSpPr/>
          <p:nvPr/>
        </p:nvSpPr>
        <p:spPr>
          <a:xfrm>
            <a:off x="3737340" y="4686423"/>
            <a:ext cx="1810252" cy="1760707"/>
          </a:xfrm>
          <a:custGeom>
            <a:avLst/>
            <a:gdLst/>
            <a:ahLst/>
            <a:cxnLst/>
            <a:rect l="l" t="t" r="r" b="b"/>
            <a:pathLst>
              <a:path w="1810252" h="1760707">
                <a:moveTo>
                  <a:pt x="0" y="880353"/>
                </a:moveTo>
                <a:lnTo>
                  <a:pt x="3000" y="952556"/>
                </a:lnTo>
                <a:lnTo>
                  <a:pt x="11846" y="1023151"/>
                </a:lnTo>
                <a:lnTo>
                  <a:pt x="26305" y="1091913"/>
                </a:lnTo>
                <a:lnTo>
                  <a:pt x="46143" y="1158614"/>
                </a:lnTo>
                <a:lnTo>
                  <a:pt x="71129" y="1223027"/>
                </a:lnTo>
                <a:lnTo>
                  <a:pt x="101028" y="1284927"/>
                </a:lnTo>
                <a:lnTo>
                  <a:pt x="135608" y="1344087"/>
                </a:lnTo>
                <a:lnTo>
                  <a:pt x="174636" y="1400279"/>
                </a:lnTo>
                <a:lnTo>
                  <a:pt x="217880" y="1453279"/>
                </a:lnTo>
                <a:lnTo>
                  <a:pt x="265105" y="1502858"/>
                </a:lnTo>
                <a:lnTo>
                  <a:pt x="316079" y="1548791"/>
                </a:lnTo>
                <a:lnTo>
                  <a:pt x="370570" y="1590850"/>
                </a:lnTo>
                <a:lnTo>
                  <a:pt x="428344" y="1628810"/>
                </a:lnTo>
                <a:lnTo>
                  <a:pt x="489168" y="1662444"/>
                </a:lnTo>
                <a:lnTo>
                  <a:pt x="552810" y="1691525"/>
                </a:lnTo>
                <a:lnTo>
                  <a:pt x="619036" y="1715826"/>
                </a:lnTo>
                <a:lnTo>
                  <a:pt x="687614" y="1735122"/>
                </a:lnTo>
                <a:lnTo>
                  <a:pt x="758310" y="1749185"/>
                </a:lnTo>
                <a:lnTo>
                  <a:pt x="830892" y="1757789"/>
                </a:lnTo>
                <a:lnTo>
                  <a:pt x="905126" y="1760707"/>
                </a:lnTo>
                <a:lnTo>
                  <a:pt x="979361" y="1757789"/>
                </a:lnTo>
                <a:lnTo>
                  <a:pt x="1051942" y="1749185"/>
                </a:lnTo>
                <a:lnTo>
                  <a:pt x="1122639" y="1735122"/>
                </a:lnTo>
                <a:lnTo>
                  <a:pt x="1191216" y="1715826"/>
                </a:lnTo>
                <a:lnTo>
                  <a:pt x="1257442" y="1691525"/>
                </a:lnTo>
                <a:lnTo>
                  <a:pt x="1321084" y="1662444"/>
                </a:lnTo>
                <a:lnTo>
                  <a:pt x="1381908" y="1628810"/>
                </a:lnTo>
                <a:lnTo>
                  <a:pt x="1439682" y="1590850"/>
                </a:lnTo>
                <a:lnTo>
                  <a:pt x="1494173" y="1548791"/>
                </a:lnTo>
                <a:lnTo>
                  <a:pt x="1545147" y="1502858"/>
                </a:lnTo>
                <a:lnTo>
                  <a:pt x="1592373" y="1453279"/>
                </a:lnTo>
                <a:lnTo>
                  <a:pt x="1635616" y="1400279"/>
                </a:lnTo>
                <a:lnTo>
                  <a:pt x="1674644" y="1344087"/>
                </a:lnTo>
                <a:lnTo>
                  <a:pt x="1709224" y="1284927"/>
                </a:lnTo>
                <a:lnTo>
                  <a:pt x="1739123" y="1223027"/>
                </a:lnTo>
                <a:lnTo>
                  <a:pt x="1764109" y="1158614"/>
                </a:lnTo>
                <a:lnTo>
                  <a:pt x="1783947" y="1091913"/>
                </a:lnTo>
                <a:lnTo>
                  <a:pt x="1798406" y="1023151"/>
                </a:lnTo>
                <a:lnTo>
                  <a:pt x="1807252" y="952556"/>
                </a:lnTo>
                <a:lnTo>
                  <a:pt x="1810252" y="880353"/>
                </a:lnTo>
                <a:lnTo>
                  <a:pt x="1807252" y="808151"/>
                </a:lnTo>
                <a:lnTo>
                  <a:pt x="1798406" y="737555"/>
                </a:lnTo>
                <a:lnTo>
                  <a:pt x="1783947" y="668794"/>
                </a:lnTo>
                <a:lnTo>
                  <a:pt x="1764109" y="602094"/>
                </a:lnTo>
                <a:lnTo>
                  <a:pt x="1739123" y="537680"/>
                </a:lnTo>
                <a:lnTo>
                  <a:pt x="1709224" y="475780"/>
                </a:lnTo>
                <a:lnTo>
                  <a:pt x="1674644" y="416621"/>
                </a:lnTo>
                <a:lnTo>
                  <a:pt x="1635616" y="360428"/>
                </a:lnTo>
                <a:lnTo>
                  <a:pt x="1592373" y="307429"/>
                </a:lnTo>
                <a:lnTo>
                  <a:pt x="1545147" y="257849"/>
                </a:lnTo>
                <a:lnTo>
                  <a:pt x="1494173" y="211917"/>
                </a:lnTo>
                <a:lnTo>
                  <a:pt x="1439682" y="169857"/>
                </a:lnTo>
                <a:lnTo>
                  <a:pt x="1381908" y="131897"/>
                </a:lnTo>
                <a:lnTo>
                  <a:pt x="1321084" y="98263"/>
                </a:lnTo>
                <a:lnTo>
                  <a:pt x="1257442" y="69182"/>
                </a:lnTo>
                <a:lnTo>
                  <a:pt x="1191216" y="44881"/>
                </a:lnTo>
                <a:lnTo>
                  <a:pt x="1122639" y="25585"/>
                </a:lnTo>
                <a:lnTo>
                  <a:pt x="1051942" y="11522"/>
                </a:lnTo>
                <a:lnTo>
                  <a:pt x="979361" y="2918"/>
                </a:lnTo>
                <a:lnTo>
                  <a:pt x="905126" y="0"/>
                </a:lnTo>
                <a:lnTo>
                  <a:pt x="830892" y="2918"/>
                </a:lnTo>
                <a:lnTo>
                  <a:pt x="758310" y="11522"/>
                </a:lnTo>
                <a:lnTo>
                  <a:pt x="687614" y="25585"/>
                </a:lnTo>
                <a:lnTo>
                  <a:pt x="619036" y="44881"/>
                </a:lnTo>
                <a:lnTo>
                  <a:pt x="552810" y="69182"/>
                </a:lnTo>
                <a:lnTo>
                  <a:pt x="489168" y="98263"/>
                </a:lnTo>
                <a:lnTo>
                  <a:pt x="428344" y="131897"/>
                </a:lnTo>
                <a:lnTo>
                  <a:pt x="370570" y="169857"/>
                </a:lnTo>
                <a:lnTo>
                  <a:pt x="316079" y="211917"/>
                </a:lnTo>
                <a:lnTo>
                  <a:pt x="265105" y="257849"/>
                </a:lnTo>
                <a:lnTo>
                  <a:pt x="217880" y="307429"/>
                </a:lnTo>
                <a:lnTo>
                  <a:pt x="174636" y="360428"/>
                </a:lnTo>
                <a:lnTo>
                  <a:pt x="135608" y="416621"/>
                </a:lnTo>
                <a:lnTo>
                  <a:pt x="101028" y="475780"/>
                </a:lnTo>
                <a:lnTo>
                  <a:pt x="71129" y="537680"/>
                </a:lnTo>
                <a:lnTo>
                  <a:pt x="46143" y="602094"/>
                </a:lnTo>
                <a:lnTo>
                  <a:pt x="26305" y="668794"/>
                </a:lnTo>
                <a:lnTo>
                  <a:pt x="11846" y="737555"/>
                </a:lnTo>
                <a:lnTo>
                  <a:pt x="3000" y="808151"/>
                </a:lnTo>
                <a:lnTo>
                  <a:pt x="0" y="880353"/>
                </a:lnTo>
                <a:close/>
              </a:path>
            </a:pathLst>
          </a:custGeom>
          <a:solidFill>
            <a:srgbClr val="83984F">
              <a:alpha val="50000"/>
            </a:srgbClr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6" name="object 82"/>
          <p:cNvSpPr/>
          <p:nvPr/>
        </p:nvSpPr>
        <p:spPr>
          <a:xfrm>
            <a:off x="4414372" y="54871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7" name="object 84"/>
          <p:cNvSpPr/>
          <p:nvPr/>
        </p:nvSpPr>
        <p:spPr>
          <a:xfrm>
            <a:off x="5399747" y="55212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8" name="object 86"/>
          <p:cNvSpPr/>
          <p:nvPr/>
        </p:nvSpPr>
        <p:spPr>
          <a:xfrm>
            <a:off x="6251551" y="55023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9" name="object 74"/>
          <p:cNvSpPr/>
          <p:nvPr/>
        </p:nvSpPr>
        <p:spPr>
          <a:xfrm>
            <a:off x="2668469" y="519520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0" name="object 72"/>
          <p:cNvSpPr/>
          <p:nvPr/>
        </p:nvSpPr>
        <p:spPr>
          <a:xfrm>
            <a:off x="5959366" y="251737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40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80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1" name="object 70"/>
          <p:cNvSpPr/>
          <p:nvPr/>
        </p:nvSpPr>
        <p:spPr>
          <a:xfrm>
            <a:off x="5560113" y="213564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2" name="object 68"/>
          <p:cNvSpPr/>
          <p:nvPr/>
        </p:nvSpPr>
        <p:spPr>
          <a:xfrm>
            <a:off x="5148028" y="1723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3" name="object 66"/>
          <p:cNvSpPr/>
          <p:nvPr/>
        </p:nvSpPr>
        <p:spPr>
          <a:xfrm>
            <a:off x="6872003" y="34121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4" name="object 63"/>
          <p:cNvSpPr/>
          <p:nvPr/>
        </p:nvSpPr>
        <p:spPr>
          <a:xfrm>
            <a:off x="5880842" y="502152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6"/>
                </a:lnTo>
                <a:lnTo>
                  <a:pt x="1583" y="198179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6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2"/>
                </a:lnTo>
                <a:lnTo>
                  <a:pt x="49876" y="299561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6"/>
                </a:lnTo>
                <a:lnTo>
                  <a:pt x="196530" y="342926"/>
                </a:lnTo>
                <a:lnTo>
                  <a:pt x="209650" y="339004"/>
                </a:lnTo>
                <a:lnTo>
                  <a:pt x="222295" y="333936"/>
                </a:lnTo>
                <a:lnTo>
                  <a:pt x="234413" y="327778"/>
                </a:lnTo>
                <a:lnTo>
                  <a:pt x="245953" y="320583"/>
                </a:lnTo>
                <a:lnTo>
                  <a:pt x="256864" y="312409"/>
                </a:lnTo>
                <a:lnTo>
                  <a:pt x="267095" y="303311"/>
                </a:lnTo>
                <a:lnTo>
                  <a:pt x="276595" y="293343"/>
                </a:lnTo>
                <a:lnTo>
                  <a:pt x="285312" y="282562"/>
                </a:lnTo>
                <a:lnTo>
                  <a:pt x="293195" y="271023"/>
                </a:lnTo>
                <a:lnTo>
                  <a:pt x="300193" y="258781"/>
                </a:lnTo>
                <a:lnTo>
                  <a:pt x="306255" y="245892"/>
                </a:lnTo>
                <a:lnTo>
                  <a:pt x="311330" y="232411"/>
                </a:lnTo>
                <a:lnTo>
                  <a:pt x="315366" y="218394"/>
                </a:lnTo>
                <a:lnTo>
                  <a:pt x="318312" y="203896"/>
                </a:lnTo>
                <a:lnTo>
                  <a:pt x="320117" y="188973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9" y="93485"/>
                </a:lnTo>
                <a:lnTo>
                  <a:pt x="296006" y="80986"/>
                </a:lnTo>
                <a:lnTo>
                  <a:pt x="288459" y="69169"/>
                </a:lnTo>
                <a:lnTo>
                  <a:pt x="280058" y="58089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4"/>
                </a:lnTo>
                <a:lnTo>
                  <a:pt x="86318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5" name="object 62"/>
          <p:cNvSpPr/>
          <p:nvPr/>
        </p:nvSpPr>
        <p:spPr>
          <a:xfrm>
            <a:off x="4326962" y="34938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6" name="object 60"/>
          <p:cNvSpPr/>
          <p:nvPr/>
        </p:nvSpPr>
        <p:spPr>
          <a:xfrm>
            <a:off x="3451263" y="457102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7" name="object 58"/>
          <p:cNvSpPr/>
          <p:nvPr/>
        </p:nvSpPr>
        <p:spPr>
          <a:xfrm>
            <a:off x="7513462" y="204543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8" name="object 56"/>
          <p:cNvSpPr/>
          <p:nvPr/>
        </p:nvSpPr>
        <p:spPr>
          <a:xfrm>
            <a:off x="6553321" y="196196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9" name="object 54"/>
          <p:cNvSpPr/>
          <p:nvPr/>
        </p:nvSpPr>
        <p:spPr>
          <a:xfrm>
            <a:off x="7353097" y="275391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0" name="object 52"/>
          <p:cNvSpPr/>
          <p:nvPr/>
        </p:nvSpPr>
        <p:spPr>
          <a:xfrm>
            <a:off x="4696124" y="412086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1" name="object 50"/>
          <p:cNvSpPr/>
          <p:nvPr/>
        </p:nvSpPr>
        <p:spPr>
          <a:xfrm>
            <a:off x="4441297" y="46123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57150">
            <a:solidFill>
              <a:srgbClr val="AAC56C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2" name="object 48"/>
          <p:cNvSpPr/>
          <p:nvPr/>
        </p:nvSpPr>
        <p:spPr>
          <a:xfrm>
            <a:off x="3130532" y="40499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3" name="object 42"/>
          <p:cNvSpPr/>
          <p:nvPr/>
        </p:nvSpPr>
        <p:spPr>
          <a:xfrm>
            <a:off x="5748103" y="33118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4" name="object 44"/>
          <p:cNvSpPr/>
          <p:nvPr/>
        </p:nvSpPr>
        <p:spPr>
          <a:xfrm>
            <a:off x="5560113" y="25802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5" name="object 46"/>
          <p:cNvSpPr/>
          <p:nvPr/>
        </p:nvSpPr>
        <p:spPr>
          <a:xfrm>
            <a:off x="5421508" y="296447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6" name="object 40"/>
          <p:cNvSpPr/>
          <p:nvPr/>
        </p:nvSpPr>
        <p:spPr>
          <a:xfrm>
            <a:off x="5213120" y="49216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7" name="object 38"/>
          <p:cNvSpPr/>
          <p:nvPr/>
        </p:nvSpPr>
        <p:spPr>
          <a:xfrm>
            <a:off x="7032365" y="221911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8" name="object 36"/>
          <p:cNvSpPr/>
          <p:nvPr/>
        </p:nvSpPr>
        <p:spPr>
          <a:xfrm>
            <a:off x="7385165" y="340218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6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7"/>
                </a:lnTo>
                <a:lnTo>
                  <a:pt x="310251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9" name="object 34"/>
          <p:cNvSpPr/>
          <p:nvPr/>
        </p:nvSpPr>
        <p:spPr>
          <a:xfrm>
            <a:off x="5038354" y="24830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0" name="object 32"/>
          <p:cNvSpPr/>
          <p:nvPr/>
        </p:nvSpPr>
        <p:spPr>
          <a:xfrm>
            <a:off x="7192732" y="159327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1" name="object 30"/>
          <p:cNvSpPr/>
          <p:nvPr/>
        </p:nvSpPr>
        <p:spPr>
          <a:xfrm>
            <a:off x="6201572" y="316997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2" name="object 28"/>
          <p:cNvSpPr/>
          <p:nvPr/>
        </p:nvSpPr>
        <p:spPr>
          <a:xfrm>
            <a:off x="4877989" y="532865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3" name="object 26"/>
          <p:cNvSpPr/>
          <p:nvPr/>
        </p:nvSpPr>
        <p:spPr>
          <a:xfrm>
            <a:off x="5581873" y="4521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4" name="object 24"/>
          <p:cNvSpPr/>
          <p:nvPr/>
        </p:nvSpPr>
        <p:spPr>
          <a:xfrm>
            <a:off x="3528670" y="35173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5" name="object 22"/>
          <p:cNvSpPr/>
          <p:nvPr/>
        </p:nvSpPr>
        <p:spPr>
          <a:xfrm>
            <a:off x="3252845" y="520650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6" name="object 20"/>
          <p:cNvSpPr/>
          <p:nvPr/>
        </p:nvSpPr>
        <p:spPr>
          <a:xfrm>
            <a:off x="3849401" y="4051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7" name="object 18"/>
          <p:cNvSpPr/>
          <p:nvPr/>
        </p:nvSpPr>
        <p:spPr>
          <a:xfrm>
            <a:off x="6713687" y="269105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8" name="object 6"/>
          <p:cNvSpPr txBox="1"/>
          <p:nvPr/>
        </p:nvSpPr>
        <p:spPr>
          <a:xfrm>
            <a:off x="1332125" y="3759280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grpSp>
        <p:nvGrpSpPr>
          <p:cNvPr id="119" name="Group 118"/>
          <p:cNvGrpSpPr/>
          <p:nvPr/>
        </p:nvGrpSpPr>
        <p:grpSpPr>
          <a:xfrm>
            <a:off x="2383438" y="1888930"/>
            <a:ext cx="6303362" cy="4054670"/>
            <a:chOff x="2343901" y="1923700"/>
            <a:chExt cx="6303362" cy="4054670"/>
          </a:xfrm>
        </p:grpSpPr>
        <p:sp>
          <p:nvSpPr>
            <p:cNvPr id="120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121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  <p:sp>
        <p:nvSpPr>
          <p:cNvPr id="122" name="object 15"/>
          <p:cNvSpPr txBox="1"/>
          <p:nvPr/>
        </p:nvSpPr>
        <p:spPr>
          <a:xfrm>
            <a:off x="349882" y="365536"/>
            <a:ext cx="1351013" cy="5207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985"/>
              </a:lnSpc>
              <a:spcBef>
                <a:spcPts val="99"/>
              </a:spcBef>
            </a:pPr>
            <a:r>
              <a:rPr sz="2700" spc="0" baseline="3034" dirty="0" smtClean="0">
                <a:solidFill>
                  <a:srgbClr val="215867"/>
                </a:solidFill>
                <a:latin typeface="+mj-lt"/>
                <a:cs typeface="Calibri"/>
              </a:rPr>
              <a:t>epsilon = 1.75</a:t>
            </a:r>
            <a:endParaRPr sz="1800">
              <a:latin typeface="+mj-lt"/>
              <a:cs typeface="Calibri"/>
            </a:endParaRPr>
          </a:p>
          <a:p>
            <a:pPr marL="12700" marR="34289">
              <a:lnSpc>
                <a:spcPts val="2100"/>
              </a:lnSpc>
              <a:spcBef>
                <a:spcPts val="5"/>
              </a:spcBef>
            </a:pPr>
            <a:r>
              <a:rPr sz="2700" spc="0" baseline="1517" dirty="0" smtClean="0">
                <a:solidFill>
                  <a:srgbClr val="215867"/>
                </a:solidFill>
                <a:latin typeface="+mj-lt"/>
                <a:cs typeface="Calibri"/>
              </a:rPr>
              <a:t>n_clu = 3</a:t>
            </a:r>
            <a:endParaRPr sz="1800">
              <a:latin typeface="+mj-lt"/>
              <a:cs typeface="Calibri"/>
            </a:endParaRPr>
          </a:p>
        </p:txBody>
      </p:sp>
      <p:sp>
        <p:nvSpPr>
          <p:cNvPr id="123" name="object 5"/>
          <p:cNvSpPr txBox="1"/>
          <p:nvPr/>
        </p:nvSpPr>
        <p:spPr>
          <a:xfrm>
            <a:off x="2101916" y="365536"/>
            <a:ext cx="6889684" cy="807913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 marR="41909">
              <a:lnSpc>
                <a:spcPts val="3454"/>
              </a:lnSpc>
              <a:spcBef>
                <a:spcPts val="172"/>
              </a:spcBef>
            </a:pPr>
            <a:r>
              <a:rPr sz="4800" spc="0" baseline="2560" dirty="0" smtClean="0">
                <a:solidFill>
                  <a:srgbClr val="4E81BC"/>
                </a:solidFill>
                <a:latin typeface="+mj-lt"/>
                <a:cs typeface="Calibri"/>
              </a:rPr>
              <a:t>DBSC</a:t>
            </a:r>
            <a:r>
              <a:rPr sz="4800" spc="-4" baseline="2560" dirty="0" smtClean="0">
                <a:solidFill>
                  <a:srgbClr val="4E81BC"/>
                </a:solidFill>
                <a:latin typeface="+mj-lt"/>
                <a:cs typeface="Calibri"/>
              </a:rPr>
              <a:t>A</a:t>
            </a:r>
            <a:r>
              <a:rPr sz="4800" spc="0" baseline="2560" dirty="0" smtClean="0">
                <a:solidFill>
                  <a:srgbClr val="4E81BC"/>
                </a:solidFill>
                <a:latin typeface="+mj-lt"/>
                <a:cs typeface="Calibri"/>
              </a:rPr>
              <a:t>N</a:t>
            </a:r>
            <a:endParaRPr sz="3200" dirty="0">
              <a:latin typeface="+mj-lt"/>
              <a:cs typeface="Calibri"/>
            </a:endParaRPr>
          </a:p>
          <a:p>
            <a:pPr marL="12700">
              <a:lnSpc>
                <a:spcPts val="2770"/>
              </a:lnSpc>
            </a:pPr>
            <a:r>
              <a:rPr lang="en-US" sz="3200" baseline="1137" dirty="0" smtClean="0">
                <a:solidFill>
                  <a:srgbClr val="7F7E7E"/>
                </a:solidFill>
                <a:cs typeface="Calibri"/>
              </a:rPr>
              <a:t>Keep adding neighbors within </a:t>
            </a:r>
            <a:r>
              <a:rPr lang="en-US" sz="3200" i="1" baseline="1137" dirty="0" smtClean="0">
                <a:solidFill>
                  <a:srgbClr val="7F7E7E"/>
                </a:solidFill>
                <a:cs typeface="Calibri"/>
              </a:rPr>
              <a:t>epsilon </a:t>
            </a:r>
            <a:r>
              <a:rPr lang="en-US" sz="3200" baseline="1137" dirty="0" smtClean="0">
                <a:solidFill>
                  <a:srgbClr val="7F7E7E"/>
                </a:solidFill>
                <a:cs typeface="Calibri"/>
              </a:rPr>
              <a:t>as chain reaction</a:t>
            </a:r>
            <a:endParaRPr lang="en-US" sz="3200" i="1" baseline="1137" dirty="0">
              <a:solidFill>
                <a:srgbClr val="7F7E7E"/>
              </a:solidFill>
              <a:cs typeface="Calibri"/>
            </a:endParaRPr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" name="object 3"/>
          <p:cNvSpPr txBox="1"/>
          <p:nvPr/>
        </p:nvSpPr>
        <p:spPr>
          <a:xfrm>
            <a:off x="5426815" y="6116930"/>
            <a:ext cx="542241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latin typeface="Calibri"/>
                <a:cs typeface="Calibri"/>
              </a:rPr>
              <a:t>Age</a:t>
            </a:r>
            <a:endParaRPr sz="2400">
              <a:latin typeface="Calibri"/>
              <a:cs typeface="Calibri"/>
            </a:endParaRPr>
          </a:p>
        </p:txBody>
      </p:sp>
      <p:sp>
        <p:nvSpPr>
          <p:cNvPr id="85" name="object 66"/>
          <p:cNvSpPr/>
          <p:nvPr/>
        </p:nvSpPr>
        <p:spPr>
          <a:xfrm>
            <a:off x="3675492" y="3935144"/>
            <a:ext cx="1810252" cy="1760707"/>
          </a:xfrm>
          <a:custGeom>
            <a:avLst/>
            <a:gdLst/>
            <a:ahLst/>
            <a:cxnLst/>
            <a:rect l="l" t="t" r="r" b="b"/>
            <a:pathLst>
              <a:path w="1810252" h="1760707">
                <a:moveTo>
                  <a:pt x="0" y="880353"/>
                </a:moveTo>
                <a:lnTo>
                  <a:pt x="3000" y="952556"/>
                </a:lnTo>
                <a:lnTo>
                  <a:pt x="11846" y="1023151"/>
                </a:lnTo>
                <a:lnTo>
                  <a:pt x="26305" y="1091913"/>
                </a:lnTo>
                <a:lnTo>
                  <a:pt x="46143" y="1158614"/>
                </a:lnTo>
                <a:lnTo>
                  <a:pt x="71129" y="1223027"/>
                </a:lnTo>
                <a:lnTo>
                  <a:pt x="101028" y="1284927"/>
                </a:lnTo>
                <a:lnTo>
                  <a:pt x="135608" y="1344087"/>
                </a:lnTo>
                <a:lnTo>
                  <a:pt x="174636" y="1400279"/>
                </a:lnTo>
                <a:lnTo>
                  <a:pt x="217880" y="1453279"/>
                </a:lnTo>
                <a:lnTo>
                  <a:pt x="265105" y="1502858"/>
                </a:lnTo>
                <a:lnTo>
                  <a:pt x="316079" y="1548791"/>
                </a:lnTo>
                <a:lnTo>
                  <a:pt x="370570" y="1590850"/>
                </a:lnTo>
                <a:lnTo>
                  <a:pt x="428344" y="1628810"/>
                </a:lnTo>
                <a:lnTo>
                  <a:pt x="489168" y="1662444"/>
                </a:lnTo>
                <a:lnTo>
                  <a:pt x="552810" y="1691525"/>
                </a:lnTo>
                <a:lnTo>
                  <a:pt x="619036" y="1715826"/>
                </a:lnTo>
                <a:lnTo>
                  <a:pt x="687614" y="1735122"/>
                </a:lnTo>
                <a:lnTo>
                  <a:pt x="758310" y="1749185"/>
                </a:lnTo>
                <a:lnTo>
                  <a:pt x="830892" y="1757789"/>
                </a:lnTo>
                <a:lnTo>
                  <a:pt x="905126" y="1760707"/>
                </a:lnTo>
                <a:lnTo>
                  <a:pt x="979361" y="1757789"/>
                </a:lnTo>
                <a:lnTo>
                  <a:pt x="1051942" y="1749185"/>
                </a:lnTo>
                <a:lnTo>
                  <a:pt x="1122639" y="1735122"/>
                </a:lnTo>
                <a:lnTo>
                  <a:pt x="1191216" y="1715826"/>
                </a:lnTo>
                <a:lnTo>
                  <a:pt x="1257442" y="1691525"/>
                </a:lnTo>
                <a:lnTo>
                  <a:pt x="1321084" y="1662444"/>
                </a:lnTo>
                <a:lnTo>
                  <a:pt x="1381908" y="1628810"/>
                </a:lnTo>
                <a:lnTo>
                  <a:pt x="1439682" y="1590850"/>
                </a:lnTo>
                <a:lnTo>
                  <a:pt x="1494173" y="1548791"/>
                </a:lnTo>
                <a:lnTo>
                  <a:pt x="1545147" y="1502858"/>
                </a:lnTo>
                <a:lnTo>
                  <a:pt x="1592373" y="1453279"/>
                </a:lnTo>
                <a:lnTo>
                  <a:pt x="1635616" y="1400279"/>
                </a:lnTo>
                <a:lnTo>
                  <a:pt x="1674644" y="1344087"/>
                </a:lnTo>
                <a:lnTo>
                  <a:pt x="1709224" y="1284927"/>
                </a:lnTo>
                <a:lnTo>
                  <a:pt x="1739123" y="1223027"/>
                </a:lnTo>
                <a:lnTo>
                  <a:pt x="1764109" y="1158614"/>
                </a:lnTo>
                <a:lnTo>
                  <a:pt x="1783947" y="1091913"/>
                </a:lnTo>
                <a:lnTo>
                  <a:pt x="1798406" y="1023151"/>
                </a:lnTo>
                <a:lnTo>
                  <a:pt x="1807252" y="952556"/>
                </a:lnTo>
                <a:lnTo>
                  <a:pt x="1810252" y="880353"/>
                </a:lnTo>
                <a:lnTo>
                  <a:pt x="1807252" y="808151"/>
                </a:lnTo>
                <a:lnTo>
                  <a:pt x="1798406" y="737555"/>
                </a:lnTo>
                <a:lnTo>
                  <a:pt x="1783947" y="668794"/>
                </a:lnTo>
                <a:lnTo>
                  <a:pt x="1764109" y="602094"/>
                </a:lnTo>
                <a:lnTo>
                  <a:pt x="1739123" y="537680"/>
                </a:lnTo>
                <a:lnTo>
                  <a:pt x="1709224" y="475780"/>
                </a:lnTo>
                <a:lnTo>
                  <a:pt x="1674644" y="416621"/>
                </a:lnTo>
                <a:lnTo>
                  <a:pt x="1635616" y="360428"/>
                </a:lnTo>
                <a:lnTo>
                  <a:pt x="1592373" y="307429"/>
                </a:lnTo>
                <a:lnTo>
                  <a:pt x="1545147" y="257849"/>
                </a:lnTo>
                <a:lnTo>
                  <a:pt x="1494173" y="211917"/>
                </a:lnTo>
                <a:lnTo>
                  <a:pt x="1439682" y="169857"/>
                </a:lnTo>
                <a:lnTo>
                  <a:pt x="1381908" y="131897"/>
                </a:lnTo>
                <a:lnTo>
                  <a:pt x="1321084" y="98263"/>
                </a:lnTo>
                <a:lnTo>
                  <a:pt x="1257442" y="69182"/>
                </a:lnTo>
                <a:lnTo>
                  <a:pt x="1191216" y="44881"/>
                </a:lnTo>
                <a:lnTo>
                  <a:pt x="1122639" y="25585"/>
                </a:lnTo>
                <a:lnTo>
                  <a:pt x="1051942" y="11522"/>
                </a:lnTo>
                <a:lnTo>
                  <a:pt x="979361" y="2918"/>
                </a:lnTo>
                <a:lnTo>
                  <a:pt x="905126" y="0"/>
                </a:lnTo>
                <a:lnTo>
                  <a:pt x="830892" y="2918"/>
                </a:lnTo>
                <a:lnTo>
                  <a:pt x="758310" y="11522"/>
                </a:lnTo>
                <a:lnTo>
                  <a:pt x="687614" y="25585"/>
                </a:lnTo>
                <a:lnTo>
                  <a:pt x="619036" y="44881"/>
                </a:lnTo>
                <a:lnTo>
                  <a:pt x="552810" y="69182"/>
                </a:lnTo>
                <a:lnTo>
                  <a:pt x="489168" y="98263"/>
                </a:lnTo>
                <a:lnTo>
                  <a:pt x="428344" y="131897"/>
                </a:lnTo>
                <a:lnTo>
                  <a:pt x="370570" y="169857"/>
                </a:lnTo>
                <a:lnTo>
                  <a:pt x="316079" y="211917"/>
                </a:lnTo>
                <a:lnTo>
                  <a:pt x="265105" y="257849"/>
                </a:lnTo>
                <a:lnTo>
                  <a:pt x="217880" y="307429"/>
                </a:lnTo>
                <a:lnTo>
                  <a:pt x="174636" y="360428"/>
                </a:lnTo>
                <a:lnTo>
                  <a:pt x="135608" y="416621"/>
                </a:lnTo>
                <a:lnTo>
                  <a:pt x="101028" y="475780"/>
                </a:lnTo>
                <a:lnTo>
                  <a:pt x="71129" y="537680"/>
                </a:lnTo>
                <a:lnTo>
                  <a:pt x="46143" y="602094"/>
                </a:lnTo>
                <a:lnTo>
                  <a:pt x="26305" y="668794"/>
                </a:lnTo>
                <a:lnTo>
                  <a:pt x="11846" y="737555"/>
                </a:lnTo>
                <a:lnTo>
                  <a:pt x="3000" y="808151"/>
                </a:lnTo>
                <a:lnTo>
                  <a:pt x="0" y="880353"/>
                </a:lnTo>
                <a:close/>
              </a:path>
            </a:pathLst>
          </a:custGeom>
          <a:solidFill>
            <a:srgbClr val="83984F">
              <a:alpha val="50000"/>
            </a:srgbClr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6" name="object 82"/>
          <p:cNvSpPr/>
          <p:nvPr/>
        </p:nvSpPr>
        <p:spPr>
          <a:xfrm>
            <a:off x="4414372" y="54871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7" name="object 84"/>
          <p:cNvSpPr/>
          <p:nvPr/>
        </p:nvSpPr>
        <p:spPr>
          <a:xfrm>
            <a:off x="5399747" y="55212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8" name="object 86"/>
          <p:cNvSpPr/>
          <p:nvPr/>
        </p:nvSpPr>
        <p:spPr>
          <a:xfrm>
            <a:off x="6251551" y="55023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9" name="object 74"/>
          <p:cNvSpPr/>
          <p:nvPr/>
        </p:nvSpPr>
        <p:spPr>
          <a:xfrm>
            <a:off x="2668469" y="519520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0" name="object 72"/>
          <p:cNvSpPr/>
          <p:nvPr/>
        </p:nvSpPr>
        <p:spPr>
          <a:xfrm>
            <a:off x="5959366" y="251737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40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80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1" name="object 70"/>
          <p:cNvSpPr/>
          <p:nvPr/>
        </p:nvSpPr>
        <p:spPr>
          <a:xfrm>
            <a:off x="5560113" y="213564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2" name="object 68"/>
          <p:cNvSpPr/>
          <p:nvPr/>
        </p:nvSpPr>
        <p:spPr>
          <a:xfrm>
            <a:off x="5148028" y="1723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3" name="object 66"/>
          <p:cNvSpPr/>
          <p:nvPr/>
        </p:nvSpPr>
        <p:spPr>
          <a:xfrm>
            <a:off x="6872003" y="34121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4" name="object 63"/>
          <p:cNvSpPr/>
          <p:nvPr/>
        </p:nvSpPr>
        <p:spPr>
          <a:xfrm>
            <a:off x="5880842" y="502152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6"/>
                </a:lnTo>
                <a:lnTo>
                  <a:pt x="1583" y="198179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6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2"/>
                </a:lnTo>
                <a:lnTo>
                  <a:pt x="49876" y="299561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6"/>
                </a:lnTo>
                <a:lnTo>
                  <a:pt x="196530" y="342926"/>
                </a:lnTo>
                <a:lnTo>
                  <a:pt x="209650" y="339004"/>
                </a:lnTo>
                <a:lnTo>
                  <a:pt x="222295" y="333936"/>
                </a:lnTo>
                <a:lnTo>
                  <a:pt x="234413" y="327778"/>
                </a:lnTo>
                <a:lnTo>
                  <a:pt x="245953" y="320583"/>
                </a:lnTo>
                <a:lnTo>
                  <a:pt x="256864" y="312409"/>
                </a:lnTo>
                <a:lnTo>
                  <a:pt x="267095" y="303311"/>
                </a:lnTo>
                <a:lnTo>
                  <a:pt x="276595" y="293343"/>
                </a:lnTo>
                <a:lnTo>
                  <a:pt x="285312" y="282562"/>
                </a:lnTo>
                <a:lnTo>
                  <a:pt x="293195" y="271023"/>
                </a:lnTo>
                <a:lnTo>
                  <a:pt x="300193" y="258781"/>
                </a:lnTo>
                <a:lnTo>
                  <a:pt x="306255" y="245892"/>
                </a:lnTo>
                <a:lnTo>
                  <a:pt x="311330" y="232411"/>
                </a:lnTo>
                <a:lnTo>
                  <a:pt x="315366" y="218394"/>
                </a:lnTo>
                <a:lnTo>
                  <a:pt x="318312" y="203896"/>
                </a:lnTo>
                <a:lnTo>
                  <a:pt x="320117" y="188973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9" y="93485"/>
                </a:lnTo>
                <a:lnTo>
                  <a:pt x="296006" y="80986"/>
                </a:lnTo>
                <a:lnTo>
                  <a:pt x="288459" y="69169"/>
                </a:lnTo>
                <a:lnTo>
                  <a:pt x="280058" y="58089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4"/>
                </a:lnTo>
                <a:lnTo>
                  <a:pt x="86318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5" name="object 62"/>
          <p:cNvSpPr/>
          <p:nvPr/>
        </p:nvSpPr>
        <p:spPr>
          <a:xfrm>
            <a:off x="4326962" y="34938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6" name="object 60"/>
          <p:cNvSpPr/>
          <p:nvPr/>
        </p:nvSpPr>
        <p:spPr>
          <a:xfrm>
            <a:off x="3451263" y="457102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7" name="object 58"/>
          <p:cNvSpPr/>
          <p:nvPr/>
        </p:nvSpPr>
        <p:spPr>
          <a:xfrm>
            <a:off x="7513462" y="204543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8" name="object 56"/>
          <p:cNvSpPr/>
          <p:nvPr/>
        </p:nvSpPr>
        <p:spPr>
          <a:xfrm>
            <a:off x="6553321" y="196196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9" name="object 54"/>
          <p:cNvSpPr/>
          <p:nvPr/>
        </p:nvSpPr>
        <p:spPr>
          <a:xfrm>
            <a:off x="7353097" y="275391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0" name="object 52"/>
          <p:cNvSpPr/>
          <p:nvPr/>
        </p:nvSpPr>
        <p:spPr>
          <a:xfrm>
            <a:off x="4696124" y="412086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57150">
            <a:solidFill>
              <a:srgbClr val="AAC56C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1" name="object 50"/>
          <p:cNvSpPr/>
          <p:nvPr/>
        </p:nvSpPr>
        <p:spPr>
          <a:xfrm>
            <a:off x="4441297" y="46123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57150">
            <a:solidFill>
              <a:srgbClr val="AAC56C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2" name="object 48"/>
          <p:cNvSpPr/>
          <p:nvPr/>
        </p:nvSpPr>
        <p:spPr>
          <a:xfrm>
            <a:off x="3130532" y="40499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3" name="object 42"/>
          <p:cNvSpPr/>
          <p:nvPr/>
        </p:nvSpPr>
        <p:spPr>
          <a:xfrm>
            <a:off x="5748103" y="33118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4" name="object 44"/>
          <p:cNvSpPr/>
          <p:nvPr/>
        </p:nvSpPr>
        <p:spPr>
          <a:xfrm>
            <a:off x="5560113" y="25802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5" name="object 46"/>
          <p:cNvSpPr/>
          <p:nvPr/>
        </p:nvSpPr>
        <p:spPr>
          <a:xfrm>
            <a:off x="5421508" y="296447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6" name="object 40"/>
          <p:cNvSpPr/>
          <p:nvPr/>
        </p:nvSpPr>
        <p:spPr>
          <a:xfrm>
            <a:off x="5213120" y="49216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7" name="object 38"/>
          <p:cNvSpPr/>
          <p:nvPr/>
        </p:nvSpPr>
        <p:spPr>
          <a:xfrm>
            <a:off x="7032365" y="221911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8" name="object 36"/>
          <p:cNvSpPr/>
          <p:nvPr/>
        </p:nvSpPr>
        <p:spPr>
          <a:xfrm>
            <a:off x="7385165" y="340218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6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7"/>
                </a:lnTo>
                <a:lnTo>
                  <a:pt x="310251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9" name="object 34"/>
          <p:cNvSpPr/>
          <p:nvPr/>
        </p:nvSpPr>
        <p:spPr>
          <a:xfrm>
            <a:off x="5038354" y="24830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0" name="object 32"/>
          <p:cNvSpPr/>
          <p:nvPr/>
        </p:nvSpPr>
        <p:spPr>
          <a:xfrm>
            <a:off x="7192732" y="159327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1" name="object 30"/>
          <p:cNvSpPr/>
          <p:nvPr/>
        </p:nvSpPr>
        <p:spPr>
          <a:xfrm>
            <a:off x="6201572" y="316997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2" name="object 28"/>
          <p:cNvSpPr/>
          <p:nvPr/>
        </p:nvSpPr>
        <p:spPr>
          <a:xfrm>
            <a:off x="4877989" y="532865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3" name="object 26"/>
          <p:cNvSpPr/>
          <p:nvPr/>
        </p:nvSpPr>
        <p:spPr>
          <a:xfrm>
            <a:off x="5581873" y="4521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4" name="object 24"/>
          <p:cNvSpPr/>
          <p:nvPr/>
        </p:nvSpPr>
        <p:spPr>
          <a:xfrm>
            <a:off x="3528670" y="35173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5" name="object 22"/>
          <p:cNvSpPr/>
          <p:nvPr/>
        </p:nvSpPr>
        <p:spPr>
          <a:xfrm>
            <a:off x="3252845" y="520650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6" name="object 20"/>
          <p:cNvSpPr/>
          <p:nvPr/>
        </p:nvSpPr>
        <p:spPr>
          <a:xfrm>
            <a:off x="3849401" y="4051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57150">
            <a:solidFill>
              <a:srgbClr val="AAC56C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7" name="object 18"/>
          <p:cNvSpPr/>
          <p:nvPr/>
        </p:nvSpPr>
        <p:spPr>
          <a:xfrm>
            <a:off x="6713687" y="269105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8" name="object 6"/>
          <p:cNvSpPr txBox="1"/>
          <p:nvPr/>
        </p:nvSpPr>
        <p:spPr>
          <a:xfrm>
            <a:off x="1332125" y="3759280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grpSp>
        <p:nvGrpSpPr>
          <p:cNvPr id="119" name="Group 118"/>
          <p:cNvGrpSpPr/>
          <p:nvPr/>
        </p:nvGrpSpPr>
        <p:grpSpPr>
          <a:xfrm>
            <a:off x="2383438" y="1888930"/>
            <a:ext cx="6303362" cy="4054670"/>
            <a:chOff x="2343901" y="1923700"/>
            <a:chExt cx="6303362" cy="4054670"/>
          </a:xfrm>
        </p:grpSpPr>
        <p:sp>
          <p:nvSpPr>
            <p:cNvPr id="120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121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  <p:sp>
        <p:nvSpPr>
          <p:cNvPr id="122" name="object 15"/>
          <p:cNvSpPr txBox="1"/>
          <p:nvPr/>
        </p:nvSpPr>
        <p:spPr>
          <a:xfrm>
            <a:off x="349882" y="365536"/>
            <a:ext cx="1351013" cy="5207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985"/>
              </a:lnSpc>
              <a:spcBef>
                <a:spcPts val="99"/>
              </a:spcBef>
            </a:pPr>
            <a:r>
              <a:rPr sz="2700" spc="0" baseline="3034" dirty="0" smtClean="0">
                <a:solidFill>
                  <a:srgbClr val="215867"/>
                </a:solidFill>
                <a:latin typeface="+mj-lt"/>
                <a:cs typeface="Calibri"/>
              </a:rPr>
              <a:t>epsilon = 1.75</a:t>
            </a:r>
            <a:endParaRPr sz="1800">
              <a:latin typeface="+mj-lt"/>
              <a:cs typeface="Calibri"/>
            </a:endParaRPr>
          </a:p>
          <a:p>
            <a:pPr marL="12700" marR="34289">
              <a:lnSpc>
                <a:spcPts val="2100"/>
              </a:lnSpc>
              <a:spcBef>
                <a:spcPts val="5"/>
              </a:spcBef>
            </a:pPr>
            <a:r>
              <a:rPr sz="2700" spc="0" baseline="1517" dirty="0" smtClean="0">
                <a:solidFill>
                  <a:srgbClr val="215867"/>
                </a:solidFill>
                <a:latin typeface="+mj-lt"/>
                <a:cs typeface="Calibri"/>
              </a:rPr>
              <a:t>n_clu = 3</a:t>
            </a:r>
            <a:endParaRPr sz="1800">
              <a:latin typeface="+mj-lt"/>
              <a:cs typeface="Calibri"/>
            </a:endParaRPr>
          </a:p>
        </p:txBody>
      </p:sp>
      <p:sp>
        <p:nvSpPr>
          <p:cNvPr id="123" name="object 5"/>
          <p:cNvSpPr txBox="1"/>
          <p:nvPr/>
        </p:nvSpPr>
        <p:spPr>
          <a:xfrm>
            <a:off x="2101916" y="365536"/>
            <a:ext cx="6889684" cy="807913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 marR="41909">
              <a:lnSpc>
                <a:spcPts val="3454"/>
              </a:lnSpc>
              <a:spcBef>
                <a:spcPts val="172"/>
              </a:spcBef>
            </a:pPr>
            <a:r>
              <a:rPr sz="4800" spc="0" baseline="2560" dirty="0" smtClean="0">
                <a:solidFill>
                  <a:srgbClr val="4E81BC"/>
                </a:solidFill>
                <a:latin typeface="+mj-lt"/>
                <a:cs typeface="Calibri"/>
              </a:rPr>
              <a:t>DBSC</a:t>
            </a:r>
            <a:r>
              <a:rPr sz="4800" spc="-4" baseline="2560" dirty="0" smtClean="0">
                <a:solidFill>
                  <a:srgbClr val="4E81BC"/>
                </a:solidFill>
                <a:latin typeface="+mj-lt"/>
                <a:cs typeface="Calibri"/>
              </a:rPr>
              <a:t>A</a:t>
            </a:r>
            <a:r>
              <a:rPr sz="4800" spc="0" baseline="2560" dirty="0" smtClean="0">
                <a:solidFill>
                  <a:srgbClr val="4E81BC"/>
                </a:solidFill>
                <a:latin typeface="+mj-lt"/>
                <a:cs typeface="Calibri"/>
              </a:rPr>
              <a:t>N</a:t>
            </a:r>
            <a:endParaRPr sz="3200" dirty="0">
              <a:latin typeface="+mj-lt"/>
              <a:cs typeface="Calibri"/>
            </a:endParaRPr>
          </a:p>
          <a:p>
            <a:pPr marL="12700">
              <a:lnSpc>
                <a:spcPts val="2770"/>
              </a:lnSpc>
            </a:pPr>
            <a:r>
              <a:rPr lang="en-US" sz="3200" baseline="1137" dirty="0" smtClean="0">
                <a:solidFill>
                  <a:srgbClr val="7F7E7E"/>
                </a:solidFill>
                <a:cs typeface="Calibri"/>
              </a:rPr>
              <a:t>Keep adding neighbors within </a:t>
            </a:r>
            <a:r>
              <a:rPr lang="en-US" sz="3200" i="1" baseline="1137" dirty="0" smtClean="0">
                <a:solidFill>
                  <a:srgbClr val="7F7E7E"/>
                </a:solidFill>
                <a:cs typeface="Calibri"/>
              </a:rPr>
              <a:t>epsilon </a:t>
            </a:r>
            <a:r>
              <a:rPr lang="en-US" sz="3200" baseline="1137" dirty="0" smtClean="0">
                <a:solidFill>
                  <a:srgbClr val="7F7E7E"/>
                </a:solidFill>
                <a:cs typeface="Calibri"/>
              </a:rPr>
              <a:t>as chain reaction</a:t>
            </a:r>
            <a:endParaRPr lang="en-US" sz="3200" i="1" baseline="1137" dirty="0">
              <a:solidFill>
                <a:srgbClr val="7F7E7E"/>
              </a:solidFill>
              <a:cs typeface="Calibri"/>
            </a:endParaRPr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" name="object 3"/>
          <p:cNvSpPr txBox="1"/>
          <p:nvPr/>
        </p:nvSpPr>
        <p:spPr>
          <a:xfrm>
            <a:off x="5426815" y="6116930"/>
            <a:ext cx="542241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latin typeface="Calibri"/>
                <a:cs typeface="Calibri"/>
              </a:rPr>
              <a:t>Age</a:t>
            </a:r>
            <a:endParaRPr sz="2400">
              <a:latin typeface="Calibri"/>
              <a:cs typeface="Calibri"/>
            </a:endParaRPr>
          </a:p>
        </p:txBody>
      </p:sp>
      <p:sp>
        <p:nvSpPr>
          <p:cNvPr id="85" name="object 66"/>
          <p:cNvSpPr/>
          <p:nvPr/>
        </p:nvSpPr>
        <p:spPr>
          <a:xfrm>
            <a:off x="3904732" y="3389205"/>
            <a:ext cx="1810252" cy="1760707"/>
          </a:xfrm>
          <a:custGeom>
            <a:avLst/>
            <a:gdLst/>
            <a:ahLst/>
            <a:cxnLst/>
            <a:rect l="l" t="t" r="r" b="b"/>
            <a:pathLst>
              <a:path w="1810252" h="1760707">
                <a:moveTo>
                  <a:pt x="0" y="880353"/>
                </a:moveTo>
                <a:lnTo>
                  <a:pt x="3000" y="952556"/>
                </a:lnTo>
                <a:lnTo>
                  <a:pt x="11846" y="1023151"/>
                </a:lnTo>
                <a:lnTo>
                  <a:pt x="26305" y="1091913"/>
                </a:lnTo>
                <a:lnTo>
                  <a:pt x="46143" y="1158614"/>
                </a:lnTo>
                <a:lnTo>
                  <a:pt x="71129" y="1223027"/>
                </a:lnTo>
                <a:lnTo>
                  <a:pt x="101028" y="1284927"/>
                </a:lnTo>
                <a:lnTo>
                  <a:pt x="135608" y="1344087"/>
                </a:lnTo>
                <a:lnTo>
                  <a:pt x="174636" y="1400279"/>
                </a:lnTo>
                <a:lnTo>
                  <a:pt x="217880" y="1453279"/>
                </a:lnTo>
                <a:lnTo>
                  <a:pt x="265105" y="1502858"/>
                </a:lnTo>
                <a:lnTo>
                  <a:pt x="316079" y="1548791"/>
                </a:lnTo>
                <a:lnTo>
                  <a:pt x="370570" y="1590850"/>
                </a:lnTo>
                <a:lnTo>
                  <a:pt x="428344" y="1628810"/>
                </a:lnTo>
                <a:lnTo>
                  <a:pt x="489168" y="1662444"/>
                </a:lnTo>
                <a:lnTo>
                  <a:pt x="552810" y="1691525"/>
                </a:lnTo>
                <a:lnTo>
                  <a:pt x="619036" y="1715826"/>
                </a:lnTo>
                <a:lnTo>
                  <a:pt x="687614" y="1735122"/>
                </a:lnTo>
                <a:lnTo>
                  <a:pt x="758310" y="1749185"/>
                </a:lnTo>
                <a:lnTo>
                  <a:pt x="830892" y="1757789"/>
                </a:lnTo>
                <a:lnTo>
                  <a:pt x="905126" y="1760707"/>
                </a:lnTo>
                <a:lnTo>
                  <a:pt x="979361" y="1757789"/>
                </a:lnTo>
                <a:lnTo>
                  <a:pt x="1051942" y="1749185"/>
                </a:lnTo>
                <a:lnTo>
                  <a:pt x="1122639" y="1735122"/>
                </a:lnTo>
                <a:lnTo>
                  <a:pt x="1191216" y="1715826"/>
                </a:lnTo>
                <a:lnTo>
                  <a:pt x="1257442" y="1691525"/>
                </a:lnTo>
                <a:lnTo>
                  <a:pt x="1321084" y="1662444"/>
                </a:lnTo>
                <a:lnTo>
                  <a:pt x="1381908" y="1628810"/>
                </a:lnTo>
                <a:lnTo>
                  <a:pt x="1439682" y="1590850"/>
                </a:lnTo>
                <a:lnTo>
                  <a:pt x="1494173" y="1548791"/>
                </a:lnTo>
                <a:lnTo>
                  <a:pt x="1545147" y="1502858"/>
                </a:lnTo>
                <a:lnTo>
                  <a:pt x="1592373" y="1453279"/>
                </a:lnTo>
                <a:lnTo>
                  <a:pt x="1635616" y="1400279"/>
                </a:lnTo>
                <a:lnTo>
                  <a:pt x="1674644" y="1344087"/>
                </a:lnTo>
                <a:lnTo>
                  <a:pt x="1709224" y="1284927"/>
                </a:lnTo>
                <a:lnTo>
                  <a:pt x="1739123" y="1223027"/>
                </a:lnTo>
                <a:lnTo>
                  <a:pt x="1764109" y="1158614"/>
                </a:lnTo>
                <a:lnTo>
                  <a:pt x="1783947" y="1091913"/>
                </a:lnTo>
                <a:lnTo>
                  <a:pt x="1798406" y="1023151"/>
                </a:lnTo>
                <a:lnTo>
                  <a:pt x="1807252" y="952556"/>
                </a:lnTo>
                <a:lnTo>
                  <a:pt x="1810252" y="880353"/>
                </a:lnTo>
                <a:lnTo>
                  <a:pt x="1807252" y="808151"/>
                </a:lnTo>
                <a:lnTo>
                  <a:pt x="1798406" y="737555"/>
                </a:lnTo>
                <a:lnTo>
                  <a:pt x="1783947" y="668794"/>
                </a:lnTo>
                <a:lnTo>
                  <a:pt x="1764109" y="602094"/>
                </a:lnTo>
                <a:lnTo>
                  <a:pt x="1739123" y="537680"/>
                </a:lnTo>
                <a:lnTo>
                  <a:pt x="1709224" y="475780"/>
                </a:lnTo>
                <a:lnTo>
                  <a:pt x="1674644" y="416621"/>
                </a:lnTo>
                <a:lnTo>
                  <a:pt x="1635616" y="360428"/>
                </a:lnTo>
                <a:lnTo>
                  <a:pt x="1592373" y="307429"/>
                </a:lnTo>
                <a:lnTo>
                  <a:pt x="1545147" y="257849"/>
                </a:lnTo>
                <a:lnTo>
                  <a:pt x="1494173" y="211917"/>
                </a:lnTo>
                <a:lnTo>
                  <a:pt x="1439682" y="169857"/>
                </a:lnTo>
                <a:lnTo>
                  <a:pt x="1381908" y="131897"/>
                </a:lnTo>
                <a:lnTo>
                  <a:pt x="1321084" y="98263"/>
                </a:lnTo>
                <a:lnTo>
                  <a:pt x="1257442" y="69182"/>
                </a:lnTo>
                <a:lnTo>
                  <a:pt x="1191216" y="44881"/>
                </a:lnTo>
                <a:lnTo>
                  <a:pt x="1122639" y="25585"/>
                </a:lnTo>
                <a:lnTo>
                  <a:pt x="1051942" y="11522"/>
                </a:lnTo>
                <a:lnTo>
                  <a:pt x="979361" y="2918"/>
                </a:lnTo>
                <a:lnTo>
                  <a:pt x="905126" y="0"/>
                </a:lnTo>
                <a:lnTo>
                  <a:pt x="830892" y="2918"/>
                </a:lnTo>
                <a:lnTo>
                  <a:pt x="758310" y="11522"/>
                </a:lnTo>
                <a:lnTo>
                  <a:pt x="687614" y="25585"/>
                </a:lnTo>
                <a:lnTo>
                  <a:pt x="619036" y="44881"/>
                </a:lnTo>
                <a:lnTo>
                  <a:pt x="552810" y="69182"/>
                </a:lnTo>
                <a:lnTo>
                  <a:pt x="489168" y="98263"/>
                </a:lnTo>
                <a:lnTo>
                  <a:pt x="428344" y="131897"/>
                </a:lnTo>
                <a:lnTo>
                  <a:pt x="370570" y="169857"/>
                </a:lnTo>
                <a:lnTo>
                  <a:pt x="316079" y="211917"/>
                </a:lnTo>
                <a:lnTo>
                  <a:pt x="265105" y="257849"/>
                </a:lnTo>
                <a:lnTo>
                  <a:pt x="217880" y="307429"/>
                </a:lnTo>
                <a:lnTo>
                  <a:pt x="174636" y="360428"/>
                </a:lnTo>
                <a:lnTo>
                  <a:pt x="135608" y="416621"/>
                </a:lnTo>
                <a:lnTo>
                  <a:pt x="101028" y="475780"/>
                </a:lnTo>
                <a:lnTo>
                  <a:pt x="71129" y="537680"/>
                </a:lnTo>
                <a:lnTo>
                  <a:pt x="46143" y="602094"/>
                </a:lnTo>
                <a:lnTo>
                  <a:pt x="26305" y="668794"/>
                </a:lnTo>
                <a:lnTo>
                  <a:pt x="11846" y="737555"/>
                </a:lnTo>
                <a:lnTo>
                  <a:pt x="3000" y="808151"/>
                </a:lnTo>
                <a:lnTo>
                  <a:pt x="0" y="880353"/>
                </a:lnTo>
                <a:close/>
              </a:path>
            </a:pathLst>
          </a:custGeom>
          <a:solidFill>
            <a:srgbClr val="83984F">
              <a:alpha val="50000"/>
            </a:srgbClr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6" name="object 82"/>
          <p:cNvSpPr/>
          <p:nvPr/>
        </p:nvSpPr>
        <p:spPr>
          <a:xfrm>
            <a:off x="4414372" y="54871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7" name="object 84"/>
          <p:cNvSpPr/>
          <p:nvPr/>
        </p:nvSpPr>
        <p:spPr>
          <a:xfrm>
            <a:off x="5399747" y="55212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8" name="object 86"/>
          <p:cNvSpPr/>
          <p:nvPr/>
        </p:nvSpPr>
        <p:spPr>
          <a:xfrm>
            <a:off x="6251551" y="55023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9" name="object 74"/>
          <p:cNvSpPr/>
          <p:nvPr/>
        </p:nvSpPr>
        <p:spPr>
          <a:xfrm>
            <a:off x="2668469" y="519520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0" name="object 72"/>
          <p:cNvSpPr/>
          <p:nvPr/>
        </p:nvSpPr>
        <p:spPr>
          <a:xfrm>
            <a:off x="5959366" y="251737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40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80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1" name="object 70"/>
          <p:cNvSpPr/>
          <p:nvPr/>
        </p:nvSpPr>
        <p:spPr>
          <a:xfrm>
            <a:off x="5560113" y="213564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2" name="object 68"/>
          <p:cNvSpPr/>
          <p:nvPr/>
        </p:nvSpPr>
        <p:spPr>
          <a:xfrm>
            <a:off x="5148028" y="1723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3" name="object 66"/>
          <p:cNvSpPr/>
          <p:nvPr/>
        </p:nvSpPr>
        <p:spPr>
          <a:xfrm>
            <a:off x="6872003" y="34121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4" name="object 63"/>
          <p:cNvSpPr/>
          <p:nvPr/>
        </p:nvSpPr>
        <p:spPr>
          <a:xfrm>
            <a:off x="5880842" y="502152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6"/>
                </a:lnTo>
                <a:lnTo>
                  <a:pt x="1583" y="198179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6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2"/>
                </a:lnTo>
                <a:lnTo>
                  <a:pt x="49876" y="299561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6"/>
                </a:lnTo>
                <a:lnTo>
                  <a:pt x="196530" y="342926"/>
                </a:lnTo>
                <a:lnTo>
                  <a:pt x="209650" y="339004"/>
                </a:lnTo>
                <a:lnTo>
                  <a:pt x="222295" y="333936"/>
                </a:lnTo>
                <a:lnTo>
                  <a:pt x="234413" y="327778"/>
                </a:lnTo>
                <a:lnTo>
                  <a:pt x="245953" y="320583"/>
                </a:lnTo>
                <a:lnTo>
                  <a:pt x="256864" y="312409"/>
                </a:lnTo>
                <a:lnTo>
                  <a:pt x="267095" y="303311"/>
                </a:lnTo>
                <a:lnTo>
                  <a:pt x="276595" y="293343"/>
                </a:lnTo>
                <a:lnTo>
                  <a:pt x="285312" y="282562"/>
                </a:lnTo>
                <a:lnTo>
                  <a:pt x="293195" y="271023"/>
                </a:lnTo>
                <a:lnTo>
                  <a:pt x="300193" y="258781"/>
                </a:lnTo>
                <a:lnTo>
                  <a:pt x="306255" y="245892"/>
                </a:lnTo>
                <a:lnTo>
                  <a:pt x="311330" y="232411"/>
                </a:lnTo>
                <a:lnTo>
                  <a:pt x="315366" y="218394"/>
                </a:lnTo>
                <a:lnTo>
                  <a:pt x="318312" y="203896"/>
                </a:lnTo>
                <a:lnTo>
                  <a:pt x="320117" y="188973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9" y="93485"/>
                </a:lnTo>
                <a:lnTo>
                  <a:pt x="296006" y="80986"/>
                </a:lnTo>
                <a:lnTo>
                  <a:pt x="288459" y="69169"/>
                </a:lnTo>
                <a:lnTo>
                  <a:pt x="280058" y="58089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4"/>
                </a:lnTo>
                <a:lnTo>
                  <a:pt x="86318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5" name="object 62"/>
          <p:cNvSpPr/>
          <p:nvPr/>
        </p:nvSpPr>
        <p:spPr>
          <a:xfrm>
            <a:off x="4326962" y="34938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57150">
            <a:solidFill>
              <a:srgbClr val="AAC56C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6" name="object 60"/>
          <p:cNvSpPr/>
          <p:nvPr/>
        </p:nvSpPr>
        <p:spPr>
          <a:xfrm>
            <a:off x="3451263" y="457102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7" name="object 58"/>
          <p:cNvSpPr/>
          <p:nvPr/>
        </p:nvSpPr>
        <p:spPr>
          <a:xfrm>
            <a:off x="7513462" y="204543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8" name="object 56"/>
          <p:cNvSpPr/>
          <p:nvPr/>
        </p:nvSpPr>
        <p:spPr>
          <a:xfrm>
            <a:off x="6553321" y="196196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9" name="object 54"/>
          <p:cNvSpPr/>
          <p:nvPr/>
        </p:nvSpPr>
        <p:spPr>
          <a:xfrm>
            <a:off x="7353097" y="275391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0" name="object 52"/>
          <p:cNvSpPr/>
          <p:nvPr/>
        </p:nvSpPr>
        <p:spPr>
          <a:xfrm>
            <a:off x="4696124" y="412086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1" name="object 50"/>
          <p:cNvSpPr/>
          <p:nvPr/>
        </p:nvSpPr>
        <p:spPr>
          <a:xfrm>
            <a:off x="4441297" y="46123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2" name="object 48"/>
          <p:cNvSpPr/>
          <p:nvPr/>
        </p:nvSpPr>
        <p:spPr>
          <a:xfrm>
            <a:off x="3130532" y="40499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3" name="object 42"/>
          <p:cNvSpPr/>
          <p:nvPr/>
        </p:nvSpPr>
        <p:spPr>
          <a:xfrm>
            <a:off x="5748103" y="33118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4" name="object 44"/>
          <p:cNvSpPr/>
          <p:nvPr/>
        </p:nvSpPr>
        <p:spPr>
          <a:xfrm>
            <a:off x="5560113" y="25802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5" name="object 46"/>
          <p:cNvSpPr/>
          <p:nvPr/>
        </p:nvSpPr>
        <p:spPr>
          <a:xfrm>
            <a:off x="5421508" y="296447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6" name="object 40"/>
          <p:cNvSpPr/>
          <p:nvPr/>
        </p:nvSpPr>
        <p:spPr>
          <a:xfrm>
            <a:off x="5213120" y="49216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7" name="object 38"/>
          <p:cNvSpPr/>
          <p:nvPr/>
        </p:nvSpPr>
        <p:spPr>
          <a:xfrm>
            <a:off x="7032365" y="221911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8" name="object 36"/>
          <p:cNvSpPr/>
          <p:nvPr/>
        </p:nvSpPr>
        <p:spPr>
          <a:xfrm>
            <a:off x="7385165" y="340218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6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7"/>
                </a:lnTo>
                <a:lnTo>
                  <a:pt x="310251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9" name="object 34"/>
          <p:cNvSpPr/>
          <p:nvPr/>
        </p:nvSpPr>
        <p:spPr>
          <a:xfrm>
            <a:off x="5038354" y="24830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0" name="object 32"/>
          <p:cNvSpPr/>
          <p:nvPr/>
        </p:nvSpPr>
        <p:spPr>
          <a:xfrm>
            <a:off x="7192732" y="159327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1" name="object 30"/>
          <p:cNvSpPr/>
          <p:nvPr/>
        </p:nvSpPr>
        <p:spPr>
          <a:xfrm>
            <a:off x="6201572" y="316997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2" name="object 28"/>
          <p:cNvSpPr/>
          <p:nvPr/>
        </p:nvSpPr>
        <p:spPr>
          <a:xfrm>
            <a:off x="4877989" y="532865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3" name="object 26"/>
          <p:cNvSpPr/>
          <p:nvPr/>
        </p:nvSpPr>
        <p:spPr>
          <a:xfrm>
            <a:off x="5581873" y="4521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4" name="object 24"/>
          <p:cNvSpPr/>
          <p:nvPr/>
        </p:nvSpPr>
        <p:spPr>
          <a:xfrm>
            <a:off x="3528670" y="35173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5" name="object 22"/>
          <p:cNvSpPr/>
          <p:nvPr/>
        </p:nvSpPr>
        <p:spPr>
          <a:xfrm>
            <a:off x="3252845" y="520650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6" name="object 20"/>
          <p:cNvSpPr/>
          <p:nvPr/>
        </p:nvSpPr>
        <p:spPr>
          <a:xfrm>
            <a:off x="3849401" y="4051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57150">
            <a:solidFill>
              <a:srgbClr val="AAC56C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7" name="object 18"/>
          <p:cNvSpPr/>
          <p:nvPr/>
        </p:nvSpPr>
        <p:spPr>
          <a:xfrm>
            <a:off x="6713687" y="269105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8" name="object 6"/>
          <p:cNvSpPr txBox="1"/>
          <p:nvPr/>
        </p:nvSpPr>
        <p:spPr>
          <a:xfrm>
            <a:off x="1332125" y="3759280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grpSp>
        <p:nvGrpSpPr>
          <p:cNvPr id="119" name="Group 118"/>
          <p:cNvGrpSpPr/>
          <p:nvPr/>
        </p:nvGrpSpPr>
        <p:grpSpPr>
          <a:xfrm>
            <a:off x="2383438" y="1888930"/>
            <a:ext cx="6303362" cy="4054670"/>
            <a:chOff x="2343901" y="1923700"/>
            <a:chExt cx="6303362" cy="4054670"/>
          </a:xfrm>
        </p:grpSpPr>
        <p:sp>
          <p:nvSpPr>
            <p:cNvPr id="120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121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  <p:sp>
        <p:nvSpPr>
          <p:cNvPr id="122" name="object 15"/>
          <p:cNvSpPr txBox="1"/>
          <p:nvPr/>
        </p:nvSpPr>
        <p:spPr>
          <a:xfrm>
            <a:off x="349882" y="365536"/>
            <a:ext cx="1351013" cy="5207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985"/>
              </a:lnSpc>
              <a:spcBef>
                <a:spcPts val="99"/>
              </a:spcBef>
            </a:pPr>
            <a:r>
              <a:rPr sz="2700" spc="0" baseline="3034" dirty="0" smtClean="0">
                <a:solidFill>
                  <a:srgbClr val="215867"/>
                </a:solidFill>
                <a:latin typeface="+mj-lt"/>
                <a:cs typeface="Calibri"/>
              </a:rPr>
              <a:t>epsilon = 1.75</a:t>
            </a:r>
            <a:endParaRPr sz="1800">
              <a:latin typeface="+mj-lt"/>
              <a:cs typeface="Calibri"/>
            </a:endParaRPr>
          </a:p>
          <a:p>
            <a:pPr marL="12700" marR="34289">
              <a:lnSpc>
                <a:spcPts val="2100"/>
              </a:lnSpc>
              <a:spcBef>
                <a:spcPts val="5"/>
              </a:spcBef>
            </a:pPr>
            <a:r>
              <a:rPr sz="2700" spc="0" baseline="1517" dirty="0" smtClean="0">
                <a:solidFill>
                  <a:srgbClr val="215867"/>
                </a:solidFill>
                <a:latin typeface="+mj-lt"/>
                <a:cs typeface="Calibri"/>
              </a:rPr>
              <a:t>n_clu = 3</a:t>
            </a:r>
            <a:endParaRPr sz="1800">
              <a:latin typeface="+mj-lt"/>
              <a:cs typeface="Calibri"/>
            </a:endParaRPr>
          </a:p>
        </p:txBody>
      </p:sp>
      <p:sp>
        <p:nvSpPr>
          <p:cNvPr id="123" name="object 5"/>
          <p:cNvSpPr txBox="1"/>
          <p:nvPr/>
        </p:nvSpPr>
        <p:spPr>
          <a:xfrm>
            <a:off x="2101916" y="365536"/>
            <a:ext cx="6889684" cy="807913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 marR="41909">
              <a:lnSpc>
                <a:spcPts val="3454"/>
              </a:lnSpc>
              <a:spcBef>
                <a:spcPts val="172"/>
              </a:spcBef>
            </a:pPr>
            <a:r>
              <a:rPr sz="4800" spc="0" baseline="2560" dirty="0" smtClean="0">
                <a:solidFill>
                  <a:srgbClr val="4E81BC"/>
                </a:solidFill>
                <a:latin typeface="+mj-lt"/>
                <a:cs typeface="Calibri"/>
              </a:rPr>
              <a:t>DBSC</a:t>
            </a:r>
            <a:r>
              <a:rPr sz="4800" spc="-4" baseline="2560" dirty="0" smtClean="0">
                <a:solidFill>
                  <a:srgbClr val="4E81BC"/>
                </a:solidFill>
                <a:latin typeface="+mj-lt"/>
                <a:cs typeface="Calibri"/>
              </a:rPr>
              <a:t>A</a:t>
            </a:r>
            <a:r>
              <a:rPr sz="4800" spc="0" baseline="2560" dirty="0" smtClean="0">
                <a:solidFill>
                  <a:srgbClr val="4E81BC"/>
                </a:solidFill>
                <a:latin typeface="+mj-lt"/>
                <a:cs typeface="Calibri"/>
              </a:rPr>
              <a:t>N</a:t>
            </a:r>
            <a:endParaRPr sz="3200" dirty="0">
              <a:latin typeface="+mj-lt"/>
              <a:cs typeface="Calibri"/>
            </a:endParaRPr>
          </a:p>
          <a:p>
            <a:pPr marL="12700">
              <a:lnSpc>
                <a:spcPts val="2770"/>
              </a:lnSpc>
            </a:pPr>
            <a:r>
              <a:rPr lang="en-US" sz="3200" baseline="1137" dirty="0" smtClean="0">
                <a:solidFill>
                  <a:srgbClr val="7F7E7E"/>
                </a:solidFill>
                <a:cs typeface="Calibri"/>
              </a:rPr>
              <a:t>Keep adding neighbors within </a:t>
            </a:r>
            <a:r>
              <a:rPr lang="en-US" sz="3200" i="1" baseline="1137" dirty="0" smtClean="0">
                <a:solidFill>
                  <a:srgbClr val="7F7E7E"/>
                </a:solidFill>
                <a:cs typeface="Calibri"/>
              </a:rPr>
              <a:t>epsilon </a:t>
            </a:r>
            <a:r>
              <a:rPr lang="en-US" sz="3200" baseline="1137" dirty="0" smtClean="0">
                <a:solidFill>
                  <a:srgbClr val="7F7E7E"/>
                </a:solidFill>
                <a:cs typeface="Calibri"/>
              </a:rPr>
              <a:t>as chain reaction</a:t>
            </a:r>
            <a:endParaRPr lang="en-US" sz="3200" i="1" baseline="1137" dirty="0">
              <a:solidFill>
                <a:srgbClr val="7F7E7E"/>
              </a:solidFill>
              <a:cs typeface="Calibri"/>
            </a:endParaRPr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" name="object 3"/>
          <p:cNvSpPr txBox="1"/>
          <p:nvPr/>
        </p:nvSpPr>
        <p:spPr>
          <a:xfrm>
            <a:off x="5426815" y="6116930"/>
            <a:ext cx="542241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latin typeface="Calibri"/>
                <a:cs typeface="Calibri"/>
              </a:rPr>
              <a:t>Age</a:t>
            </a:r>
            <a:endParaRPr sz="2400">
              <a:latin typeface="Calibri"/>
              <a:cs typeface="Calibri"/>
            </a:endParaRPr>
          </a:p>
        </p:txBody>
      </p:sp>
      <p:sp>
        <p:nvSpPr>
          <p:cNvPr id="85" name="object 66"/>
          <p:cNvSpPr/>
          <p:nvPr/>
        </p:nvSpPr>
        <p:spPr>
          <a:xfrm>
            <a:off x="3640702" y="2845593"/>
            <a:ext cx="1810252" cy="1760707"/>
          </a:xfrm>
          <a:custGeom>
            <a:avLst/>
            <a:gdLst/>
            <a:ahLst/>
            <a:cxnLst/>
            <a:rect l="l" t="t" r="r" b="b"/>
            <a:pathLst>
              <a:path w="1810252" h="1760707">
                <a:moveTo>
                  <a:pt x="0" y="880353"/>
                </a:moveTo>
                <a:lnTo>
                  <a:pt x="3000" y="952556"/>
                </a:lnTo>
                <a:lnTo>
                  <a:pt x="11846" y="1023151"/>
                </a:lnTo>
                <a:lnTo>
                  <a:pt x="26305" y="1091913"/>
                </a:lnTo>
                <a:lnTo>
                  <a:pt x="46143" y="1158614"/>
                </a:lnTo>
                <a:lnTo>
                  <a:pt x="71129" y="1223027"/>
                </a:lnTo>
                <a:lnTo>
                  <a:pt x="101028" y="1284927"/>
                </a:lnTo>
                <a:lnTo>
                  <a:pt x="135608" y="1344087"/>
                </a:lnTo>
                <a:lnTo>
                  <a:pt x="174636" y="1400279"/>
                </a:lnTo>
                <a:lnTo>
                  <a:pt x="217880" y="1453279"/>
                </a:lnTo>
                <a:lnTo>
                  <a:pt x="265105" y="1502858"/>
                </a:lnTo>
                <a:lnTo>
                  <a:pt x="316079" y="1548791"/>
                </a:lnTo>
                <a:lnTo>
                  <a:pt x="370570" y="1590850"/>
                </a:lnTo>
                <a:lnTo>
                  <a:pt x="428344" y="1628810"/>
                </a:lnTo>
                <a:lnTo>
                  <a:pt x="489168" y="1662444"/>
                </a:lnTo>
                <a:lnTo>
                  <a:pt x="552810" y="1691525"/>
                </a:lnTo>
                <a:lnTo>
                  <a:pt x="619036" y="1715826"/>
                </a:lnTo>
                <a:lnTo>
                  <a:pt x="687614" y="1735122"/>
                </a:lnTo>
                <a:lnTo>
                  <a:pt x="758310" y="1749185"/>
                </a:lnTo>
                <a:lnTo>
                  <a:pt x="830892" y="1757789"/>
                </a:lnTo>
                <a:lnTo>
                  <a:pt x="905126" y="1760707"/>
                </a:lnTo>
                <a:lnTo>
                  <a:pt x="979361" y="1757789"/>
                </a:lnTo>
                <a:lnTo>
                  <a:pt x="1051942" y="1749185"/>
                </a:lnTo>
                <a:lnTo>
                  <a:pt x="1122639" y="1735122"/>
                </a:lnTo>
                <a:lnTo>
                  <a:pt x="1191216" y="1715826"/>
                </a:lnTo>
                <a:lnTo>
                  <a:pt x="1257442" y="1691525"/>
                </a:lnTo>
                <a:lnTo>
                  <a:pt x="1321084" y="1662444"/>
                </a:lnTo>
                <a:lnTo>
                  <a:pt x="1381908" y="1628810"/>
                </a:lnTo>
                <a:lnTo>
                  <a:pt x="1439682" y="1590850"/>
                </a:lnTo>
                <a:lnTo>
                  <a:pt x="1494173" y="1548791"/>
                </a:lnTo>
                <a:lnTo>
                  <a:pt x="1545147" y="1502858"/>
                </a:lnTo>
                <a:lnTo>
                  <a:pt x="1592373" y="1453279"/>
                </a:lnTo>
                <a:lnTo>
                  <a:pt x="1635616" y="1400279"/>
                </a:lnTo>
                <a:lnTo>
                  <a:pt x="1674644" y="1344087"/>
                </a:lnTo>
                <a:lnTo>
                  <a:pt x="1709224" y="1284927"/>
                </a:lnTo>
                <a:lnTo>
                  <a:pt x="1739123" y="1223027"/>
                </a:lnTo>
                <a:lnTo>
                  <a:pt x="1764109" y="1158614"/>
                </a:lnTo>
                <a:lnTo>
                  <a:pt x="1783947" y="1091913"/>
                </a:lnTo>
                <a:lnTo>
                  <a:pt x="1798406" y="1023151"/>
                </a:lnTo>
                <a:lnTo>
                  <a:pt x="1807252" y="952556"/>
                </a:lnTo>
                <a:lnTo>
                  <a:pt x="1810252" y="880353"/>
                </a:lnTo>
                <a:lnTo>
                  <a:pt x="1807252" y="808151"/>
                </a:lnTo>
                <a:lnTo>
                  <a:pt x="1798406" y="737555"/>
                </a:lnTo>
                <a:lnTo>
                  <a:pt x="1783947" y="668794"/>
                </a:lnTo>
                <a:lnTo>
                  <a:pt x="1764109" y="602094"/>
                </a:lnTo>
                <a:lnTo>
                  <a:pt x="1739123" y="537680"/>
                </a:lnTo>
                <a:lnTo>
                  <a:pt x="1709224" y="475780"/>
                </a:lnTo>
                <a:lnTo>
                  <a:pt x="1674644" y="416621"/>
                </a:lnTo>
                <a:lnTo>
                  <a:pt x="1635616" y="360428"/>
                </a:lnTo>
                <a:lnTo>
                  <a:pt x="1592373" y="307429"/>
                </a:lnTo>
                <a:lnTo>
                  <a:pt x="1545147" y="257849"/>
                </a:lnTo>
                <a:lnTo>
                  <a:pt x="1494173" y="211917"/>
                </a:lnTo>
                <a:lnTo>
                  <a:pt x="1439682" y="169857"/>
                </a:lnTo>
                <a:lnTo>
                  <a:pt x="1381908" y="131897"/>
                </a:lnTo>
                <a:lnTo>
                  <a:pt x="1321084" y="98263"/>
                </a:lnTo>
                <a:lnTo>
                  <a:pt x="1257442" y="69182"/>
                </a:lnTo>
                <a:lnTo>
                  <a:pt x="1191216" y="44881"/>
                </a:lnTo>
                <a:lnTo>
                  <a:pt x="1122639" y="25585"/>
                </a:lnTo>
                <a:lnTo>
                  <a:pt x="1051942" y="11522"/>
                </a:lnTo>
                <a:lnTo>
                  <a:pt x="979361" y="2918"/>
                </a:lnTo>
                <a:lnTo>
                  <a:pt x="905126" y="0"/>
                </a:lnTo>
                <a:lnTo>
                  <a:pt x="830892" y="2918"/>
                </a:lnTo>
                <a:lnTo>
                  <a:pt x="758310" y="11522"/>
                </a:lnTo>
                <a:lnTo>
                  <a:pt x="687614" y="25585"/>
                </a:lnTo>
                <a:lnTo>
                  <a:pt x="619036" y="44881"/>
                </a:lnTo>
                <a:lnTo>
                  <a:pt x="552810" y="69182"/>
                </a:lnTo>
                <a:lnTo>
                  <a:pt x="489168" y="98263"/>
                </a:lnTo>
                <a:lnTo>
                  <a:pt x="428344" y="131897"/>
                </a:lnTo>
                <a:lnTo>
                  <a:pt x="370570" y="169857"/>
                </a:lnTo>
                <a:lnTo>
                  <a:pt x="316079" y="211917"/>
                </a:lnTo>
                <a:lnTo>
                  <a:pt x="265105" y="257849"/>
                </a:lnTo>
                <a:lnTo>
                  <a:pt x="217880" y="307429"/>
                </a:lnTo>
                <a:lnTo>
                  <a:pt x="174636" y="360428"/>
                </a:lnTo>
                <a:lnTo>
                  <a:pt x="135608" y="416621"/>
                </a:lnTo>
                <a:lnTo>
                  <a:pt x="101028" y="475780"/>
                </a:lnTo>
                <a:lnTo>
                  <a:pt x="71129" y="537680"/>
                </a:lnTo>
                <a:lnTo>
                  <a:pt x="46143" y="602094"/>
                </a:lnTo>
                <a:lnTo>
                  <a:pt x="26305" y="668794"/>
                </a:lnTo>
                <a:lnTo>
                  <a:pt x="11846" y="737555"/>
                </a:lnTo>
                <a:lnTo>
                  <a:pt x="3000" y="808151"/>
                </a:lnTo>
                <a:lnTo>
                  <a:pt x="0" y="880353"/>
                </a:lnTo>
                <a:close/>
              </a:path>
            </a:pathLst>
          </a:custGeom>
          <a:solidFill>
            <a:srgbClr val="83984F">
              <a:alpha val="50000"/>
            </a:srgbClr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6" name="object 82"/>
          <p:cNvSpPr/>
          <p:nvPr/>
        </p:nvSpPr>
        <p:spPr>
          <a:xfrm>
            <a:off x="4414372" y="54871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7" name="object 84"/>
          <p:cNvSpPr/>
          <p:nvPr/>
        </p:nvSpPr>
        <p:spPr>
          <a:xfrm>
            <a:off x="5399747" y="55212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8" name="object 86"/>
          <p:cNvSpPr/>
          <p:nvPr/>
        </p:nvSpPr>
        <p:spPr>
          <a:xfrm>
            <a:off x="6251551" y="55023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9" name="object 74"/>
          <p:cNvSpPr/>
          <p:nvPr/>
        </p:nvSpPr>
        <p:spPr>
          <a:xfrm>
            <a:off x="2668469" y="519520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0" name="object 72"/>
          <p:cNvSpPr/>
          <p:nvPr/>
        </p:nvSpPr>
        <p:spPr>
          <a:xfrm>
            <a:off x="5959366" y="251737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40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80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1" name="object 70"/>
          <p:cNvSpPr/>
          <p:nvPr/>
        </p:nvSpPr>
        <p:spPr>
          <a:xfrm>
            <a:off x="5560113" y="213564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2" name="object 68"/>
          <p:cNvSpPr/>
          <p:nvPr/>
        </p:nvSpPr>
        <p:spPr>
          <a:xfrm>
            <a:off x="5148028" y="1723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3" name="object 66"/>
          <p:cNvSpPr/>
          <p:nvPr/>
        </p:nvSpPr>
        <p:spPr>
          <a:xfrm>
            <a:off x="6872003" y="34121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4" name="object 63"/>
          <p:cNvSpPr/>
          <p:nvPr/>
        </p:nvSpPr>
        <p:spPr>
          <a:xfrm>
            <a:off x="5880842" y="502152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6"/>
                </a:lnTo>
                <a:lnTo>
                  <a:pt x="1583" y="198179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6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2"/>
                </a:lnTo>
                <a:lnTo>
                  <a:pt x="49876" y="299561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6"/>
                </a:lnTo>
                <a:lnTo>
                  <a:pt x="196530" y="342926"/>
                </a:lnTo>
                <a:lnTo>
                  <a:pt x="209650" y="339004"/>
                </a:lnTo>
                <a:lnTo>
                  <a:pt x="222295" y="333936"/>
                </a:lnTo>
                <a:lnTo>
                  <a:pt x="234413" y="327778"/>
                </a:lnTo>
                <a:lnTo>
                  <a:pt x="245953" y="320583"/>
                </a:lnTo>
                <a:lnTo>
                  <a:pt x="256864" y="312409"/>
                </a:lnTo>
                <a:lnTo>
                  <a:pt x="267095" y="303311"/>
                </a:lnTo>
                <a:lnTo>
                  <a:pt x="276595" y="293343"/>
                </a:lnTo>
                <a:lnTo>
                  <a:pt x="285312" y="282562"/>
                </a:lnTo>
                <a:lnTo>
                  <a:pt x="293195" y="271023"/>
                </a:lnTo>
                <a:lnTo>
                  <a:pt x="300193" y="258781"/>
                </a:lnTo>
                <a:lnTo>
                  <a:pt x="306255" y="245892"/>
                </a:lnTo>
                <a:lnTo>
                  <a:pt x="311330" y="232411"/>
                </a:lnTo>
                <a:lnTo>
                  <a:pt x="315366" y="218394"/>
                </a:lnTo>
                <a:lnTo>
                  <a:pt x="318312" y="203896"/>
                </a:lnTo>
                <a:lnTo>
                  <a:pt x="320117" y="188973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9" y="93485"/>
                </a:lnTo>
                <a:lnTo>
                  <a:pt x="296006" y="80986"/>
                </a:lnTo>
                <a:lnTo>
                  <a:pt x="288459" y="69169"/>
                </a:lnTo>
                <a:lnTo>
                  <a:pt x="280058" y="58089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4"/>
                </a:lnTo>
                <a:lnTo>
                  <a:pt x="86318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5" name="object 62"/>
          <p:cNvSpPr/>
          <p:nvPr/>
        </p:nvSpPr>
        <p:spPr>
          <a:xfrm>
            <a:off x="4326962" y="34938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6" name="object 60"/>
          <p:cNvSpPr/>
          <p:nvPr/>
        </p:nvSpPr>
        <p:spPr>
          <a:xfrm>
            <a:off x="3451263" y="457102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7" name="object 58"/>
          <p:cNvSpPr/>
          <p:nvPr/>
        </p:nvSpPr>
        <p:spPr>
          <a:xfrm>
            <a:off x="7513462" y="204543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8" name="object 56"/>
          <p:cNvSpPr/>
          <p:nvPr/>
        </p:nvSpPr>
        <p:spPr>
          <a:xfrm>
            <a:off x="6553321" y="196196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9" name="object 54"/>
          <p:cNvSpPr/>
          <p:nvPr/>
        </p:nvSpPr>
        <p:spPr>
          <a:xfrm>
            <a:off x="7353097" y="275391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0" name="object 52"/>
          <p:cNvSpPr/>
          <p:nvPr/>
        </p:nvSpPr>
        <p:spPr>
          <a:xfrm>
            <a:off x="4696124" y="412086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1" name="object 50"/>
          <p:cNvSpPr/>
          <p:nvPr/>
        </p:nvSpPr>
        <p:spPr>
          <a:xfrm>
            <a:off x="4441297" y="46123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2" name="object 48"/>
          <p:cNvSpPr/>
          <p:nvPr/>
        </p:nvSpPr>
        <p:spPr>
          <a:xfrm>
            <a:off x="3130532" y="40499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3" name="object 42"/>
          <p:cNvSpPr/>
          <p:nvPr/>
        </p:nvSpPr>
        <p:spPr>
          <a:xfrm>
            <a:off x="5748103" y="33118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4" name="object 44"/>
          <p:cNvSpPr/>
          <p:nvPr/>
        </p:nvSpPr>
        <p:spPr>
          <a:xfrm>
            <a:off x="5560113" y="25802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5" name="object 46"/>
          <p:cNvSpPr/>
          <p:nvPr/>
        </p:nvSpPr>
        <p:spPr>
          <a:xfrm>
            <a:off x="5421508" y="296447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6" name="object 40"/>
          <p:cNvSpPr/>
          <p:nvPr/>
        </p:nvSpPr>
        <p:spPr>
          <a:xfrm>
            <a:off x="5213120" y="49216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7" name="object 38"/>
          <p:cNvSpPr/>
          <p:nvPr/>
        </p:nvSpPr>
        <p:spPr>
          <a:xfrm>
            <a:off x="7032365" y="221911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8" name="object 36"/>
          <p:cNvSpPr/>
          <p:nvPr/>
        </p:nvSpPr>
        <p:spPr>
          <a:xfrm>
            <a:off x="7385165" y="340218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6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7"/>
                </a:lnTo>
                <a:lnTo>
                  <a:pt x="310251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9" name="object 34"/>
          <p:cNvSpPr/>
          <p:nvPr/>
        </p:nvSpPr>
        <p:spPr>
          <a:xfrm>
            <a:off x="5038354" y="24830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0" name="object 32"/>
          <p:cNvSpPr/>
          <p:nvPr/>
        </p:nvSpPr>
        <p:spPr>
          <a:xfrm>
            <a:off x="7192732" y="159327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1" name="object 30"/>
          <p:cNvSpPr/>
          <p:nvPr/>
        </p:nvSpPr>
        <p:spPr>
          <a:xfrm>
            <a:off x="6201572" y="316997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2" name="object 28"/>
          <p:cNvSpPr/>
          <p:nvPr/>
        </p:nvSpPr>
        <p:spPr>
          <a:xfrm>
            <a:off x="4877989" y="532865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3" name="object 26"/>
          <p:cNvSpPr/>
          <p:nvPr/>
        </p:nvSpPr>
        <p:spPr>
          <a:xfrm>
            <a:off x="5581873" y="4521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4" name="object 24"/>
          <p:cNvSpPr/>
          <p:nvPr/>
        </p:nvSpPr>
        <p:spPr>
          <a:xfrm>
            <a:off x="3528670" y="35173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57150">
            <a:solidFill>
              <a:srgbClr val="AAC56C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5" name="object 22"/>
          <p:cNvSpPr/>
          <p:nvPr/>
        </p:nvSpPr>
        <p:spPr>
          <a:xfrm>
            <a:off x="3252845" y="520650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6" name="object 20"/>
          <p:cNvSpPr/>
          <p:nvPr/>
        </p:nvSpPr>
        <p:spPr>
          <a:xfrm>
            <a:off x="3849401" y="4051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57150">
            <a:solidFill>
              <a:srgbClr val="AAC56C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7" name="object 18"/>
          <p:cNvSpPr/>
          <p:nvPr/>
        </p:nvSpPr>
        <p:spPr>
          <a:xfrm>
            <a:off x="6713687" y="269105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8" name="object 6"/>
          <p:cNvSpPr txBox="1"/>
          <p:nvPr/>
        </p:nvSpPr>
        <p:spPr>
          <a:xfrm>
            <a:off x="1332125" y="3759280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grpSp>
        <p:nvGrpSpPr>
          <p:cNvPr id="119" name="Group 118"/>
          <p:cNvGrpSpPr/>
          <p:nvPr/>
        </p:nvGrpSpPr>
        <p:grpSpPr>
          <a:xfrm>
            <a:off x="2383438" y="1888930"/>
            <a:ext cx="6303362" cy="4054670"/>
            <a:chOff x="2343901" y="1923700"/>
            <a:chExt cx="6303362" cy="4054670"/>
          </a:xfrm>
        </p:grpSpPr>
        <p:sp>
          <p:nvSpPr>
            <p:cNvPr id="120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121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  <p:sp>
        <p:nvSpPr>
          <p:cNvPr id="122" name="object 15"/>
          <p:cNvSpPr txBox="1"/>
          <p:nvPr/>
        </p:nvSpPr>
        <p:spPr>
          <a:xfrm>
            <a:off x="349882" y="365536"/>
            <a:ext cx="1351013" cy="5207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985"/>
              </a:lnSpc>
              <a:spcBef>
                <a:spcPts val="99"/>
              </a:spcBef>
            </a:pPr>
            <a:r>
              <a:rPr sz="2700" spc="0" baseline="3034" dirty="0" smtClean="0">
                <a:solidFill>
                  <a:srgbClr val="215867"/>
                </a:solidFill>
                <a:latin typeface="+mj-lt"/>
                <a:cs typeface="Calibri"/>
              </a:rPr>
              <a:t>epsilon = 1.75</a:t>
            </a:r>
            <a:endParaRPr sz="1800">
              <a:latin typeface="+mj-lt"/>
              <a:cs typeface="Calibri"/>
            </a:endParaRPr>
          </a:p>
          <a:p>
            <a:pPr marL="12700" marR="34289">
              <a:lnSpc>
                <a:spcPts val="2100"/>
              </a:lnSpc>
              <a:spcBef>
                <a:spcPts val="5"/>
              </a:spcBef>
            </a:pPr>
            <a:r>
              <a:rPr sz="2700" spc="0" baseline="1517" dirty="0" smtClean="0">
                <a:solidFill>
                  <a:srgbClr val="215867"/>
                </a:solidFill>
                <a:latin typeface="+mj-lt"/>
                <a:cs typeface="Calibri"/>
              </a:rPr>
              <a:t>n_clu = 3</a:t>
            </a:r>
            <a:endParaRPr sz="1800">
              <a:latin typeface="+mj-lt"/>
              <a:cs typeface="Calibri"/>
            </a:endParaRPr>
          </a:p>
        </p:txBody>
      </p:sp>
      <p:sp>
        <p:nvSpPr>
          <p:cNvPr id="123" name="object 5"/>
          <p:cNvSpPr txBox="1"/>
          <p:nvPr/>
        </p:nvSpPr>
        <p:spPr>
          <a:xfrm>
            <a:off x="2101916" y="365536"/>
            <a:ext cx="6889684" cy="807913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 marR="41909">
              <a:lnSpc>
                <a:spcPts val="3454"/>
              </a:lnSpc>
              <a:spcBef>
                <a:spcPts val="172"/>
              </a:spcBef>
            </a:pPr>
            <a:r>
              <a:rPr sz="4800" spc="0" baseline="2560" dirty="0" smtClean="0">
                <a:solidFill>
                  <a:srgbClr val="4E81BC"/>
                </a:solidFill>
                <a:latin typeface="+mj-lt"/>
                <a:cs typeface="Calibri"/>
              </a:rPr>
              <a:t>DBSC</a:t>
            </a:r>
            <a:r>
              <a:rPr sz="4800" spc="-4" baseline="2560" dirty="0" smtClean="0">
                <a:solidFill>
                  <a:srgbClr val="4E81BC"/>
                </a:solidFill>
                <a:latin typeface="+mj-lt"/>
                <a:cs typeface="Calibri"/>
              </a:rPr>
              <a:t>A</a:t>
            </a:r>
            <a:r>
              <a:rPr sz="4800" spc="0" baseline="2560" dirty="0" smtClean="0">
                <a:solidFill>
                  <a:srgbClr val="4E81BC"/>
                </a:solidFill>
                <a:latin typeface="+mj-lt"/>
                <a:cs typeface="Calibri"/>
              </a:rPr>
              <a:t>N</a:t>
            </a:r>
            <a:endParaRPr sz="3200" dirty="0">
              <a:latin typeface="+mj-lt"/>
              <a:cs typeface="Calibri"/>
            </a:endParaRPr>
          </a:p>
          <a:p>
            <a:pPr marL="12700">
              <a:lnSpc>
                <a:spcPts val="2770"/>
              </a:lnSpc>
            </a:pPr>
            <a:r>
              <a:rPr lang="en-US" sz="3200" baseline="1137" dirty="0" smtClean="0">
                <a:solidFill>
                  <a:srgbClr val="7F7E7E"/>
                </a:solidFill>
                <a:cs typeface="Calibri"/>
              </a:rPr>
              <a:t>Keep adding neighbors within </a:t>
            </a:r>
            <a:r>
              <a:rPr lang="en-US" sz="3200" i="1" baseline="1137" dirty="0" smtClean="0">
                <a:solidFill>
                  <a:srgbClr val="7F7E7E"/>
                </a:solidFill>
                <a:cs typeface="Calibri"/>
              </a:rPr>
              <a:t>epsilon </a:t>
            </a:r>
            <a:r>
              <a:rPr lang="en-US" sz="3200" baseline="1137" dirty="0" smtClean="0">
                <a:solidFill>
                  <a:srgbClr val="7F7E7E"/>
                </a:solidFill>
                <a:cs typeface="Calibri"/>
              </a:rPr>
              <a:t>as chain reaction</a:t>
            </a:r>
            <a:endParaRPr lang="en-US" sz="3200" i="1" baseline="1137" dirty="0">
              <a:solidFill>
                <a:srgbClr val="7F7E7E"/>
              </a:solidFill>
              <a:cs typeface="Calibri"/>
            </a:endParaRPr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" name="object 3"/>
          <p:cNvSpPr txBox="1"/>
          <p:nvPr/>
        </p:nvSpPr>
        <p:spPr>
          <a:xfrm>
            <a:off x="5426815" y="6116930"/>
            <a:ext cx="542241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latin typeface="Calibri"/>
                <a:cs typeface="Calibri"/>
              </a:rPr>
              <a:t>Age</a:t>
            </a:r>
            <a:endParaRPr sz="2400">
              <a:latin typeface="Calibri"/>
              <a:cs typeface="Calibri"/>
            </a:endParaRPr>
          </a:p>
        </p:txBody>
      </p:sp>
      <p:sp>
        <p:nvSpPr>
          <p:cNvPr id="85" name="object 66"/>
          <p:cNvSpPr/>
          <p:nvPr/>
        </p:nvSpPr>
        <p:spPr>
          <a:xfrm>
            <a:off x="3171315" y="3301796"/>
            <a:ext cx="1810252" cy="1760707"/>
          </a:xfrm>
          <a:custGeom>
            <a:avLst/>
            <a:gdLst/>
            <a:ahLst/>
            <a:cxnLst/>
            <a:rect l="l" t="t" r="r" b="b"/>
            <a:pathLst>
              <a:path w="1810252" h="1760707">
                <a:moveTo>
                  <a:pt x="0" y="880353"/>
                </a:moveTo>
                <a:lnTo>
                  <a:pt x="3000" y="952556"/>
                </a:lnTo>
                <a:lnTo>
                  <a:pt x="11846" y="1023151"/>
                </a:lnTo>
                <a:lnTo>
                  <a:pt x="26305" y="1091913"/>
                </a:lnTo>
                <a:lnTo>
                  <a:pt x="46143" y="1158614"/>
                </a:lnTo>
                <a:lnTo>
                  <a:pt x="71129" y="1223027"/>
                </a:lnTo>
                <a:lnTo>
                  <a:pt x="101028" y="1284927"/>
                </a:lnTo>
                <a:lnTo>
                  <a:pt x="135608" y="1344087"/>
                </a:lnTo>
                <a:lnTo>
                  <a:pt x="174636" y="1400279"/>
                </a:lnTo>
                <a:lnTo>
                  <a:pt x="217880" y="1453279"/>
                </a:lnTo>
                <a:lnTo>
                  <a:pt x="265105" y="1502858"/>
                </a:lnTo>
                <a:lnTo>
                  <a:pt x="316079" y="1548791"/>
                </a:lnTo>
                <a:lnTo>
                  <a:pt x="370570" y="1590850"/>
                </a:lnTo>
                <a:lnTo>
                  <a:pt x="428344" y="1628810"/>
                </a:lnTo>
                <a:lnTo>
                  <a:pt x="489168" y="1662444"/>
                </a:lnTo>
                <a:lnTo>
                  <a:pt x="552810" y="1691525"/>
                </a:lnTo>
                <a:lnTo>
                  <a:pt x="619036" y="1715826"/>
                </a:lnTo>
                <a:lnTo>
                  <a:pt x="687614" y="1735122"/>
                </a:lnTo>
                <a:lnTo>
                  <a:pt x="758310" y="1749185"/>
                </a:lnTo>
                <a:lnTo>
                  <a:pt x="830892" y="1757789"/>
                </a:lnTo>
                <a:lnTo>
                  <a:pt x="905126" y="1760707"/>
                </a:lnTo>
                <a:lnTo>
                  <a:pt x="979361" y="1757789"/>
                </a:lnTo>
                <a:lnTo>
                  <a:pt x="1051942" y="1749185"/>
                </a:lnTo>
                <a:lnTo>
                  <a:pt x="1122639" y="1735122"/>
                </a:lnTo>
                <a:lnTo>
                  <a:pt x="1191216" y="1715826"/>
                </a:lnTo>
                <a:lnTo>
                  <a:pt x="1257442" y="1691525"/>
                </a:lnTo>
                <a:lnTo>
                  <a:pt x="1321084" y="1662444"/>
                </a:lnTo>
                <a:lnTo>
                  <a:pt x="1381908" y="1628810"/>
                </a:lnTo>
                <a:lnTo>
                  <a:pt x="1439682" y="1590850"/>
                </a:lnTo>
                <a:lnTo>
                  <a:pt x="1494173" y="1548791"/>
                </a:lnTo>
                <a:lnTo>
                  <a:pt x="1545147" y="1502858"/>
                </a:lnTo>
                <a:lnTo>
                  <a:pt x="1592373" y="1453279"/>
                </a:lnTo>
                <a:lnTo>
                  <a:pt x="1635616" y="1400279"/>
                </a:lnTo>
                <a:lnTo>
                  <a:pt x="1674644" y="1344087"/>
                </a:lnTo>
                <a:lnTo>
                  <a:pt x="1709224" y="1284927"/>
                </a:lnTo>
                <a:lnTo>
                  <a:pt x="1739123" y="1223027"/>
                </a:lnTo>
                <a:lnTo>
                  <a:pt x="1764109" y="1158614"/>
                </a:lnTo>
                <a:lnTo>
                  <a:pt x="1783947" y="1091913"/>
                </a:lnTo>
                <a:lnTo>
                  <a:pt x="1798406" y="1023151"/>
                </a:lnTo>
                <a:lnTo>
                  <a:pt x="1807252" y="952556"/>
                </a:lnTo>
                <a:lnTo>
                  <a:pt x="1810252" y="880353"/>
                </a:lnTo>
                <a:lnTo>
                  <a:pt x="1807252" y="808151"/>
                </a:lnTo>
                <a:lnTo>
                  <a:pt x="1798406" y="737555"/>
                </a:lnTo>
                <a:lnTo>
                  <a:pt x="1783947" y="668794"/>
                </a:lnTo>
                <a:lnTo>
                  <a:pt x="1764109" y="602094"/>
                </a:lnTo>
                <a:lnTo>
                  <a:pt x="1739123" y="537680"/>
                </a:lnTo>
                <a:lnTo>
                  <a:pt x="1709224" y="475780"/>
                </a:lnTo>
                <a:lnTo>
                  <a:pt x="1674644" y="416621"/>
                </a:lnTo>
                <a:lnTo>
                  <a:pt x="1635616" y="360428"/>
                </a:lnTo>
                <a:lnTo>
                  <a:pt x="1592373" y="307429"/>
                </a:lnTo>
                <a:lnTo>
                  <a:pt x="1545147" y="257849"/>
                </a:lnTo>
                <a:lnTo>
                  <a:pt x="1494173" y="211917"/>
                </a:lnTo>
                <a:lnTo>
                  <a:pt x="1439682" y="169857"/>
                </a:lnTo>
                <a:lnTo>
                  <a:pt x="1381908" y="131897"/>
                </a:lnTo>
                <a:lnTo>
                  <a:pt x="1321084" y="98263"/>
                </a:lnTo>
                <a:lnTo>
                  <a:pt x="1257442" y="69182"/>
                </a:lnTo>
                <a:lnTo>
                  <a:pt x="1191216" y="44881"/>
                </a:lnTo>
                <a:lnTo>
                  <a:pt x="1122639" y="25585"/>
                </a:lnTo>
                <a:lnTo>
                  <a:pt x="1051942" y="11522"/>
                </a:lnTo>
                <a:lnTo>
                  <a:pt x="979361" y="2918"/>
                </a:lnTo>
                <a:lnTo>
                  <a:pt x="905126" y="0"/>
                </a:lnTo>
                <a:lnTo>
                  <a:pt x="830892" y="2918"/>
                </a:lnTo>
                <a:lnTo>
                  <a:pt x="758310" y="11522"/>
                </a:lnTo>
                <a:lnTo>
                  <a:pt x="687614" y="25585"/>
                </a:lnTo>
                <a:lnTo>
                  <a:pt x="619036" y="44881"/>
                </a:lnTo>
                <a:lnTo>
                  <a:pt x="552810" y="69182"/>
                </a:lnTo>
                <a:lnTo>
                  <a:pt x="489168" y="98263"/>
                </a:lnTo>
                <a:lnTo>
                  <a:pt x="428344" y="131897"/>
                </a:lnTo>
                <a:lnTo>
                  <a:pt x="370570" y="169857"/>
                </a:lnTo>
                <a:lnTo>
                  <a:pt x="316079" y="211917"/>
                </a:lnTo>
                <a:lnTo>
                  <a:pt x="265105" y="257849"/>
                </a:lnTo>
                <a:lnTo>
                  <a:pt x="217880" y="307429"/>
                </a:lnTo>
                <a:lnTo>
                  <a:pt x="174636" y="360428"/>
                </a:lnTo>
                <a:lnTo>
                  <a:pt x="135608" y="416621"/>
                </a:lnTo>
                <a:lnTo>
                  <a:pt x="101028" y="475780"/>
                </a:lnTo>
                <a:lnTo>
                  <a:pt x="71129" y="537680"/>
                </a:lnTo>
                <a:lnTo>
                  <a:pt x="46143" y="602094"/>
                </a:lnTo>
                <a:lnTo>
                  <a:pt x="26305" y="668794"/>
                </a:lnTo>
                <a:lnTo>
                  <a:pt x="11846" y="737555"/>
                </a:lnTo>
                <a:lnTo>
                  <a:pt x="3000" y="808151"/>
                </a:lnTo>
                <a:lnTo>
                  <a:pt x="0" y="880353"/>
                </a:lnTo>
                <a:close/>
              </a:path>
            </a:pathLst>
          </a:custGeom>
          <a:solidFill>
            <a:srgbClr val="83984F">
              <a:alpha val="50000"/>
            </a:srgbClr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6" name="object 82"/>
          <p:cNvSpPr/>
          <p:nvPr/>
        </p:nvSpPr>
        <p:spPr>
          <a:xfrm>
            <a:off x="4414372" y="54871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7" name="object 84"/>
          <p:cNvSpPr/>
          <p:nvPr/>
        </p:nvSpPr>
        <p:spPr>
          <a:xfrm>
            <a:off x="5399747" y="55212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8" name="object 86"/>
          <p:cNvSpPr/>
          <p:nvPr/>
        </p:nvSpPr>
        <p:spPr>
          <a:xfrm>
            <a:off x="6251551" y="55023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9" name="object 74"/>
          <p:cNvSpPr/>
          <p:nvPr/>
        </p:nvSpPr>
        <p:spPr>
          <a:xfrm>
            <a:off x="2668469" y="519520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0" name="object 72"/>
          <p:cNvSpPr/>
          <p:nvPr/>
        </p:nvSpPr>
        <p:spPr>
          <a:xfrm>
            <a:off x="5959366" y="251737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40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80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1" name="object 70"/>
          <p:cNvSpPr/>
          <p:nvPr/>
        </p:nvSpPr>
        <p:spPr>
          <a:xfrm>
            <a:off x="5560113" y="213564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2" name="object 68"/>
          <p:cNvSpPr/>
          <p:nvPr/>
        </p:nvSpPr>
        <p:spPr>
          <a:xfrm>
            <a:off x="5148028" y="1723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3" name="object 66"/>
          <p:cNvSpPr/>
          <p:nvPr/>
        </p:nvSpPr>
        <p:spPr>
          <a:xfrm>
            <a:off x="6872003" y="34121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4" name="object 63"/>
          <p:cNvSpPr/>
          <p:nvPr/>
        </p:nvSpPr>
        <p:spPr>
          <a:xfrm>
            <a:off x="5880842" y="502152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6"/>
                </a:lnTo>
                <a:lnTo>
                  <a:pt x="1583" y="198179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6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2"/>
                </a:lnTo>
                <a:lnTo>
                  <a:pt x="49876" y="299561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6"/>
                </a:lnTo>
                <a:lnTo>
                  <a:pt x="196530" y="342926"/>
                </a:lnTo>
                <a:lnTo>
                  <a:pt x="209650" y="339004"/>
                </a:lnTo>
                <a:lnTo>
                  <a:pt x="222295" y="333936"/>
                </a:lnTo>
                <a:lnTo>
                  <a:pt x="234413" y="327778"/>
                </a:lnTo>
                <a:lnTo>
                  <a:pt x="245953" y="320583"/>
                </a:lnTo>
                <a:lnTo>
                  <a:pt x="256864" y="312409"/>
                </a:lnTo>
                <a:lnTo>
                  <a:pt x="267095" y="303311"/>
                </a:lnTo>
                <a:lnTo>
                  <a:pt x="276595" y="293343"/>
                </a:lnTo>
                <a:lnTo>
                  <a:pt x="285312" y="282562"/>
                </a:lnTo>
                <a:lnTo>
                  <a:pt x="293195" y="271023"/>
                </a:lnTo>
                <a:lnTo>
                  <a:pt x="300193" y="258781"/>
                </a:lnTo>
                <a:lnTo>
                  <a:pt x="306255" y="245892"/>
                </a:lnTo>
                <a:lnTo>
                  <a:pt x="311330" y="232411"/>
                </a:lnTo>
                <a:lnTo>
                  <a:pt x="315366" y="218394"/>
                </a:lnTo>
                <a:lnTo>
                  <a:pt x="318312" y="203896"/>
                </a:lnTo>
                <a:lnTo>
                  <a:pt x="320117" y="188973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9" y="93485"/>
                </a:lnTo>
                <a:lnTo>
                  <a:pt x="296006" y="80986"/>
                </a:lnTo>
                <a:lnTo>
                  <a:pt x="288459" y="69169"/>
                </a:lnTo>
                <a:lnTo>
                  <a:pt x="280058" y="58089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4"/>
                </a:lnTo>
                <a:lnTo>
                  <a:pt x="86318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5" name="object 62"/>
          <p:cNvSpPr/>
          <p:nvPr/>
        </p:nvSpPr>
        <p:spPr>
          <a:xfrm>
            <a:off x="4326962" y="34938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6" name="object 60"/>
          <p:cNvSpPr/>
          <p:nvPr/>
        </p:nvSpPr>
        <p:spPr>
          <a:xfrm>
            <a:off x="3451263" y="457102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57150">
            <a:solidFill>
              <a:srgbClr val="AAC56C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7" name="object 58"/>
          <p:cNvSpPr/>
          <p:nvPr/>
        </p:nvSpPr>
        <p:spPr>
          <a:xfrm>
            <a:off x="7513462" y="204543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8" name="object 56"/>
          <p:cNvSpPr/>
          <p:nvPr/>
        </p:nvSpPr>
        <p:spPr>
          <a:xfrm>
            <a:off x="6553321" y="196196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9" name="object 54"/>
          <p:cNvSpPr/>
          <p:nvPr/>
        </p:nvSpPr>
        <p:spPr>
          <a:xfrm>
            <a:off x="7353097" y="275391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0" name="object 52"/>
          <p:cNvSpPr/>
          <p:nvPr/>
        </p:nvSpPr>
        <p:spPr>
          <a:xfrm>
            <a:off x="4696124" y="412086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1" name="object 50"/>
          <p:cNvSpPr/>
          <p:nvPr/>
        </p:nvSpPr>
        <p:spPr>
          <a:xfrm>
            <a:off x="4441297" y="46123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2" name="object 48"/>
          <p:cNvSpPr/>
          <p:nvPr/>
        </p:nvSpPr>
        <p:spPr>
          <a:xfrm>
            <a:off x="3130532" y="40499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57150">
            <a:solidFill>
              <a:srgbClr val="AAC56C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3" name="object 42"/>
          <p:cNvSpPr/>
          <p:nvPr/>
        </p:nvSpPr>
        <p:spPr>
          <a:xfrm>
            <a:off x="5748103" y="33118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4" name="object 44"/>
          <p:cNvSpPr/>
          <p:nvPr/>
        </p:nvSpPr>
        <p:spPr>
          <a:xfrm>
            <a:off x="5560113" y="25802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5" name="object 46"/>
          <p:cNvSpPr/>
          <p:nvPr/>
        </p:nvSpPr>
        <p:spPr>
          <a:xfrm>
            <a:off x="5421508" y="296447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6" name="object 40"/>
          <p:cNvSpPr/>
          <p:nvPr/>
        </p:nvSpPr>
        <p:spPr>
          <a:xfrm>
            <a:off x="5213120" y="49216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7" name="object 38"/>
          <p:cNvSpPr/>
          <p:nvPr/>
        </p:nvSpPr>
        <p:spPr>
          <a:xfrm>
            <a:off x="7032365" y="221911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8" name="object 36"/>
          <p:cNvSpPr/>
          <p:nvPr/>
        </p:nvSpPr>
        <p:spPr>
          <a:xfrm>
            <a:off x="7385165" y="340218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6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7"/>
                </a:lnTo>
                <a:lnTo>
                  <a:pt x="310251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9" name="object 34"/>
          <p:cNvSpPr/>
          <p:nvPr/>
        </p:nvSpPr>
        <p:spPr>
          <a:xfrm>
            <a:off x="5038354" y="24830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0" name="object 32"/>
          <p:cNvSpPr/>
          <p:nvPr/>
        </p:nvSpPr>
        <p:spPr>
          <a:xfrm>
            <a:off x="7192732" y="159327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1" name="object 30"/>
          <p:cNvSpPr/>
          <p:nvPr/>
        </p:nvSpPr>
        <p:spPr>
          <a:xfrm>
            <a:off x="6201572" y="316997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2" name="object 28"/>
          <p:cNvSpPr/>
          <p:nvPr/>
        </p:nvSpPr>
        <p:spPr>
          <a:xfrm>
            <a:off x="4877989" y="532865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3" name="object 26"/>
          <p:cNvSpPr/>
          <p:nvPr/>
        </p:nvSpPr>
        <p:spPr>
          <a:xfrm>
            <a:off x="5581873" y="4521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4" name="object 24"/>
          <p:cNvSpPr/>
          <p:nvPr/>
        </p:nvSpPr>
        <p:spPr>
          <a:xfrm>
            <a:off x="3528670" y="35173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57150">
            <a:solidFill>
              <a:srgbClr val="AAC56C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5" name="object 22"/>
          <p:cNvSpPr/>
          <p:nvPr/>
        </p:nvSpPr>
        <p:spPr>
          <a:xfrm>
            <a:off x="3252845" y="520650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6" name="object 20"/>
          <p:cNvSpPr/>
          <p:nvPr/>
        </p:nvSpPr>
        <p:spPr>
          <a:xfrm>
            <a:off x="3849401" y="4051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7" name="object 18"/>
          <p:cNvSpPr/>
          <p:nvPr/>
        </p:nvSpPr>
        <p:spPr>
          <a:xfrm>
            <a:off x="6713687" y="269105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8" name="object 6"/>
          <p:cNvSpPr txBox="1"/>
          <p:nvPr/>
        </p:nvSpPr>
        <p:spPr>
          <a:xfrm>
            <a:off x="1332125" y="3759280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grpSp>
        <p:nvGrpSpPr>
          <p:cNvPr id="119" name="Group 118"/>
          <p:cNvGrpSpPr/>
          <p:nvPr/>
        </p:nvGrpSpPr>
        <p:grpSpPr>
          <a:xfrm>
            <a:off x="2383438" y="1888930"/>
            <a:ext cx="6303362" cy="4054670"/>
            <a:chOff x="2343901" y="1923700"/>
            <a:chExt cx="6303362" cy="4054670"/>
          </a:xfrm>
        </p:grpSpPr>
        <p:sp>
          <p:nvSpPr>
            <p:cNvPr id="120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121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  <p:sp>
        <p:nvSpPr>
          <p:cNvPr id="122" name="object 15"/>
          <p:cNvSpPr txBox="1"/>
          <p:nvPr/>
        </p:nvSpPr>
        <p:spPr>
          <a:xfrm>
            <a:off x="349882" y="365536"/>
            <a:ext cx="1351013" cy="5207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985"/>
              </a:lnSpc>
              <a:spcBef>
                <a:spcPts val="99"/>
              </a:spcBef>
            </a:pPr>
            <a:r>
              <a:rPr sz="2700" spc="0" baseline="3034" dirty="0" smtClean="0">
                <a:solidFill>
                  <a:srgbClr val="215867"/>
                </a:solidFill>
                <a:latin typeface="+mj-lt"/>
                <a:cs typeface="Calibri"/>
              </a:rPr>
              <a:t>epsilon = 1.75</a:t>
            </a:r>
            <a:endParaRPr sz="1800">
              <a:latin typeface="+mj-lt"/>
              <a:cs typeface="Calibri"/>
            </a:endParaRPr>
          </a:p>
          <a:p>
            <a:pPr marL="12700" marR="34289">
              <a:lnSpc>
                <a:spcPts val="2100"/>
              </a:lnSpc>
              <a:spcBef>
                <a:spcPts val="5"/>
              </a:spcBef>
            </a:pPr>
            <a:r>
              <a:rPr sz="2700" spc="0" baseline="1517" dirty="0" smtClean="0">
                <a:solidFill>
                  <a:srgbClr val="215867"/>
                </a:solidFill>
                <a:latin typeface="+mj-lt"/>
                <a:cs typeface="Calibri"/>
              </a:rPr>
              <a:t>n_clu = 3</a:t>
            </a:r>
            <a:endParaRPr sz="1800">
              <a:latin typeface="+mj-lt"/>
              <a:cs typeface="Calibri"/>
            </a:endParaRPr>
          </a:p>
        </p:txBody>
      </p:sp>
      <p:sp>
        <p:nvSpPr>
          <p:cNvPr id="123" name="object 5"/>
          <p:cNvSpPr txBox="1"/>
          <p:nvPr/>
        </p:nvSpPr>
        <p:spPr>
          <a:xfrm>
            <a:off x="2101916" y="365536"/>
            <a:ext cx="6889684" cy="807913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 marR="41909">
              <a:lnSpc>
                <a:spcPts val="3454"/>
              </a:lnSpc>
              <a:spcBef>
                <a:spcPts val="172"/>
              </a:spcBef>
            </a:pPr>
            <a:r>
              <a:rPr sz="4800" spc="0" baseline="2560" dirty="0" smtClean="0">
                <a:solidFill>
                  <a:srgbClr val="4E81BC"/>
                </a:solidFill>
                <a:latin typeface="+mj-lt"/>
                <a:cs typeface="Calibri"/>
              </a:rPr>
              <a:t>DBSC</a:t>
            </a:r>
            <a:r>
              <a:rPr sz="4800" spc="-4" baseline="2560" dirty="0" smtClean="0">
                <a:solidFill>
                  <a:srgbClr val="4E81BC"/>
                </a:solidFill>
                <a:latin typeface="+mj-lt"/>
                <a:cs typeface="Calibri"/>
              </a:rPr>
              <a:t>A</a:t>
            </a:r>
            <a:r>
              <a:rPr sz="4800" spc="0" baseline="2560" dirty="0" smtClean="0">
                <a:solidFill>
                  <a:srgbClr val="4E81BC"/>
                </a:solidFill>
                <a:latin typeface="+mj-lt"/>
                <a:cs typeface="Calibri"/>
              </a:rPr>
              <a:t>N</a:t>
            </a:r>
            <a:endParaRPr sz="3200" dirty="0">
              <a:latin typeface="+mj-lt"/>
              <a:cs typeface="Calibri"/>
            </a:endParaRPr>
          </a:p>
          <a:p>
            <a:pPr marL="12700">
              <a:lnSpc>
                <a:spcPts val="2770"/>
              </a:lnSpc>
            </a:pPr>
            <a:r>
              <a:rPr lang="en-US" sz="3200" baseline="1137" dirty="0" smtClean="0">
                <a:solidFill>
                  <a:srgbClr val="7F7E7E"/>
                </a:solidFill>
                <a:cs typeface="Calibri"/>
              </a:rPr>
              <a:t>Keep adding neighbors within </a:t>
            </a:r>
            <a:r>
              <a:rPr lang="en-US" sz="3200" i="1" baseline="1137" dirty="0" smtClean="0">
                <a:solidFill>
                  <a:srgbClr val="7F7E7E"/>
                </a:solidFill>
                <a:cs typeface="Calibri"/>
              </a:rPr>
              <a:t>epsilon </a:t>
            </a:r>
            <a:r>
              <a:rPr lang="en-US" sz="3200" baseline="1137" dirty="0" smtClean="0">
                <a:solidFill>
                  <a:srgbClr val="7F7E7E"/>
                </a:solidFill>
                <a:cs typeface="Calibri"/>
              </a:rPr>
              <a:t>as chain reaction</a:t>
            </a:r>
            <a:endParaRPr lang="en-US" sz="3200" i="1" baseline="1137" dirty="0">
              <a:solidFill>
                <a:srgbClr val="7F7E7E"/>
              </a:solidFill>
              <a:cs typeface="Calibri"/>
            </a:endParaRPr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" name="object 3"/>
          <p:cNvSpPr txBox="1"/>
          <p:nvPr/>
        </p:nvSpPr>
        <p:spPr>
          <a:xfrm>
            <a:off x="5426815" y="6116930"/>
            <a:ext cx="542241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latin typeface="Calibri"/>
                <a:cs typeface="Calibri"/>
              </a:rPr>
              <a:t>Age</a:t>
            </a:r>
            <a:endParaRPr sz="2400">
              <a:latin typeface="Calibri"/>
              <a:cs typeface="Calibri"/>
            </a:endParaRPr>
          </a:p>
        </p:txBody>
      </p:sp>
      <p:sp>
        <p:nvSpPr>
          <p:cNvPr id="85" name="object 66"/>
          <p:cNvSpPr/>
          <p:nvPr/>
        </p:nvSpPr>
        <p:spPr>
          <a:xfrm>
            <a:off x="2770756" y="2789755"/>
            <a:ext cx="1810252" cy="1760707"/>
          </a:xfrm>
          <a:custGeom>
            <a:avLst/>
            <a:gdLst/>
            <a:ahLst/>
            <a:cxnLst/>
            <a:rect l="l" t="t" r="r" b="b"/>
            <a:pathLst>
              <a:path w="1810252" h="1760707">
                <a:moveTo>
                  <a:pt x="0" y="880353"/>
                </a:moveTo>
                <a:lnTo>
                  <a:pt x="3000" y="952556"/>
                </a:lnTo>
                <a:lnTo>
                  <a:pt x="11846" y="1023151"/>
                </a:lnTo>
                <a:lnTo>
                  <a:pt x="26305" y="1091913"/>
                </a:lnTo>
                <a:lnTo>
                  <a:pt x="46143" y="1158614"/>
                </a:lnTo>
                <a:lnTo>
                  <a:pt x="71129" y="1223027"/>
                </a:lnTo>
                <a:lnTo>
                  <a:pt x="101028" y="1284927"/>
                </a:lnTo>
                <a:lnTo>
                  <a:pt x="135608" y="1344087"/>
                </a:lnTo>
                <a:lnTo>
                  <a:pt x="174636" y="1400279"/>
                </a:lnTo>
                <a:lnTo>
                  <a:pt x="217880" y="1453279"/>
                </a:lnTo>
                <a:lnTo>
                  <a:pt x="265105" y="1502858"/>
                </a:lnTo>
                <a:lnTo>
                  <a:pt x="316079" y="1548791"/>
                </a:lnTo>
                <a:lnTo>
                  <a:pt x="370570" y="1590850"/>
                </a:lnTo>
                <a:lnTo>
                  <a:pt x="428344" y="1628810"/>
                </a:lnTo>
                <a:lnTo>
                  <a:pt x="489168" y="1662444"/>
                </a:lnTo>
                <a:lnTo>
                  <a:pt x="552810" y="1691525"/>
                </a:lnTo>
                <a:lnTo>
                  <a:pt x="619036" y="1715826"/>
                </a:lnTo>
                <a:lnTo>
                  <a:pt x="687614" y="1735122"/>
                </a:lnTo>
                <a:lnTo>
                  <a:pt x="758310" y="1749185"/>
                </a:lnTo>
                <a:lnTo>
                  <a:pt x="830892" y="1757789"/>
                </a:lnTo>
                <a:lnTo>
                  <a:pt x="905126" y="1760707"/>
                </a:lnTo>
                <a:lnTo>
                  <a:pt x="979361" y="1757789"/>
                </a:lnTo>
                <a:lnTo>
                  <a:pt x="1051942" y="1749185"/>
                </a:lnTo>
                <a:lnTo>
                  <a:pt x="1122639" y="1735122"/>
                </a:lnTo>
                <a:lnTo>
                  <a:pt x="1191216" y="1715826"/>
                </a:lnTo>
                <a:lnTo>
                  <a:pt x="1257442" y="1691525"/>
                </a:lnTo>
                <a:lnTo>
                  <a:pt x="1321084" y="1662444"/>
                </a:lnTo>
                <a:lnTo>
                  <a:pt x="1381908" y="1628810"/>
                </a:lnTo>
                <a:lnTo>
                  <a:pt x="1439682" y="1590850"/>
                </a:lnTo>
                <a:lnTo>
                  <a:pt x="1494173" y="1548791"/>
                </a:lnTo>
                <a:lnTo>
                  <a:pt x="1545147" y="1502858"/>
                </a:lnTo>
                <a:lnTo>
                  <a:pt x="1592373" y="1453279"/>
                </a:lnTo>
                <a:lnTo>
                  <a:pt x="1635616" y="1400279"/>
                </a:lnTo>
                <a:lnTo>
                  <a:pt x="1674644" y="1344087"/>
                </a:lnTo>
                <a:lnTo>
                  <a:pt x="1709224" y="1284927"/>
                </a:lnTo>
                <a:lnTo>
                  <a:pt x="1739123" y="1223027"/>
                </a:lnTo>
                <a:lnTo>
                  <a:pt x="1764109" y="1158614"/>
                </a:lnTo>
                <a:lnTo>
                  <a:pt x="1783947" y="1091913"/>
                </a:lnTo>
                <a:lnTo>
                  <a:pt x="1798406" y="1023151"/>
                </a:lnTo>
                <a:lnTo>
                  <a:pt x="1807252" y="952556"/>
                </a:lnTo>
                <a:lnTo>
                  <a:pt x="1810252" y="880353"/>
                </a:lnTo>
                <a:lnTo>
                  <a:pt x="1807252" y="808151"/>
                </a:lnTo>
                <a:lnTo>
                  <a:pt x="1798406" y="737555"/>
                </a:lnTo>
                <a:lnTo>
                  <a:pt x="1783947" y="668794"/>
                </a:lnTo>
                <a:lnTo>
                  <a:pt x="1764109" y="602094"/>
                </a:lnTo>
                <a:lnTo>
                  <a:pt x="1739123" y="537680"/>
                </a:lnTo>
                <a:lnTo>
                  <a:pt x="1709224" y="475780"/>
                </a:lnTo>
                <a:lnTo>
                  <a:pt x="1674644" y="416621"/>
                </a:lnTo>
                <a:lnTo>
                  <a:pt x="1635616" y="360428"/>
                </a:lnTo>
                <a:lnTo>
                  <a:pt x="1592373" y="307429"/>
                </a:lnTo>
                <a:lnTo>
                  <a:pt x="1545147" y="257849"/>
                </a:lnTo>
                <a:lnTo>
                  <a:pt x="1494173" y="211917"/>
                </a:lnTo>
                <a:lnTo>
                  <a:pt x="1439682" y="169857"/>
                </a:lnTo>
                <a:lnTo>
                  <a:pt x="1381908" y="131897"/>
                </a:lnTo>
                <a:lnTo>
                  <a:pt x="1321084" y="98263"/>
                </a:lnTo>
                <a:lnTo>
                  <a:pt x="1257442" y="69182"/>
                </a:lnTo>
                <a:lnTo>
                  <a:pt x="1191216" y="44881"/>
                </a:lnTo>
                <a:lnTo>
                  <a:pt x="1122639" y="25585"/>
                </a:lnTo>
                <a:lnTo>
                  <a:pt x="1051942" y="11522"/>
                </a:lnTo>
                <a:lnTo>
                  <a:pt x="979361" y="2918"/>
                </a:lnTo>
                <a:lnTo>
                  <a:pt x="905126" y="0"/>
                </a:lnTo>
                <a:lnTo>
                  <a:pt x="830892" y="2918"/>
                </a:lnTo>
                <a:lnTo>
                  <a:pt x="758310" y="11522"/>
                </a:lnTo>
                <a:lnTo>
                  <a:pt x="687614" y="25585"/>
                </a:lnTo>
                <a:lnTo>
                  <a:pt x="619036" y="44881"/>
                </a:lnTo>
                <a:lnTo>
                  <a:pt x="552810" y="69182"/>
                </a:lnTo>
                <a:lnTo>
                  <a:pt x="489168" y="98263"/>
                </a:lnTo>
                <a:lnTo>
                  <a:pt x="428344" y="131897"/>
                </a:lnTo>
                <a:lnTo>
                  <a:pt x="370570" y="169857"/>
                </a:lnTo>
                <a:lnTo>
                  <a:pt x="316079" y="211917"/>
                </a:lnTo>
                <a:lnTo>
                  <a:pt x="265105" y="257849"/>
                </a:lnTo>
                <a:lnTo>
                  <a:pt x="217880" y="307429"/>
                </a:lnTo>
                <a:lnTo>
                  <a:pt x="174636" y="360428"/>
                </a:lnTo>
                <a:lnTo>
                  <a:pt x="135608" y="416621"/>
                </a:lnTo>
                <a:lnTo>
                  <a:pt x="101028" y="475780"/>
                </a:lnTo>
                <a:lnTo>
                  <a:pt x="71129" y="537680"/>
                </a:lnTo>
                <a:lnTo>
                  <a:pt x="46143" y="602094"/>
                </a:lnTo>
                <a:lnTo>
                  <a:pt x="26305" y="668794"/>
                </a:lnTo>
                <a:lnTo>
                  <a:pt x="11846" y="737555"/>
                </a:lnTo>
                <a:lnTo>
                  <a:pt x="3000" y="808151"/>
                </a:lnTo>
                <a:lnTo>
                  <a:pt x="0" y="880353"/>
                </a:lnTo>
                <a:close/>
              </a:path>
            </a:pathLst>
          </a:custGeom>
          <a:solidFill>
            <a:srgbClr val="83984F">
              <a:alpha val="50000"/>
            </a:srgbClr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6" name="object 82"/>
          <p:cNvSpPr/>
          <p:nvPr/>
        </p:nvSpPr>
        <p:spPr>
          <a:xfrm>
            <a:off x="4414372" y="54871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7" name="object 84"/>
          <p:cNvSpPr/>
          <p:nvPr/>
        </p:nvSpPr>
        <p:spPr>
          <a:xfrm>
            <a:off x="5399747" y="55212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8" name="object 86"/>
          <p:cNvSpPr/>
          <p:nvPr/>
        </p:nvSpPr>
        <p:spPr>
          <a:xfrm>
            <a:off x="6251551" y="55023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9" name="object 74"/>
          <p:cNvSpPr/>
          <p:nvPr/>
        </p:nvSpPr>
        <p:spPr>
          <a:xfrm>
            <a:off x="2668469" y="519520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0" name="object 72"/>
          <p:cNvSpPr/>
          <p:nvPr/>
        </p:nvSpPr>
        <p:spPr>
          <a:xfrm>
            <a:off x="5959366" y="251737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40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80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1" name="object 70"/>
          <p:cNvSpPr/>
          <p:nvPr/>
        </p:nvSpPr>
        <p:spPr>
          <a:xfrm>
            <a:off x="5560113" y="213564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2" name="object 68"/>
          <p:cNvSpPr/>
          <p:nvPr/>
        </p:nvSpPr>
        <p:spPr>
          <a:xfrm>
            <a:off x="5148028" y="1723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3" name="object 66"/>
          <p:cNvSpPr/>
          <p:nvPr/>
        </p:nvSpPr>
        <p:spPr>
          <a:xfrm>
            <a:off x="6872003" y="34121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4" name="object 63"/>
          <p:cNvSpPr/>
          <p:nvPr/>
        </p:nvSpPr>
        <p:spPr>
          <a:xfrm>
            <a:off x="5880842" y="502152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6"/>
                </a:lnTo>
                <a:lnTo>
                  <a:pt x="1583" y="198179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6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2"/>
                </a:lnTo>
                <a:lnTo>
                  <a:pt x="49876" y="299561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6"/>
                </a:lnTo>
                <a:lnTo>
                  <a:pt x="196530" y="342926"/>
                </a:lnTo>
                <a:lnTo>
                  <a:pt x="209650" y="339004"/>
                </a:lnTo>
                <a:lnTo>
                  <a:pt x="222295" y="333936"/>
                </a:lnTo>
                <a:lnTo>
                  <a:pt x="234413" y="327778"/>
                </a:lnTo>
                <a:lnTo>
                  <a:pt x="245953" y="320583"/>
                </a:lnTo>
                <a:lnTo>
                  <a:pt x="256864" y="312409"/>
                </a:lnTo>
                <a:lnTo>
                  <a:pt x="267095" y="303311"/>
                </a:lnTo>
                <a:lnTo>
                  <a:pt x="276595" y="293343"/>
                </a:lnTo>
                <a:lnTo>
                  <a:pt x="285312" y="282562"/>
                </a:lnTo>
                <a:lnTo>
                  <a:pt x="293195" y="271023"/>
                </a:lnTo>
                <a:lnTo>
                  <a:pt x="300193" y="258781"/>
                </a:lnTo>
                <a:lnTo>
                  <a:pt x="306255" y="245892"/>
                </a:lnTo>
                <a:lnTo>
                  <a:pt x="311330" y="232411"/>
                </a:lnTo>
                <a:lnTo>
                  <a:pt x="315366" y="218394"/>
                </a:lnTo>
                <a:lnTo>
                  <a:pt x="318312" y="203896"/>
                </a:lnTo>
                <a:lnTo>
                  <a:pt x="320117" y="188973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9" y="93485"/>
                </a:lnTo>
                <a:lnTo>
                  <a:pt x="296006" y="80986"/>
                </a:lnTo>
                <a:lnTo>
                  <a:pt x="288459" y="69169"/>
                </a:lnTo>
                <a:lnTo>
                  <a:pt x="280058" y="58089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4"/>
                </a:lnTo>
                <a:lnTo>
                  <a:pt x="86318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5" name="object 62"/>
          <p:cNvSpPr/>
          <p:nvPr/>
        </p:nvSpPr>
        <p:spPr>
          <a:xfrm>
            <a:off x="4326962" y="34938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6" name="object 60"/>
          <p:cNvSpPr/>
          <p:nvPr/>
        </p:nvSpPr>
        <p:spPr>
          <a:xfrm>
            <a:off x="3451263" y="457102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57150">
            <a:solidFill>
              <a:srgbClr val="AAC56C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7" name="object 58"/>
          <p:cNvSpPr/>
          <p:nvPr/>
        </p:nvSpPr>
        <p:spPr>
          <a:xfrm>
            <a:off x="7513462" y="204543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8" name="object 56"/>
          <p:cNvSpPr/>
          <p:nvPr/>
        </p:nvSpPr>
        <p:spPr>
          <a:xfrm>
            <a:off x="6553321" y="196196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9" name="object 54"/>
          <p:cNvSpPr/>
          <p:nvPr/>
        </p:nvSpPr>
        <p:spPr>
          <a:xfrm>
            <a:off x="7353097" y="275391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0" name="object 52"/>
          <p:cNvSpPr/>
          <p:nvPr/>
        </p:nvSpPr>
        <p:spPr>
          <a:xfrm>
            <a:off x="4696124" y="412086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1" name="object 50"/>
          <p:cNvSpPr/>
          <p:nvPr/>
        </p:nvSpPr>
        <p:spPr>
          <a:xfrm>
            <a:off x="4441297" y="46123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2" name="object 48"/>
          <p:cNvSpPr/>
          <p:nvPr/>
        </p:nvSpPr>
        <p:spPr>
          <a:xfrm>
            <a:off x="3130532" y="40499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57150">
            <a:solidFill>
              <a:srgbClr val="AAC56C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3" name="object 42"/>
          <p:cNvSpPr/>
          <p:nvPr/>
        </p:nvSpPr>
        <p:spPr>
          <a:xfrm>
            <a:off x="5748103" y="33118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4" name="object 44"/>
          <p:cNvSpPr/>
          <p:nvPr/>
        </p:nvSpPr>
        <p:spPr>
          <a:xfrm>
            <a:off x="5560113" y="25802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5" name="object 46"/>
          <p:cNvSpPr/>
          <p:nvPr/>
        </p:nvSpPr>
        <p:spPr>
          <a:xfrm>
            <a:off x="5421508" y="296447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6" name="object 40"/>
          <p:cNvSpPr/>
          <p:nvPr/>
        </p:nvSpPr>
        <p:spPr>
          <a:xfrm>
            <a:off x="5213120" y="49216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7" name="object 38"/>
          <p:cNvSpPr/>
          <p:nvPr/>
        </p:nvSpPr>
        <p:spPr>
          <a:xfrm>
            <a:off x="7032365" y="221911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8" name="object 36"/>
          <p:cNvSpPr/>
          <p:nvPr/>
        </p:nvSpPr>
        <p:spPr>
          <a:xfrm>
            <a:off x="7385165" y="340218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6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7"/>
                </a:lnTo>
                <a:lnTo>
                  <a:pt x="310251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9" name="object 34"/>
          <p:cNvSpPr/>
          <p:nvPr/>
        </p:nvSpPr>
        <p:spPr>
          <a:xfrm>
            <a:off x="5038354" y="24830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0" name="object 32"/>
          <p:cNvSpPr/>
          <p:nvPr/>
        </p:nvSpPr>
        <p:spPr>
          <a:xfrm>
            <a:off x="7192732" y="159327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1" name="object 30"/>
          <p:cNvSpPr/>
          <p:nvPr/>
        </p:nvSpPr>
        <p:spPr>
          <a:xfrm>
            <a:off x="6201572" y="316997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2" name="object 28"/>
          <p:cNvSpPr/>
          <p:nvPr/>
        </p:nvSpPr>
        <p:spPr>
          <a:xfrm>
            <a:off x="4877989" y="532865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3" name="object 26"/>
          <p:cNvSpPr/>
          <p:nvPr/>
        </p:nvSpPr>
        <p:spPr>
          <a:xfrm>
            <a:off x="5581873" y="4521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4" name="object 24"/>
          <p:cNvSpPr/>
          <p:nvPr/>
        </p:nvSpPr>
        <p:spPr>
          <a:xfrm>
            <a:off x="3528670" y="35173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5" name="object 22"/>
          <p:cNvSpPr/>
          <p:nvPr/>
        </p:nvSpPr>
        <p:spPr>
          <a:xfrm>
            <a:off x="3252845" y="520650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6" name="object 20"/>
          <p:cNvSpPr/>
          <p:nvPr/>
        </p:nvSpPr>
        <p:spPr>
          <a:xfrm>
            <a:off x="3849401" y="4051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7" name="object 18"/>
          <p:cNvSpPr/>
          <p:nvPr/>
        </p:nvSpPr>
        <p:spPr>
          <a:xfrm>
            <a:off x="6713687" y="269105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8" name="object 6"/>
          <p:cNvSpPr txBox="1"/>
          <p:nvPr/>
        </p:nvSpPr>
        <p:spPr>
          <a:xfrm>
            <a:off x="1332125" y="3759280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grpSp>
        <p:nvGrpSpPr>
          <p:cNvPr id="119" name="Group 118"/>
          <p:cNvGrpSpPr/>
          <p:nvPr/>
        </p:nvGrpSpPr>
        <p:grpSpPr>
          <a:xfrm>
            <a:off x="2383438" y="1888930"/>
            <a:ext cx="6303362" cy="4054670"/>
            <a:chOff x="2343901" y="1923700"/>
            <a:chExt cx="6303362" cy="4054670"/>
          </a:xfrm>
        </p:grpSpPr>
        <p:sp>
          <p:nvSpPr>
            <p:cNvPr id="120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121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  <p:sp>
        <p:nvSpPr>
          <p:cNvPr id="122" name="object 15"/>
          <p:cNvSpPr txBox="1"/>
          <p:nvPr/>
        </p:nvSpPr>
        <p:spPr>
          <a:xfrm>
            <a:off x="349882" y="365536"/>
            <a:ext cx="1351013" cy="5207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985"/>
              </a:lnSpc>
              <a:spcBef>
                <a:spcPts val="99"/>
              </a:spcBef>
            </a:pPr>
            <a:r>
              <a:rPr sz="2700" spc="0" baseline="3034" dirty="0" smtClean="0">
                <a:solidFill>
                  <a:srgbClr val="215867"/>
                </a:solidFill>
                <a:latin typeface="+mj-lt"/>
                <a:cs typeface="Calibri"/>
              </a:rPr>
              <a:t>epsilon = 1.75</a:t>
            </a:r>
            <a:endParaRPr sz="1800">
              <a:latin typeface="+mj-lt"/>
              <a:cs typeface="Calibri"/>
            </a:endParaRPr>
          </a:p>
          <a:p>
            <a:pPr marL="12700" marR="34289">
              <a:lnSpc>
                <a:spcPts val="2100"/>
              </a:lnSpc>
              <a:spcBef>
                <a:spcPts val="5"/>
              </a:spcBef>
            </a:pPr>
            <a:r>
              <a:rPr sz="2700" spc="0" baseline="1517" dirty="0" smtClean="0">
                <a:solidFill>
                  <a:srgbClr val="215867"/>
                </a:solidFill>
                <a:latin typeface="+mj-lt"/>
                <a:cs typeface="Calibri"/>
              </a:rPr>
              <a:t>n_clu = 3</a:t>
            </a:r>
            <a:endParaRPr sz="1800">
              <a:latin typeface="+mj-lt"/>
              <a:cs typeface="Calibri"/>
            </a:endParaRPr>
          </a:p>
        </p:txBody>
      </p:sp>
      <p:sp>
        <p:nvSpPr>
          <p:cNvPr id="123" name="object 5"/>
          <p:cNvSpPr txBox="1"/>
          <p:nvPr/>
        </p:nvSpPr>
        <p:spPr>
          <a:xfrm>
            <a:off x="2101916" y="365536"/>
            <a:ext cx="6889684" cy="807913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 marR="41909">
              <a:lnSpc>
                <a:spcPts val="3454"/>
              </a:lnSpc>
              <a:spcBef>
                <a:spcPts val="172"/>
              </a:spcBef>
            </a:pPr>
            <a:r>
              <a:rPr sz="4800" spc="0" baseline="2560" dirty="0" smtClean="0">
                <a:solidFill>
                  <a:srgbClr val="4E81BC"/>
                </a:solidFill>
                <a:latin typeface="+mj-lt"/>
                <a:cs typeface="Calibri"/>
              </a:rPr>
              <a:t>DBSC</a:t>
            </a:r>
            <a:r>
              <a:rPr sz="4800" spc="-4" baseline="2560" dirty="0" smtClean="0">
                <a:solidFill>
                  <a:srgbClr val="4E81BC"/>
                </a:solidFill>
                <a:latin typeface="+mj-lt"/>
                <a:cs typeface="Calibri"/>
              </a:rPr>
              <a:t>A</a:t>
            </a:r>
            <a:r>
              <a:rPr sz="4800" spc="0" baseline="2560" dirty="0" smtClean="0">
                <a:solidFill>
                  <a:srgbClr val="4E81BC"/>
                </a:solidFill>
                <a:latin typeface="+mj-lt"/>
                <a:cs typeface="Calibri"/>
              </a:rPr>
              <a:t>N</a:t>
            </a:r>
            <a:endParaRPr sz="3200" dirty="0">
              <a:latin typeface="+mj-lt"/>
              <a:cs typeface="Calibri"/>
            </a:endParaRPr>
          </a:p>
          <a:p>
            <a:pPr marL="12700">
              <a:lnSpc>
                <a:spcPts val="2770"/>
              </a:lnSpc>
            </a:pPr>
            <a:r>
              <a:rPr lang="en-US" sz="3200" baseline="1137" dirty="0" smtClean="0">
                <a:solidFill>
                  <a:srgbClr val="7F7E7E"/>
                </a:solidFill>
                <a:cs typeface="Calibri"/>
              </a:rPr>
              <a:t>Keep adding neighbors within </a:t>
            </a:r>
            <a:r>
              <a:rPr lang="en-US" sz="3200" i="1" baseline="1137" dirty="0" smtClean="0">
                <a:solidFill>
                  <a:srgbClr val="7F7E7E"/>
                </a:solidFill>
                <a:cs typeface="Calibri"/>
              </a:rPr>
              <a:t>epsilon </a:t>
            </a:r>
            <a:r>
              <a:rPr lang="en-US" sz="3200" baseline="1137" dirty="0" smtClean="0">
                <a:solidFill>
                  <a:srgbClr val="7F7E7E"/>
                </a:solidFill>
                <a:cs typeface="Calibri"/>
              </a:rPr>
              <a:t>as chain reaction</a:t>
            </a:r>
            <a:endParaRPr lang="en-US" sz="3200" i="1" baseline="1137" dirty="0">
              <a:solidFill>
                <a:srgbClr val="7F7E7E"/>
              </a:solidFill>
              <a:cs typeface="Calibri"/>
            </a:endParaRPr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" name="object 3"/>
          <p:cNvSpPr txBox="1"/>
          <p:nvPr/>
        </p:nvSpPr>
        <p:spPr>
          <a:xfrm>
            <a:off x="5426815" y="6116930"/>
            <a:ext cx="542241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latin typeface="Calibri"/>
                <a:cs typeface="Calibri"/>
              </a:rPr>
              <a:t>Age</a:t>
            </a:r>
            <a:endParaRPr sz="2400">
              <a:latin typeface="Calibri"/>
              <a:cs typeface="Calibri"/>
            </a:endParaRPr>
          </a:p>
        </p:txBody>
      </p:sp>
      <p:sp>
        <p:nvSpPr>
          <p:cNvPr id="85" name="object 66"/>
          <p:cNvSpPr/>
          <p:nvPr/>
        </p:nvSpPr>
        <p:spPr>
          <a:xfrm>
            <a:off x="2438400" y="3302540"/>
            <a:ext cx="1810252" cy="1760707"/>
          </a:xfrm>
          <a:custGeom>
            <a:avLst/>
            <a:gdLst/>
            <a:ahLst/>
            <a:cxnLst/>
            <a:rect l="l" t="t" r="r" b="b"/>
            <a:pathLst>
              <a:path w="1810252" h="1760707">
                <a:moveTo>
                  <a:pt x="0" y="880353"/>
                </a:moveTo>
                <a:lnTo>
                  <a:pt x="3000" y="952556"/>
                </a:lnTo>
                <a:lnTo>
                  <a:pt x="11846" y="1023151"/>
                </a:lnTo>
                <a:lnTo>
                  <a:pt x="26305" y="1091913"/>
                </a:lnTo>
                <a:lnTo>
                  <a:pt x="46143" y="1158614"/>
                </a:lnTo>
                <a:lnTo>
                  <a:pt x="71129" y="1223027"/>
                </a:lnTo>
                <a:lnTo>
                  <a:pt x="101028" y="1284927"/>
                </a:lnTo>
                <a:lnTo>
                  <a:pt x="135608" y="1344087"/>
                </a:lnTo>
                <a:lnTo>
                  <a:pt x="174636" y="1400279"/>
                </a:lnTo>
                <a:lnTo>
                  <a:pt x="217880" y="1453279"/>
                </a:lnTo>
                <a:lnTo>
                  <a:pt x="265105" y="1502858"/>
                </a:lnTo>
                <a:lnTo>
                  <a:pt x="316079" y="1548791"/>
                </a:lnTo>
                <a:lnTo>
                  <a:pt x="370570" y="1590850"/>
                </a:lnTo>
                <a:lnTo>
                  <a:pt x="428344" y="1628810"/>
                </a:lnTo>
                <a:lnTo>
                  <a:pt x="489168" y="1662444"/>
                </a:lnTo>
                <a:lnTo>
                  <a:pt x="552810" y="1691525"/>
                </a:lnTo>
                <a:lnTo>
                  <a:pt x="619036" y="1715826"/>
                </a:lnTo>
                <a:lnTo>
                  <a:pt x="687614" y="1735122"/>
                </a:lnTo>
                <a:lnTo>
                  <a:pt x="758310" y="1749185"/>
                </a:lnTo>
                <a:lnTo>
                  <a:pt x="830892" y="1757789"/>
                </a:lnTo>
                <a:lnTo>
                  <a:pt x="905126" y="1760707"/>
                </a:lnTo>
                <a:lnTo>
                  <a:pt x="979361" y="1757789"/>
                </a:lnTo>
                <a:lnTo>
                  <a:pt x="1051942" y="1749185"/>
                </a:lnTo>
                <a:lnTo>
                  <a:pt x="1122639" y="1735122"/>
                </a:lnTo>
                <a:lnTo>
                  <a:pt x="1191216" y="1715826"/>
                </a:lnTo>
                <a:lnTo>
                  <a:pt x="1257442" y="1691525"/>
                </a:lnTo>
                <a:lnTo>
                  <a:pt x="1321084" y="1662444"/>
                </a:lnTo>
                <a:lnTo>
                  <a:pt x="1381908" y="1628810"/>
                </a:lnTo>
                <a:lnTo>
                  <a:pt x="1439682" y="1590850"/>
                </a:lnTo>
                <a:lnTo>
                  <a:pt x="1494173" y="1548791"/>
                </a:lnTo>
                <a:lnTo>
                  <a:pt x="1545147" y="1502858"/>
                </a:lnTo>
                <a:lnTo>
                  <a:pt x="1592373" y="1453279"/>
                </a:lnTo>
                <a:lnTo>
                  <a:pt x="1635616" y="1400279"/>
                </a:lnTo>
                <a:lnTo>
                  <a:pt x="1674644" y="1344087"/>
                </a:lnTo>
                <a:lnTo>
                  <a:pt x="1709224" y="1284927"/>
                </a:lnTo>
                <a:lnTo>
                  <a:pt x="1739123" y="1223027"/>
                </a:lnTo>
                <a:lnTo>
                  <a:pt x="1764109" y="1158614"/>
                </a:lnTo>
                <a:lnTo>
                  <a:pt x="1783947" y="1091913"/>
                </a:lnTo>
                <a:lnTo>
                  <a:pt x="1798406" y="1023151"/>
                </a:lnTo>
                <a:lnTo>
                  <a:pt x="1807252" y="952556"/>
                </a:lnTo>
                <a:lnTo>
                  <a:pt x="1810252" y="880353"/>
                </a:lnTo>
                <a:lnTo>
                  <a:pt x="1807252" y="808151"/>
                </a:lnTo>
                <a:lnTo>
                  <a:pt x="1798406" y="737555"/>
                </a:lnTo>
                <a:lnTo>
                  <a:pt x="1783947" y="668794"/>
                </a:lnTo>
                <a:lnTo>
                  <a:pt x="1764109" y="602094"/>
                </a:lnTo>
                <a:lnTo>
                  <a:pt x="1739123" y="537680"/>
                </a:lnTo>
                <a:lnTo>
                  <a:pt x="1709224" y="475780"/>
                </a:lnTo>
                <a:lnTo>
                  <a:pt x="1674644" y="416621"/>
                </a:lnTo>
                <a:lnTo>
                  <a:pt x="1635616" y="360428"/>
                </a:lnTo>
                <a:lnTo>
                  <a:pt x="1592373" y="307429"/>
                </a:lnTo>
                <a:lnTo>
                  <a:pt x="1545147" y="257849"/>
                </a:lnTo>
                <a:lnTo>
                  <a:pt x="1494173" y="211917"/>
                </a:lnTo>
                <a:lnTo>
                  <a:pt x="1439682" y="169857"/>
                </a:lnTo>
                <a:lnTo>
                  <a:pt x="1381908" y="131897"/>
                </a:lnTo>
                <a:lnTo>
                  <a:pt x="1321084" y="98263"/>
                </a:lnTo>
                <a:lnTo>
                  <a:pt x="1257442" y="69182"/>
                </a:lnTo>
                <a:lnTo>
                  <a:pt x="1191216" y="44881"/>
                </a:lnTo>
                <a:lnTo>
                  <a:pt x="1122639" y="25585"/>
                </a:lnTo>
                <a:lnTo>
                  <a:pt x="1051942" y="11522"/>
                </a:lnTo>
                <a:lnTo>
                  <a:pt x="979361" y="2918"/>
                </a:lnTo>
                <a:lnTo>
                  <a:pt x="905126" y="0"/>
                </a:lnTo>
                <a:lnTo>
                  <a:pt x="830892" y="2918"/>
                </a:lnTo>
                <a:lnTo>
                  <a:pt x="758310" y="11522"/>
                </a:lnTo>
                <a:lnTo>
                  <a:pt x="687614" y="25585"/>
                </a:lnTo>
                <a:lnTo>
                  <a:pt x="619036" y="44881"/>
                </a:lnTo>
                <a:lnTo>
                  <a:pt x="552810" y="69182"/>
                </a:lnTo>
                <a:lnTo>
                  <a:pt x="489168" y="98263"/>
                </a:lnTo>
                <a:lnTo>
                  <a:pt x="428344" y="131897"/>
                </a:lnTo>
                <a:lnTo>
                  <a:pt x="370570" y="169857"/>
                </a:lnTo>
                <a:lnTo>
                  <a:pt x="316079" y="211917"/>
                </a:lnTo>
                <a:lnTo>
                  <a:pt x="265105" y="257849"/>
                </a:lnTo>
                <a:lnTo>
                  <a:pt x="217880" y="307429"/>
                </a:lnTo>
                <a:lnTo>
                  <a:pt x="174636" y="360428"/>
                </a:lnTo>
                <a:lnTo>
                  <a:pt x="135608" y="416621"/>
                </a:lnTo>
                <a:lnTo>
                  <a:pt x="101028" y="475780"/>
                </a:lnTo>
                <a:lnTo>
                  <a:pt x="71129" y="537680"/>
                </a:lnTo>
                <a:lnTo>
                  <a:pt x="46143" y="602094"/>
                </a:lnTo>
                <a:lnTo>
                  <a:pt x="26305" y="668794"/>
                </a:lnTo>
                <a:lnTo>
                  <a:pt x="11846" y="737555"/>
                </a:lnTo>
                <a:lnTo>
                  <a:pt x="3000" y="808151"/>
                </a:lnTo>
                <a:lnTo>
                  <a:pt x="0" y="880353"/>
                </a:lnTo>
                <a:close/>
              </a:path>
            </a:pathLst>
          </a:custGeom>
          <a:solidFill>
            <a:srgbClr val="83984F">
              <a:alpha val="50000"/>
            </a:srgbClr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6" name="object 82"/>
          <p:cNvSpPr/>
          <p:nvPr/>
        </p:nvSpPr>
        <p:spPr>
          <a:xfrm>
            <a:off x="4414372" y="54871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7" name="object 84"/>
          <p:cNvSpPr/>
          <p:nvPr/>
        </p:nvSpPr>
        <p:spPr>
          <a:xfrm>
            <a:off x="5399747" y="55212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8" name="object 86"/>
          <p:cNvSpPr/>
          <p:nvPr/>
        </p:nvSpPr>
        <p:spPr>
          <a:xfrm>
            <a:off x="6251551" y="55023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9" name="object 74"/>
          <p:cNvSpPr/>
          <p:nvPr/>
        </p:nvSpPr>
        <p:spPr>
          <a:xfrm>
            <a:off x="2668469" y="519520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0" name="object 72"/>
          <p:cNvSpPr/>
          <p:nvPr/>
        </p:nvSpPr>
        <p:spPr>
          <a:xfrm>
            <a:off x="5959366" y="251737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40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80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1" name="object 70"/>
          <p:cNvSpPr/>
          <p:nvPr/>
        </p:nvSpPr>
        <p:spPr>
          <a:xfrm>
            <a:off x="5560113" y="213564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2" name="object 68"/>
          <p:cNvSpPr/>
          <p:nvPr/>
        </p:nvSpPr>
        <p:spPr>
          <a:xfrm>
            <a:off x="5148028" y="1723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3" name="object 66"/>
          <p:cNvSpPr/>
          <p:nvPr/>
        </p:nvSpPr>
        <p:spPr>
          <a:xfrm>
            <a:off x="6872003" y="34121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4" name="object 63"/>
          <p:cNvSpPr/>
          <p:nvPr/>
        </p:nvSpPr>
        <p:spPr>
          <a:xfrm>
            <a:off x="5880842" y="502152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6"/>
                </a:lnTo>
                <a:lnTo>
                  <a:pt x="1583" y="198179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6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2"/>
                </a:lnTo>
                <a:lnTo>
                  <a:pt x="49876" y="299561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6"/>
                </a:lnTo>
                <a:lnTo>
                  <a:pt x="196530" y="342926"/>
                </a:lnTo>
                <a:lnTo>
                  <a:pt x="209650" y="339004"/>
                </a:lnTo>
                <a:lnTo>
                  <a:pt x="222295" y="333936"/>
                </a:lnTo>
                <a:lnTo>
                  <a:pt x="234413" y="327778"/>
                </a:lnTo>
                <a:lnTo>
                  <a:pt x="245953" y="320583"/>
                </a:lnTo>
                <a:lnTo>
                  <a:pt x="256864" y="312409"/>
                </a:lnTo>
                <a:lnTo>
                  <a:pt x="267095" y="303311"/>
                </a:lnTo>
                <a:lnTo>
                  <a:pt x="276595" y="293343"/>
                </a:lnTo>
                <a:lnTo>
                  <a:pt x="285312" y="282562"/>
                </a:lnTo>
                <a:lnTo>
                  <a:pt x="293195" y="271023"/>
                </a:lnTo>
                <a:lnTo>
                  <a:pt x="300193" y="258781"/>
                </a:lnTo>
                <a:lnTo>
                  <a:pt x="306255" y="245892"/>
                </a:lnTo>
                <a:lnTo>
                  <a:pt x="311330" y="232411"/>
                </a:lnTo>
                <a:lnTo>
                  <a:pt x="315366" y="218394"/>
                </a:lnTo>
                <a:lnTo>
                  <a:pt x="318312" y="203896"/>
                </a:lnTo>
                <a:lnTo>
                  <a:pt x="320117" y="188973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9" y="93485"/>
                </a:lnTo>
                <a:lnTo>
                  <a:pt x="296006" y="80986"/>
                </a:lnTo>
                <a:lnTo>
                  <a:pt x="288459" y="69169"/>
                </a:lnTo>
                <a:lnTo>
                  <a:pt x="280058" y="58089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4"/>
                </a:lnTo>
                <a:lnTo>
                  <a:pt x="86318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5" name="object 62"/>
          <p:cNvSpPr/>
          <p:nvPr/>
        </p:nvSpPr>
        <p:spPr>
          <a:xfrm>
            <a:off x="4326962" y="34938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6" name="object 60"/>
          <p:cNvSpPr/>
          <p:nvPr/>
        </p:nvSpPr>
        <p:spPr>
          <a:xfrm>
            <a:off x="3451263" y="457102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57150">
            <a:solidFill>
              <a:srgbClr val="AAC56C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7" name="object 58"/>
          <p:cNvSpPr/>
          <p:nvPr/>
        </p:nvSpPr>
        <p:spPr>
          <a:xfrm>
            <a:off x="7513462" y="204543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8" name="object 56"/>
          <p:cNvSpPr/>
          <p:nvPr/>
        </p:nvSpPr>
        <p:spPr>
          <a:xfrm>
            <a:off x="6553321" y="196196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9" name="object 54"/>
          <p:cNvSpPr/>
          <p:nvPr/>
        </p:nvSpPr>
        <p:spPr>
          <a:xfrm>
            <a:off x="7353097" y="275391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0" name="object 52"/>
          <p:cNvSpPr/>
          <p:nvPr/>
        </p:nvSpPr>
        <p:spPr>
          <a:xfrm>
            <a:off x="4696124" y="412086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1" name="object 50"/>
          <p:cNvSpPr/>
          <p:nvPr/>
        </p:nvSpPr>
        <p:spPr>
          <a:xfrm>
            <a:off x="4441297" y="46123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2" name="object 48"/>
          <p:cNvSpPr/>
          <p:nvPr/>
        </p:nvSpPr>
        <p:spPr>
          <a:xfrm>
            <a:off x="3130532" y="40499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3" name="object 42"/>
          <p:cNvSpPr/>
          <p:nvPr/>
        </p:nvSpPr>
        <p:spPr>
          <a:xfrm>
            <a:off x="5748103" y="33118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4" name="object 44"/>
          <p:cNvSpPr/>
          <p:nvPr/>
        </p:nvSpPr>
        <p:spPr>
          <a:xfrm>
            <a:off x="5560113" y="25802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5" name="object 46"/>
          <p:cNvSpPr/>
          <p:nvPr/>
        </p:nvSpPr>
        <p:spPr>
          <a:xfrm>
            <a:off x="5421508" y="296447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6" name="object 40"/>
          <p:cNvSpPr/>
          <p:nvPr/>
        </p:nvSpPr>
        <p:spPr>
          <a:xfrm>
            <a:off x="5213120" y="49216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7" name="object 38"/>
          <p:cNvSpPr/>
          <p:nvPr/>
        </p:nvSpPr>
        <p:spPr>
          <a:xfrm>
            <a:off x="7032365" y="221911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8" name="object 36"/>
          <p:cNvSpPr/>
          <p:nvPr/>
        </p:nvSpPr>
        <p:spPr>
          <a:xfrm>
            <a:off x="7385165" y="340218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6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7"/>
                </a:lnTo>
                <a:lnTo>
                  <a:pt x="310251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9" name="object 34"/>
          <p:cNvSpPr/>
          <p:nvPr/>
        </p:nvSpPr>
        <p:spPr>
          <a:xfrm>
            <a:off x="5038354" y="24830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0" name="object 32"/>
          <p:cNvSpPr/>
          <p:nvPr/>
        </p:nvSpPr>
        <p:spPr>
          <a:xfrm>
            <a:off x="7192732" y="159327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1" name="object 30"/>
          <p:cNvSpPr/>
          <p:nvPr/>
        </p:nvSpPr>
        <p:spPr>
          <a:xfrm>
            <a:off x="6201572" y="316997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2" name="object 28"/>
          <p:cNvSpPr/>
          <p:nvPr/>
        </p:nvSpPr>
        <p:spPr>
          <a:xfrm>
            <a:off x="4877989" y="532865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3" name="object 26"/>
          <p:cNvSpPr/>
          <p:nvPr/>
        </p:nvSpPr>
        <p:spPr>
          <a:xfrm>
            <a:off x="5581873" y="4521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4" name="object 24"/>
          <p:cNvSpPr/>
          <p:nvPr/>
        </p:nvSpPr>
        <p:spPr>
          <a:xfrm>
            <a:off x="3528670" y="35173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5" name="object 22"/>
          <p:cNvSpPr/>
          <p:nvPr/>
        </p:nvSpPr>
        <p:spPr>
          <a:xfrm>
            <a:off x="3252845" y="520650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6" name="object 20"/>
          <p:cNvSpPr/>
          <p:nvPr/>
        </p:nvSpPr>
        <p:spPr>
          <a:xfrm>
            <a:off x="3849401" y="4051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7" name="object 18"/>
          <p:cNvSpPr/>
          <p:nvPr/>
        </p:nvSpPr>
        <p:spPr>
          <a:xfrm>
            <a:off x="6713687" y="269105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8" name="object 6"/>
          <p:cNvSpPr txBox="1"/>
          <p:nvPr/>
        </p:nvSpPr>
        <p:spPr>
          <a:xfrm>
            <a:off x="1332125" y="3759280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grpSp>
        <p:nvGrpSpPr>
          <p:cNvPr id="119" name="Group 118"/>
          <p:cNvGrpSpPr/>
          <p:nvPr/>
        </p:nvGrpSpPr>
        <p:grpSpPr>
          <a:xfrm>
            <a:off x="2383438" y="1888930"/>
            <a:ext cx="6303362" cy="4054670"/>
            <a:chOff x="2343901" y="1923700"/>
            <a:chExt cx="6303362" cy="4054670"/>
          </a:xfrm>
        </p:grpSpPr>
        <p:sp>
          <p:nvSpPr>
            <p:cNvPr id="120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121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  <p:sp>
        <p:nvSpPr>
          <p:cNvPr id="122" name="object 15"/>
          <p:cNvSpPr txBox="1"/>
          <p:nvPr/>
        </p:nvSpPr>
        <p:spPr>
          <a:xfrm>
            <a:off x="349882" y="365536"/>
            <a:ext cx="1351013" cy="5207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985"/>
              </a:lnSpc>
              <a:spcBef>
                <a:spcPts val="99"/>
              </a:spcBef>
            </a:pPr>
            <a:r>
              <a:rPr sz="2700" spc="0" baseline="3034" dirty="0" smtClean="0">
                <a:solidFill>
                  <a:srgbClr val="215867"/>
                </a:solidFill>
                <a:latin typeface="+mj-lt"/>
                <a:cs typeface="Calibri"/>
              </a:rPr>
              <a:t>epsilon = 1.75</a:t>
            </a:r>
            <a:endParaRPr sz="1800">
              <a:latin typeface="+mj-lt"/>
              <a:cs typeface="Calibri"/>
            </a:endParaRPr>
          </a:p>
          <a:p>
            <a:pPr marL="12700" marR="34289">
              <a:lnSpc>
                <a:spcPts val="2100"/>
              </a:lnSpc>
              <a:spcBef>
                <a:spcPts val="5"/>
              </a:spcBef>
            </a:pPr>
            <a:r>
              <a:rPr sz="2700" spc="0" baseline="1517" dirty="0" smtClean="0">
                <a:solidFill>
                  <a:srgbClr val="215867"/>
                </a:solidFill>
                <a:latin typeface="+mj-lt"/>
                <a:cs typeface="Calibri"/>
              </a:rPr>
              <a:t>n_clu = 3</a:t>
            </a:r>
            <a:endParaRPr sz="1800">
              <a:latin typeface="+mj-lt"/>
              <a:cs typeface="Calibri"/>
            </a:endParaRPr>
          </a:p>
        </p:txBody>
      </p:sp>
      <p:sp>
        <p:nvSpPr>
          <p:cNvPr id="123" name="object 5"/>
          <p:cNvSpPr txBox="1"/>
          <p:nvPr/>
        </p:nvSpPr>
        <p:spPr>
          <a:xfrm>
            <a:off x="2101916" y="365536"/>
            <a:ext cx="6889684" cy="807913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 marR="41909">
              <a:lnSpc>
                <a:spcPts val="3454"/>
              </a:lnSpc>
              <a:spcBef>
                <a:spcPts val="172"/>
              </a:spcBef>
            </a:pPr>
            <a:r>
              <a:rPr sz="4800" spc="0" baseline="2560" dirty="0" smtClean="0">
                <a:solidFill>
                  <a:srgbClr val="4E81BC"/>
                </a:solidFill>
                <a:latin typeface="+mj-lt"/>
                <a:cs typeface="Calibri"/>
              </a:rPr>
              <a:t>DBSC</a:t>
            </a:r>
            <a:r>
              <a:rPr sz="4800" spc="-4" baseline="2560" dirty="0" smtClean="0">
                <a:solidFill>
                  <a:srgbClr val="4E81BC"/>
                </a:solidFill>
                <a:latin typeface="+mj-lt"/>
                <a:cs typeface="Calibri"/>
              </a:rPr>
              <a:t>A</a:t>
            </a:r>
            <a:r>
              <a:rPr sz="4800" spc="0" baseline="2560" dirty="0" smtClean="0">
                <a:solidFill>
                  <a:srgbClr val="4E81BC"/>
                </a:solidFill>
                <a:latin typeface="+mj-lt"/>
                <a:cs typeface="Calibri"/>
              </a:rPr>
              <a:t>N</a:t>
            </a:r>
            <a:endParaRPr sz="3200" dirty="0">
              <a:latin typeface="+mj-lt"/>
              <a:cs typeface="Calibri"/>
            </a:endParaRPr>
          </a:p>
          <a:p>
            <a:pPr marL="12700">
              <a:lnSpc>
                <a:spcPts val="2770"/>
              </a:lnSpc>
            </a:pPr>
            <a:r>
              <a:rPr lang="en-US" sz="3200" baseline="1137" dirty="0" smtClean="0">
                <a:solidFill>
                  <a:srgbClr val="7F7E7E"/>
                </a:solidFill>
                <a:cs typeface="Calibri"/>
              </a:rPr>
              <a:t>Keep adding neighbors within </a:t>
            </a:r>
            <a:r>
              <a:rPr lang="en-US" sz="3200" i="1" baseline="1137" dirty="0" smtClean="0">
                <a:solidFill>
                  <a:srgbClr val="7F7E7E"/>
                </a:solidFill>
                <a:cs typeface="Calibri"/>
              </a:rPr>
              <a:t>epsilon </a:t>
            </a:r>
            <a:r>
              <a:rPr lang="en-US" sz="3200" baseline="1137" dirty="0" smtClean="0">
                <a:solidFill>
                  <a:srgbClr val="7F7E7E"/>
                </a:solidFill>
                <a:cs typeface="Calibri"/>
              </a:rPr>
              <a:t>as chain reaction</a:t>
            </a:r>
            <a:endParaRPr lang="en-US" sz="3200" i="1" baseline="1137" dirty="0">
              <a:solidFill>
                <a:srgbClr val="7F7E7E"/>
              </a:solidFill>
              <a:cs typeface="Calibri"/>
            </a:endParaRPr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" name="object 10"/>
          <p:cNvSpPr txBox="1"/>
          <p:nvPr/>
        </p:nvSpPr>
        <p:spPr>
          <a:xfrm>
            <a:off x="2101916" y="369650"/>
            <a:ext cx="6296519" cy="4318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3400"/>
              </a:lnSpc>
              <a:spcBef>
                <a:spcPts val="170"/>
              </a:spcBef>
            </a:pPr>
            <a:r>
              <a:rPr lang="en-US" sz="4800" baseline="1706" dirty="0">
                <a:solidFill>
                  <a:srgbClr val="4E81BC"/>
                </a:solidFill>
                <a:latin typeface="+mj-lt"/>
                <a:cs typeface="Calibri"/>
              </a:rPr>
              <a:t>Agglomerative </a:t>
            </a:r>
            <a:r>
              <a:rPr sz="4800" spc="0" baseline="1706" dirty="0" smtClean="0">
                <a:solidFill>
                  <a:srgbClr val="4E81BC"/>
                </a:solidFill>
                <a:latin typeface="+mj-lt"/>
                <a:cs typeface="Calibri"/>
              </a:rPr>
              <a:t>Hierarchical Clustering</a:t>
            </a:r>
            <a:endParaRPr sz="3200" dirty="0">
              <a:latin typeface="+mj-lt"/>
              <a:cs typeface="Calibri"/>
            </a:endParaRPr>
          </a:p>
        </p:txBody>
      </p:sp>
      <p:sp>
        <p:nvSpPr>
          <p:cNvPr id="82" name="object 11"/>
          <p:cNvSpPr txBox="1"/>
          <p:nvPr/>
        </p:nvSpPr>
        <p:spPr>
          <a:xfrm>
            <a:off x="2101916" y="852250"/>
            <a:ext cx="6584884" cy="4318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3400"/>
              </a:lnSpc>
              <a:spcBef>
                <a:spcPts val="170"/>
              </a:spcBef>
            </a:pPr>
            <a:r>
              <a:rPr sz="4800" spc="0" baseline="1706" dirty="0" smtClean="0">
                <a:solidFill>
                  <a:srgbClr val="7F7E7E"/>
                </a:solidFill>
                <a:latin typeface="+mj-lt"/>
                <a:cs typeface="Calibri"/>
              </a:rPr>
              <a:t>Find</a:t>
            </a:r>
            <a:r>
              <a:rPr lang="en-US" sz="4800" spc="0" baseline="1706" dirty="0" smtClean="0">
                <a:solidFill>
                  <a:srgbClr val="7F7E7E"/>
                </a:solidFill>
                <a:latin typeface="+mj-lt"/>
                <a:cs typeface="Calibri"/>
              </a:rPr>
              <a:t> next closet pair, merge</a:t>
            </a:r>
            <a:endParaRPr sz="3200" dirty="0">
              <a:latin typeface="+mj-lt"/>
              <a:cs typeface="Calibri"/>
            </a:endParaRPr>
          </a:p>
        </p:txBody>
      </p:sp>
      <p:sp>
        <p:nvSpPr>
          <p:cNvPr id="83" name="object 82"/>
          <p:cNvSpPr/>
          <p:nvPr/>
        </p:nvSpPr>
        <p:spPr>
          <a:xfrm>
            <a:off x="4414372" y="54871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4" name="object 84"/>
          <p:cNvSpPr/>
          <p:nvPr/>
        </p:nvSpPr>
        <p:spPr>
          <a:xfrm>
            <a:off x="5399747" y="55212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5" name="object 86"/>
          <p:cNvSpPr/>
          <p:nvPr/>
        </p:nvSpPr>
        <p:spPr>
          <a:xfrm>
            <a:off x="6251551" y="55023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6" name="object 74"/>
          <p:cNvSpPr/>
          <p:nvPr/>
        </p:nvSpPr>
        <p:spPr>
          <a:xfrm>
            <a:off x="2668469" y="519520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7" name="object 72"/>
          <p:cNvSpPr/>
          <p:nvPr/>
        </p:nvSpPr>
        <p:spPr>
          <a:xfrm>
            <a:off x="5959366" y="251737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40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80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8" name="object 70"/>
          <p:cNvSpPr/>
          <p:nvPr/>
        </p:nvSpPr>
        <p:spPr>
          <a:xfrm>
            <a:off x="5560113" y="213564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9" name="object 68"/>
          <p:cNvSpPr/>
          <p:nvPr/>
        </p:nvSpPr>
        <p:spPr>
          <a:xfrm>
            <a:off x="5148028" y="1723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0" name="object 66"/>
          <p:cNvSpPr/>
          <p:nvPr/>
        </p:nvSpPr>
        <p:spPr>
          <a:xfrm>
            <a:off x="6872003" y="34121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1" name="object 63"/>
          <p:cNvSpPr/>
          <p:nvPr/>
        </p:nvSpPr>
        <p:spPr>
          <a:xfrm>
            <a:off x="5880842" y="502152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6"/>
                </a:lnTo>
                <a:lnTo>
                  <a:pt x="1583" y="198179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6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2"/>
                </a:lnTo>
                <a:lnTo>
                  <a:pt x="49876" y="299561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6"/>
                </a:lnTo>
                <a:lnTo>
                  <a:pt x="196530" y="342926"/>
                </a:lnTo>
                <a:lnTo>
                  <a:pt x="209650" y="339004"/>
                </a:lnTo>
                <a:lnTo>
                  <a:pt x="222295" y="333936"/>
                </a:lnTo>
                <a:lnTo>
                  <a:pt x="234413" y="327778"/>
                </a:lnTo>
                <a:lnTo>
                  <a:pt x="245953" y="320583"/>
                </a:lnTo>
                <a:lnTo>
                  <a:pt x="256864" y="312409"/>
                </a:lnTo>
                <a:lnTo>
                  <a:pt x="267095" y="303311"/>
                </a:lnTo>
                <a:lnTo>
                  <a:pt x="276595" y="293343"/>
                </a:lnTo>
                <a:lnTo>
                  <a:pt x="285312" y="282562"/>
                </a:lnTo>
                <a:lnTo>
                  <a:pt x="293195" y="271023"/>
                </a:lnTo>
                <a:lnTo>
                  <a:pt x="300193" y="258781"/>
                </a:lnTo>
                <a:lnTo>
                  <a:pt x="306255" y="245892"/>
                </a:lnTo>
                <a:lnTo>
                  <a:pt x="311330" y="232411"/>
                </a:lnTo>
                <a:lnTo>
                  <a:pt x="315366" y="218394"/>
                </a:lnTo>
                <a:lnTo>
                  <a:pt x="318312" y="203896"/>
                </a:lnTo>
                <a:lnTo>
                  <a:pt x="320117" y="188973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9" y="93485"/>
                </a:lnTo>
                <a:lnTo>
                  <a:pt x="296006" y="80986"/>
                </a:lnTo>
                <a:lnTo>
                  <a:pt x="288459" y="69169"/>
                </a:lnTo>
                <a:lnTo>
                  <a:pt x="280058" y="58089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4"/>
                </a:lnTo>
                <a:lnTo>
                  <a:pt x="86318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2" name="object 62"/>
          <p:cNvSpPr/>
          <p:nvPr/>
        </p:nvSpPr>
        <p:spPr>
          <a:xfrm>
            <a:off x="4326962" y="34938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3" name="object 60"/>
          <p:cNvSpPr/>
          <p:nvPr/>
        </p:nvSpPr>
        <p:spPr>
          <a:xfrm>
            <a:off x="3451263" y="457102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4" name="object 58"/>
          <p:cNvSpPr/>
          <p:nvPr/>
        </p:nvSpPr>
        <p:spPr>
          <a:xfrm>
            <a:off x="7513462" y="204543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5" name="object 56"/>
          <p:cNvSpPr/>
          <p:nvPr/>
        </p:nvSpPr>
        <p:spPr>
          <a:xfrm>
            <a:off x="6553321" y="196196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6" name="object 54"/>
          <p:cNvSpPr/>
          <p:nvPr/>
        </p:nvSpPr>
        <p:spPr>
          <a:xfrm>
            <a:off x="7353097" y="275391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7" name="object 52"/>
          <p:cNvSpPr/>
          <p:nvPr/>
        </p:nvSpPr>
        <p:spPr>
          <a:xfrm>
            <a:off x="4696124" y="412086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8" name="object 50"/>
          <p:cNvSpPr/>
          <p:nvPr/>
        </p:nvSpPr>
        <p:spPr>
          <a:xfrm>
            <a:off x="4441297" y="46123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9" name="object 48"/>
          <p:cNvSpPr/>
          <p:nvPr/>
        </p:nvSpPr>
        <p:spPr>
          <a:xfrm>
            <a:off x="3130532" y="40499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0" name="object 42"/>
          <p:cNvSpPr/>
          <p:nvPr/>
        </p:nvSpPr>
        <p:spPr>
          <a:xfrm>
            <a:off x="5748103" y="33118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1" name="object 44"/>
          <p:cNvSpPr/>
          <p:nvPr/>
        </p:nvSpPr>
        <p:spPr>
          <a:xfrm>
            <a:off x="5560113" y="25802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2" name="object 46"/>
          <p:cNvSpPr/>
          <p:nvPr/>
        </p:nvSpPr>
        <p:spPr>
          <a:xfrm>
            <a:off x="5421508" y="296447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3" name="object 40"/>
          <p:cNvSpPr/>
          <p:nvPr/>
        </p:nvSpPr>
        <p:spPr>
          <a:xfrm>
            <a:off x="5213120" y="49216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4" name="object 38"/>
          <p:cNvSpPr/>
          <p:nvPr/>
        </p:nvSpPr>
        <p:spPr>
          <a:xfrm>
            <a:off x="7032365" y="221911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5" name="object 36"/>
          <p:cNvSpPr/>
          <p:nvPr/>
        </p:nvSpPr>
        <p:spPr>
          <a:xfrm>
            <a:off x="7385165" y="340218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6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7"/>
                </a:lnTo>
                <a:lnTo>
                  <a:pt x="310251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6" name="object 34"/>
          <p:cNvSpPr/>
          <p:nvPr/>
        </p:nvSpPr>
        <p:spPr>
          <a:xfrm>
            <a:off x="5038354" y="24830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7" name="object 32"/>
          <p:cNvSpPr/>
          <p:nvPr/>
        </p:nvSpPr>
        <p:spPr>
          <a:xfrm>
            <a:off x="7192732" y="159327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8" name="object 30"/>
          <p:cNvSpPr/>
          <p:nvPr/>
        </p:nvSpPr>
        <p:spPr>
          <a:xfrm>
            <a:off x="6201572" y="316997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9" name="object 28"/>
          <p:cNvSpPr/>
          <p:nvPr/>
        </p:nvSpPr>
        <p:spPr>
          <a:xfrm>
            <a:off x="4877989" y="532865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0" name="object 26"/>
          <p:cNvSpPr/>
          <p:nvPr/>
        </p:nvSpPr>
        <p:spPr>
          <a:xfrm>
            <a:off x="5581873" y="4521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1" name="object 24"/>
          <p:cNvSpPr/>
          <p:nvPr/>
        </p:nvSpPr>
        <p:spPr>
          <a:xfrm>
            <a:off x="3528670" y="35173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2" name="object 22"/>
          <p:cNvSpPr/>
          <p:nvPr/>
        </p:nvSpPr>
        <p:spPr>
          <a:xfrm>
            <a:off x="3252845" y="520650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3" name="object 20"/>
          <p:cNvSpPr/>
          <p:nvPr/>
        </p:nvSpPr>
        <p:spPr>
          <a:xfrm>
            <a:off x="3849401" y="4051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4" name="object 18"/>
          <p:cNvSpPr/>
          <p:nvPr/>
        </p:nvSpPr>
        <p:spPr>
          <a:xfrm>
            <a:off x="6713687" y="269105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5" name="object 6"/>
          <p:cNvSpPr txBox="1"/>
          <p:nvPr/>
        </p:nvSpPr>
        <p:spPr>
          <a:xfrm>
            <a:off x="1332125" y="3759280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sp>
        <p:nvSpPr>
          <p:cNvPr id="116" name="object 5"/>
          <p:cNvSpPr txBox="1"/>
          <p:nvPr/>
        </p:nvSpPr>
        <p:spPr>
          <a:xfrm>
            <a:off x="5426815" y="6116930"/>
            <a:ext cx="542241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Age</a:t>
            </a:r>
            <a:endParaRPr sz="2400">
              <a:cs typeface="Calibri"/>
            </a:endParaRPr>
          </a:p>
        </p:txBody>
      </p:sp>
      <p:grpSp>
        <p:nvGrpSpPr>
          <p:cNvPr id="117" name="Group 116"/>
          <p:cNvGrpSpPr/>
          <p:nvPr/>
        </p:nvGrpSpPr>
        <p:grpSpPr>
          <a:xfrm>
            <a:off x="2383438" y="1888930"/>
            <a:ext cx="6303362" cy="4054670"/>
            <a:chOff x="2343901" y="1923700"/>
            <a:chExt cx="6303362" cy="4054670"/>
          </a:xfrm>
        </p:grpSpPr>
        <p:sp>
          <p:nvSpPr>
            <p:cNvPr id="118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119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" name="object 3"/>
          <p:cNvSpPr txBox="1"/>
          <p:nvPr/>
        </p:nvSpPr>
        <p:spPr>
          <a:xfrm>
            <a:off x="5426815" y="6116930"/>
            <a:ext cx="542241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latin typeface="Calibri"/>
                <a:cs typeface="Calibri"/>
              </a:rPr>
              <a:t>Age</a:t>
            </a:r>
            <a:endParaRPr sz="2400">
              <a:latin typeface="Calibri"/>
              <a:cs typeface="Calibri"/>
            </a:endParaRPr>
          </a:p>
        </p:txBody>
      </p:sp>
      <p:sp>
        <p:nvSpPr>
          <p:cNvPr id="85" name="object 66"/>
          <p:cNvSpPr/>
          <p:nvPr/>
        </p:nvSpPr>
        <p:spPr>
          <a:xfrm>
            <a:off x="2695191" y="3864410"/>
            <a:ext cx="1810252" cy="1760707"/>
          </a:xfrm>
          <a:custGeom>
            <a:avLst/>
            <a:gdLst/>
            <a:ahLst/>
            <a:cxnLst/>
            <a:rect l="l" t="t" r="r" b="b"/>
            <a:pathLst>
              <a:path w="1810252" h="1760707">
                <a:moveTo>
                  <a:pt x="0" y="880353"/>
                </a:moveTo>
                <a:lnTo>
                  <a:pt x="3000" y="952556"/>
                </a:lnTo>
                <a:lnTo>
                  <a:pt x="11846" y="1023151"/>
                </a:lnTo>
                <a:lnTo>
                  <a:pt x="26305" y="1091913"/>
                </a:lnTo>
                <a:lnTo>
                  <a:pt x="46143" y="1158614"/>
                </a:lnTo>
                <a:lnTo>
                  <a:pt x="71129" y="1223027"/>
                </a:lnTo>
                <a:lnTo>
                  <a:pt x="101028" y="1284927"/>
                </a:lnTo>
                <a:lnTo>
                  <a:pt x="135608" y="1344087"/>
                </a:lnTo>
                <a:lnTo>
                  <a:pt x="174636" y="1400279"/>
                </a:lnTo>
                <a:lnTo>
                  <a:pt x="217880" y="1453279"/>
                </a:lnTo>
                <a:lnTo>
                  <a:pt x="265105" y="1502858"/>
                </a:lnTo>
                <a:lnTo>
                  <a:pt x="316079" y="1548791"/>
                </a:lnTo>
                <a:lnTo>
                  <a:pt x="370570" y="1590850"/>
                </a:lnTo>
                <a:lnTo>
                  <a:pt x="428344" y="1628810"/>
                </a:lnTo>
                <a:lnTo>
                  <a:pt x="489168" y="1662444"/>
                </a:lnTo>
                <a:lnTo>
                  <a:pt x="552810" y="1691525"/>
                </a:lnTo>
                <a:lnTo>
                  <a:pt x="619036" y="1715826"/>
                </a:lnTo>
                <a:lnTo>
                  <a:pt x="687614" y="1735122"/>
                </a:lnTo>
                <a:lnTo>
                  <a:pt x="758310" y="1749185"/>
                </a:lnTo>
                <a:lnTo>
                  <a:pt x="830892" y="1757789"/>
                </a:lnTo>
                <a:lnTo>
                  <a:pt x="905126" y="1760707"/>
                </a:lnTo>
                <a:lnTo>
                  <a:pt x="979361" y="1757789"/>
                </a:lnTo>
                <a:lnTo>
                  <a:pt x="1051942" y="1749185"/>
                </a:lnTo>
                <a:lnTo>
                  <a:pt x="1122639" y="1735122"/>
                </a:lnTo>
                <a:lnTo>
                  <a:pt x="1191216" y="1715826"/>
                </a:lnTo>
                <a:lnTo>
                  <a:pt x="1257442" y="1691525"/>
                </a:lnTo>
                <a:lnTo>
                  <a:pt x="1321084" y="1662444"/>
                </a:lnTo>
                <a:lnTo>
                  <a:pt x="1381908" y="1628810"/>
                </a:lnTo>
                <a:lnTo>
                  <a:pt x="1439682" y="1590850"/>
                </a:lnTo>
                <a:lnTo>
                  <a:pt x="1494173" y="1548791"/>
                </a:lnTo>
                <a:lnTo>
                  <a:pt x="1545147" y="1502858"/>
                </a:lnTo>
                <a:lnTo>
                  <a:pt x="1592373" y="1453279"/>
                </a:lnTo>
                <a:lnTo>
                  <a:pt x="1635616" y="1400279"/>
                </a:lnTo>
                <a:lnTo>
                  <a:pt x="1674644" y="1344087"/>
                </a:lnTo>
                <a:lnTo>
                  <a:pt x="1709224" y="1284927"/>
                </a:lnTo>
                <a:lnTo>
                  <a:pt x="1739123" y="1223027"/>
                </a:lnTo>
                <a:lnTo>
                  <a:pt x="1764109" y="1158614"/>
                </a:lnTo>
                <a:lnTo>
                  <a:pt x="1783947" y="1091913"/>
                </a:lnTo>
                <a:lnTo>
                  <a:pt x="1798406" y="1023151"/>
                </a:lnTo>
                <a:lnTo>
                  <a:pt x="1807252" y="952556"/>
                </a:lnTo>
                <a:lnTo>
                  <a:pt x="1810252" y="880353"/>
                </a:lnTo>
                <a:lnTo>
                  <a:pt x="1807252" y="808151"/>
                </a:lnTo>
                <a:lnTo>
                  <a:pt x="1798406" y="737555"/>
                </a:lnTo>
                <a:lnTo>
                  <a:pt x="1783947" y="668794"/>
                </a:lnTo>
                <a:lnTo>
                  <a:pt x="1764109" y="602094"/>
                </a:lnTo>
                <a:lnTo>
                  <a:pt x="1739123" y="537680"/>
                </a:lnTo>
                <a:lnTo>
                  <a:pt x="1709224" y="475780"/>
                </a:lnTo>
                <a:lnTo>
                  <a:pt x="1674644" y="416621"/>
                </a:lnTo>
                <a:lnTo>
                  <a:pt x="1635616" y="360428"/>
                </a:lnTo>
                <a:lnTo>
                  <a:pt x="1592373" y="307429"/>
                </a:lnTo>
                <a:lnTo>
                  <a:pt x="1545147" y="257849"/>
                </a:lnTo>
                <a:lnTo>
                  <a:pt x="1494173" y="211917"/>
                </a:lnTo>
                <a:lnTo>
                  <a:pt x="1439682" y="169857"/>
                </a:lnTo>
                <a:lnTo>
                  <a:pt x="1381908" y="131897"/>
                </a:lnTo>
                <a:lnTo>
                  <a:pt x="1321084" y="98263"/>
                </a:lnTo>
                <a:lnTo>
                  <a:pt x="1257442" y="69182"/>
                </a:lnTo>
                <a:lnTo>
                  <a:pt x="1191216" y="44881"/>
                </a:lnTo>
                <a:lnTo>
                  <a:pt x="1122639" y="25585"/>
                </a:lnTo>
                <a:lnTo>
                  <a:pt x="1051942" y="11522"/>
                </a:lnTo>
                <a:lnTo>
                  <a:pt x="979361" y="2918"/>
                </a:lnTo>
                <a:lnTo>
                  <a:pt x="905126" y="0"/>
                </a:lnTo>
                <a:lnTo>
                  <a:pt x="830892" y="2918"/>
                </a:lnTo>
                <a:lnTo>
                  <a:pt x="758310" y="11522"/>
                </a:lnTo>
                <a:lnTo>
                  <a:pt x="687614" y="25585"/>
                </a:lnTo>
                <a:lnTo>
                  <a:pt x="619036" y="44881"/>
                </a:lnTo>
                <a:lnTo>
                  <a:pt x="552810" y="69182"/>
                </a:lnTo>
                <a:lnTo>
                  <a:pt x="489168" y="98263"/>
                </a:lnTo>
                <a:lnTo>
                  <a:pt x="428344" y="131897"/>
                </a:lnTo>
                <a:lnTo>
                  <a:pt x="370570" y="169857"/>
                </a:lnTo>
                <a:lnTo>
                  <a:pt x="316079" y="211917"/>
                </a:lnTo>
                <a:lnTo>
                  <a:pt x="265105" y="257849"/>
                </a:lnTo>
                <a:lnTo>
                  <a:pt x="217880" y="307429"/>
                </a:lnTo>
                <a:lnTo>
                  <a:pt x="174636" y="360428"/>
                </a:lnTo>
                <a:lnTo>
                  <a:pt x="135608" y="416621"/>
                </a:lnTo>
                <a:lnTo>
                  <a:pt x="101028" y="475780"/>
                </a:lnTo>
                <a:lnTo>
                  <a:pt x="71129" y="537680"/>
                </a:lnTo>
                <a:lnTo>
                  <a:pt x="46143" y="602094"/>
                </a:lnTo>
                <a:lnTo>
                  <a:pt x="26305" y="668794"/>
                </a:lnTo>
                <a:lnTo>
                  <a:pt x="11846" y="737555"/>
                </a:lnTo>
                <a:lnTo>
                  <a:pt x="3000" y="808151"/>
                </a:lnTo>
                <a:lnTo>
                  <a:pt x="0" y="880353"/>
                </a:lnTo>
                <a:close/>
              </a:path>
            </a:pathLst>
          </a:custGeom>
          <a:solidFill>
            <a:srgbClr val="83984F">
              <a:alpha val="50000"/>
            </a:srgbClr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6" name="object 82"/>
          <p:cNvSpPr/>
          <p:nvPr/>
        </p:nvSpPr>
        <p:spPr>
          <a:xfrm>
            <a:off x="4414372" y="54871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7" name="object 84"/>
          <p:cNvSpPr/>
          <p:nvPr/>
        </p:nvSpPr>
        <p:spPr>
          <a:xfrm>
            <a:off x="5399747" y="55212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8" name="object 86"/>
          <p:cNvSpPr/>
          <p:nvPr/>
        </p:nvSpPr>
        <p:spPr>
          <a:xfrm>
            <a:off x="6251551" y="55023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9" name="object 74"/>
          <p:cNvSpPr/>
          <p:nvPr/>
        </p:nvSpPr>
        <p:spPr>
          <a:xfrm>
            <a:off x="2668469" y="519520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0" name="object 72"/>
          <p:cNvSpPr/>
          <p:nvPr/>
        </p:nvSpPr>
        <p:spPr>
          <a:xfrm>
            <a:off x="5959366" y="251737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40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80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1" name="object 70"/>
          <p:cNvSpPr/>
          <p:nvPr/>
        </p:nvSpPr>
        <p:spPr>
          <a:xfrm>
            <a:off x="5560113" y="213564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2" name="object 68"/>
          <p:cNvSpPr/>
          <p:nvPr/>
        </p:nvSpPr>
        <p:spPr>
          <a:xfrm>
            <a:off x="5148028" y="1723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3" name="object 66"/>
          <p:cNvSpPr/>
          <p:nvPr/>
        </p:nvSpPr>
        <p:spPr>
          <a:xfrm>
            <a:off x="6872003" y="34121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4" name="object 63"/>
          <p:cNvSpPr/>
          <p:nvPr/>
        </p:nvSpPr>
        <p:spPr>
          <a:xfrm>
            <a:off x="5880842" y="502152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6"/>
                </a:lnTo>
                <a:lnTo>
                  <a:pt x="1583" y="198179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6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2"/>
                </a:lnTo>
                <a:lnTo>
                  <a:pt x="49876" y="299561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6"/>
                </a:lnTo>
                <a:lnTo>
                  <a:pt x="196530" y="342926"/>
                </a:lnTo>
                <a:lnTo>
                  <a:pt x="209650" y="339004"/>
                </a:lnTo>
                <a:lnTo>
                  <a:pt x="222295" y="333936"/>
                </a:lnTo>
                <a:lnTo>
                  <a:pt x="234413" y="327778"/>
                </a:lnTo>
                <a:lnTo>
                  <a:pt x="245953" y="320583"/>
                </a:lnTo>
                <a:lnTo>
                  <a:pt x="256864" y="312409"/>
                </a:lnTo>
                <a:lnTo>
                  <a:pt x="267095" y="303311"/>
                </a:lnTo>
                <a:lnTo>
                  <a:pt x="276595" y="293343"/>
                </a:lnTo>
                <a:lnTo>
                  <a:pt x="285312" y="282562"/>
                </a:lnTo>
                <a:lnTo>
                  <a:pt x="293195" y="271023"/>
                </a:lnTo>
                <a:lnTo>
                  <a:pt x="300193" y="258781"/>
                </a:lnTo>
                <a:lnTo>
                  <a:pt x="306255" y="245892"/>
                </a:lnTo>
                <a:lnTo>
                  <a:pt x="311330" y="232411"/>
                </a:lnTo>
                <a:lnTo>
                  <a:pt x="315366" y="218394"/>
                </a:lnTo>
                <a:lnTo>
                  <a:pt x="318312" y="203896"/>
                </a:lnTo>
                <a:lnTo>
                  <a:pt x="320117" y="188973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9" y="93485"/>
                </a:lnTo>
                <a:lnTo>
                  <a:pt x="296006" y="80986"/>
                </a:lnTo>
                <a:lnTo>
                  <a:pt x="288459" y="69169"/>
                </a:lnTo>
                <a:lnTo>
                  <a:pt x="280058" y="58089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4"/>
                </a:lnTo>
                <a:lnTo>
                  <a:pt x="86318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5" name="object 62"/>
          <p:cNvSpPr/>
          <p:nvPr/>
        </p:nvSpPr>
        <p:spPr>
          <a:xfrm>
            <a:off x="4326962" y="34938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6" name="object 60"/>
          <p:cNvSpPr/>
          <p:nvPr/>
        </p:nvSpPr>
        <p:spPr>
          <a:xfrm>
            <a:off x="3451263" y="457102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7" name="object 58"/>
          <p:cNvSpPr/>
          <p:nvPr/>
        </p:nvSpPr>
        <p:spPr>
          <a:xfrm>
            <a:off x="7513462" y="204543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8" name="object 56"/>
          <p:cNvSpPr/>
          <p:nvPr/>
        </p:nvSpPr>
        <p:spPr>
          <a:xfrm>
            <a:off x="6553321" y="196196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9" name="object 54"/>
          <p:cNvSpPr/>
          <p:nvPr/>
        </p:nvSpPr>
        <p:spPr>
          <a:xfrm>
            <a:off x="7353097" y="275391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0" name="object 52"/>
          <p:cNvSpPr/>
          <p:nvPr/>
        </p:nvSpPr>
        <p:spPr>
          <a:xfrm>
            <a:off x="4696124" y="412086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1" name="object 50"/>
          <p:cNvSpPr/>
          <p:nvPr/>
        </p:nvSpPr>
        <p:spPr>
          <a:xfrm>
            <a:off x="4441297" y="46123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2" name="object 48"/>
          <p:cNvSpPr/>
          <p:nvPr/>
        </p:nvSpPr>
        <p:spPr>
          <a:xfrm>
            <a:off x="3130532" y="40499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3" name="object 42"/>
          <p:cNvSpPr/>
          <p:nvPr/>
        </p:nvSpPr>
        <p:spPr>
          <a:xfrm>
            <a:off x="5748103" y="33118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4" name="object 44"/>
          <p:cNvSpPr/>
          <p:nvPr/>
        </p:nvSpPr>
        <p:spPr>
          <a:xfrm>
            <a:off x="5560113" y="25802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5" name="object 46"/>
          <p:cNvSpPr/>
          <p:nvPr/>
        </p:nvSpPr>
        <p:spPr>
          <a:xfrm>
            <a:off x="5421508" y="296447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6" name="object 40"/>
          <p:cNvSpPr/>
          <p:nvPr/>
        </p:nvSpPr>
        <p:spPr>
          <a:xfrm>
            <a:off x="5213120" y="49216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7" name="object 38"/>
          <p:cNvSpPr/>
          <p:nvPr/>
        </p:nvSpPr>
        <p:spPr>
          <a:xfrm>
            <a:off x="7032365" y="221911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8" name="object 36"/>
          <p:cNvSpPr/>
          <p:nvPr/>
        </p:nvSpPr>
        <p:spPr>
          <a:xfrm>
            <a:off x="7385165" y="340218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6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7"/>
                </a:lnTo>
                <a:lnTo>
                  <a:pt x="310251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9" name="object 34"/>
          <p:cNvSpPr/>
          <p:nvPr/>
        </p:nvSpPr>
        <p:spPr>
          <a:xfrm>
            <a:off x="5038354" y="24830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0" name="object 32"/>
          <p:cNvSpPr/>
          <p:nvPr/>
        </p:nvSpPr>
        <p:spPr>
          <a:xfrm>
            <a:off x="7192732" y="159327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1" name="object 30"/>
          <p:cNvSpPr/>
          <p:nvPr/>
        </p:nvSpPr>
        <p:spPr>
          <a:xfrm>
            <a:off x="6201572" y="316997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2" name="object 28"/>
          <p:cNvSpPr/>
          <p:nvPr/>
        </p:nvSpPr>
        <p:spPr>
          <a:xfrm>
            <a:off x="4877989" y="532865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3" name="object 26"/>
          <p:cNvSpPr/>
          <p:nvPr/>
        </p:nvSpPr>
        <p:spPr>
          <a:xfrm>
            <a:off x="5581873" y="4521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4" name="object 24"/>
          <p:cNvSpPr/>
          <p:nvPr/>
        </p:nvSpPr>
        <p:spPr>
          <a:xfrm>
            <a:off x="3528670" y="35173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5" name="object 22"/>
          <p:cNvSpPr/>
          <p:nvPr/>
        </p:nvSpPr>
        <p:spPr>
          <a:xfrm>
            <a:off x="3252845" y="520650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57150">
            <a:solidFill>
              <a:srgbClr val="AAC56C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6" name="object 20"/>
          <p:cNvSpPr/>
          <p:nvPr/>
        </p:nvSpPr>
        <p:spPr>
          <a:xfrm>
            <a:off x="3849401" y="4051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7" name="object 18"/>
          <p:cNvSpPr/>
          <p:nvPr/>
        </p:nvSpPr>
        <p:spPr>
          <a:xfrm>
            <a:off x="6713687" y="269105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8" name="object 6"/>
          <p:cNvSpPr txBox="1"/>
          <p:nvPr/>
        </p:nvSpPr>
        <p:spPr>
          <a:xfrm>
            <a:off x="1332125" y="3759280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grpSp>
        <p:nvGrpSpPr>
          <p:cNvPr id="119" name="Group 118"/>
          <p:cNvGrpSpPr/>
          <p:nvPr/>
        </p:nvGrpSpPr>
        <p:grpSpPr>
          <a:xfrm>
            <a:off x="2383438" y="1888930"/>
            <a:ext cx="6303362" cy="4054670"/>
            <a:chOff x="2343901" y="1923700"/>
            <a:chExt cx="6303362" cy="4054670"/>
          </a:xfrm>
        </p:grpSpPr>
        <p:sp>
          <p:nvSpPr>
            <p:cNvPr id="120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121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  <p:sp>
        <p:nvSpPr>
          <p:cNvPr id="122" name="object 15"/>
          <p:cNvSpPr txBox="1"/>
          <p:nvPr/>
        </p:nvSpPr>
        <p:spPr>
          <a:xfrm>
            <a:off x="349882" y="365536"/>
            <a:ext cx="1351013" cy="5207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985"/>
              </a:lnSpc>
              <a:spcBef>
                <a:spcPts val="99"/>
              </a:spcBef>
            </a:pPr>
            <a:r>
              <a:rPr sz="2700" spc="0" baseline="3034" dirty="0" smtClean="0">
                <a:solidFill>
                  <a:srgbClr val="215867"/>
                </a:solidFill>
                <a:latin typeface="+mj-lt"/>
                <a:cs typeface="Calibri"/>
              </a:rPr>
              <a:t>epsilon = 1.75</a:t>
            </a:r>
            <a:endParaRPr sz="1800">
              <a:latin typeface="+mj-lt"/>
              <a:cs typeface="Calibri"/>
            </a:endParaRPr>
          </a:p>
          <a:p>
            <a:pPr marL="12700" marR="34289">
              <a:lnSpc>
                <a:spcPts val="2100"/>
              </a:lnSpc>
              <a:spcBef>
                <a:spcPts val="5"/>
              </a:spcBef>
            </a:pPr>
            <a:r>
              <a:rPr sz="2700" spc="0" baseline="1517" dirty="0" smtClean="0">
                <a:solidFill>
                  <a:srgbClr val="215867"/>
                </a:solidFill>
                <a:latin typeface="+mj-lt"/>
                <a:cs typeface="Calibri"/>
              </a:rPr>
              <a:t>n_clu = 3</a:t>
            </a:r>
            <a:endParaRPr sz="1800">
              <a:latin typeface="+mj-lt"/>
              <a:cs typeface="Calibri"/>
            </a:endParaRPr>
          </a:p>
        </p:txBody>
      </p:sp>
      <p:sp>
        <p:nvSpPr>
          <p:cNvPr id="123" name="object 5"/>
          <p:cNvSpPr txBox="1"/>
          <p:nvPr/>
        </p:nvSpPr>
        <p:spPr>
          <a:xfrm>
            <a:off x="2101916" y="365536"/>
            <a:ext cx="6889684" cy="807913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 marR="41909">
              <a:lnSpc>
                <a:spcPts val="3454"/>
              </a:lnSpc>
              <a:spcBef>
                <a:spcPts val="172"/>
              </a:spcBef>
            </a:pPr>
            <a:r>
              <a:rPr sz="4800" spc="0" baseline="2560" dirty="0" smtClean="0">
                <a:solidFill>
                  <a:srgbClr val="4E81BC"/>
                </a:solidFill>
                <a:latin typeface="+mj-lt"/>
                <a:cs typeface="Calibri"/>
              </a:rPr>
              <a:t>DBSC</a:t>
            </a:r>
            <a:r>
              <a:rPr sz="4800" spc="-4" baseline="2560" dirty="0" smtClean="0">
                <a:solidFill>
                  <a:srgbClr val="4E81BC"/>
                </a:solidFill>
                <a:latin typeface="+mj-lt"/>
                <a:cs typeface="Calibri"/>
              </a:rPr>
              <a:t>A</a:t>
            </a:r>
            <a:r>
              <a:rPr sz="4800" spc="0" baseline="2560" dirty="0" smtClean="0">
                <a:solidFill>
                  <a:srgbClr val="4E81BC"/>
                </a:solidFill>
                <a:latin typeface="+mj-lt"/>
                <a:cs typeface="Calibri"/>
              </a:rPr>
              <a:t>N</a:t>
            </a:r>
            <a:endParaRPr sz="3200" dirty="0">
              <a:latin typeface="+mj-lt"/>
              <a:cs typeface="Calibri"/>
            </a:endParaRPr>
          </a:p>
          <a:p>
            <a:pPr marL="12700">
              <a:lnSpc>
                <a:spcPts val="2770"/>
              </a:lnSpc>
            </a:pPr>
            <a:r>
              <a:rPr lang="en-US" sz="3200" baseline="1137" dirty="0" smtClean="0">
                <a:solidFill>
                  <a:srgbClr val="7F7E7E"/>
                </a:solidFill>
                <a:cs typeface="Calibri"/>
              </a:rPr>
              <a:t>Keep adding neighbors within </a:t>
            </a:r>
            <a:r>
              <a:rPr lang="en-US" sz="3200" i="1" baseline="1137" dirty="0" smtClean="0">
                <a:solidFill>
                  <a:srgbClr val="7F7E7E"/>
                </a:solidFill>
                <a:cs typeface="Calibri"/>
              </a:rPr>
              <a:t>epsilon </a:t>
            </a:r>
            <a:r>
              <a:rPr lang="en-US" sz="3200" baseline="1137" dirty="0" smtClean="0">
                <a:solidFill>
                  <a:srgbClr val="7F7E7E"/>
                </a:solidFill>
                <a:cs typeface="Calibri"/>
              </a:rPr>
              <a:t>as chain reaction</a:t>
            </a:r>
            <a:endParaRPr lang="en-US" sz="3200" i="1" baseline="1137" dirty="0">
              <a:solidFill>
                <a:srgbClr val="7F7E7E"/>
              </a:solidFill>
              <a:cs typeface="Calibri"/>
            </a:endParaRPr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" name="object 3"/>
          <p:cNvSpPr txBox="1"/>
          <p:nvPr/>
        </p:nvSpPr>
        <p:spPr>
          <a:xfrm>
            <a:off x="5426815" y="6116930"/>
            <a:ext cx="542241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latin typeface="Calibri"/>
                <a:cs typeface="Calibri"/>
              </a:rPr>
              <a:t>Age</a:t>
            </a:r>
            <a:endParaRPr sz="2400">
              <a:latin typeface="Calibri"/>
              <a:cs typeface="Calibri"/>
            </a:endParaRPr>
          </a:p>
        </p:txBody>
      </p:sp>
      <p:sp>
        <p:nvSpPr>
          <p:cNvPr id="85" name="object 66"/>
          <p:cNvSpPr/>
          <p:nvPr/>
        </p:nvSpPr>
        <p:spPr>
          <a:xfrm>
            <a:off x="2470920" y="4419581"/>
            <a:ext cx="1810252" cy="1760707"/>
          </a:xfrm>
          <a:custGeom>
            <a:avLst/>
            <a:gdLst/>
            <a:ahLst/>
            <a:cxnLst/>
            <a:rect l="l" t="t" r="r" b="b"/>
            <a:pathLst>
              <a:path w="1810252" h="1760707">
                <a:moveTo>
                  <a:pt x="0" y="880353"/>
                </a:moveTo>
                <a:lnTo>
                  <a:pt x="3000" y="952556"/>
                </a:lnTo>
                <a:lnTo>
                  <a:pt x="11846" y="1023151"/>
                </a:lnTo>
                <a:lnTo>
                  <a:pt x="26305" y="1091913"/>
                </a:lnTo>
                <a:lnTo>
                  <a:pt x="46143" y="1158614"/>
                </a:lnTo>
                <a:lnTo>
                  <a:pt x="71129" y="1223027"/>
                </a:lnTo>
                <a:lnTo>
                  <a:pt x="101028" y="1284927"/>
                </a:lnTo>
                <a:lnTo>
                  <a:pt x="135608" y="1344087"/>
                </a:lnTo>
                <a:lnTo>
                  <a:pt x="174636" y="1400279"/>
                </a:lnTo>
                <a:lnTo>
                  <a:pt x="217880" y="1453279"/>
                </a:lnTo>
                <a:lnTo>
                  <a:pt x="265105" y="1502858"/>
                </a:lnTo>
                <a:lnTo>
                  <a:pt x="316079" y="1548791"/>
                </a:lnTo>
                <a:lnTo>
                  <a:pt x="370570" y="1590850"/>
                </a:lnTo>
                <a:lnTo>
                  <a:pt x="428344" y="1628810"/>
                </a:lnTo>
                <a:lnTo>
                  <a:pt x="489168" y="1662444"/>
                </a:lnTo>
                <a:lnTo>
                  <a:pt x="552810" y="1691525"/>
                </a:lnTo>
                <a:lnTo>
                  <a:pt x="619036" y="1715826"/>
                </a:lnTo>
                <a:lnTo>
                  <a:pt x="687614" y="1735122"/>
                </a:lnTo>
                <a:lnTo>
                  <a:pt x="758310" y="1749185"/>
                </a:lnTo>
                <a:lnTo>
                  <a:pt x="830892" y="1757789"/>
                </a:lnTo>
                <a:lnTo>
                  <a:pt x="905126" y="1760707"/>
                </a:lnTo>
                <a:lnTo>
                  <a:pt x="979361" y="1757789"/>
                </a:lnTo>
                <a:lnTo>
                  <a:pt x="1051942" y="1749185"/>
                </a:lnTo>
                <a:lnTo>
                  <a:pt x="1122639" y="1735122"/>
                </a:lnTo>
                <a:lnTo>
                  <a:pt x="1191216" y="1715826"/>
                </a:lnTo>
                <a:lnTo>
                  <a:pt x="1257442" y="1691525"/>
                </a:lnTo>
                <a:lnTo>
                  <a:pt x="1321084" y="1662444"/>
                </a:lnTo>
                <a:lnTo>
                  <a:pt x="1381908" y="1628810"/>
                </a:lnTo>
                <a:lnTo>
                  <a:pt x="1439682" y="1590850"/>
                </a:lnTo>
                <a:lnTo>
                  <a:pt x="1494173" y="1548791"/>
                </a:lnTo>
                <a:lnTo>
                  <a:pt x="1545147" y="1502858"/>
                </a:lnTo>
                <a:lnTo>
                  <a:pt x="1592373" y="1453279"/>
                </a:lnTo>
                <a:lnTo>
                  <a:pt x="1635616" y="1400279"/>
                </a:lnTo>
                <a:lnTo>
                  <a:pt x="1674644" y="1344087"/>
                </a:lnTo>
                <a:lnTo>
                  <a:pt x="1709224" y="1284927"/>
                </a:lnTo>
                <a:lnTo>
                  <a:pt x="1739123" y="1223027"/>
                </a:lnTo>
                <a:lnTo>
                  <a:pt x="1764109" y="1158614"/>
                </a:lnTo>
                <a:lnTo>
                  <a:pt x="1783947" y="1091913"/>
                </a:lnTo>
                <a:lnTo>
                  <a:pt x="1798406" y="1023151"/>
                </a:lnTo>
                <a:lnTo>
                  <a:pt x="1807252" y="952556"/>
                </a:lnTo>
                <a:lnTo>
                  <a:pt x="1810252" y="880353"/>
                </a:lnTo>
                <a:lnTo>
                  <a:pt x="1807252" y="808151"/>
                </a:lnTo>
                <a:lnTo>
                  <a:pt x="1798406" y="737555"/>
                </a:lnTo>
                <a:lnTo>
                  <a:pt x="1783947" y="668794"/>
                </a:lnTo>
                <a:lnTo>
                  <a:pt x="1764109" y="602094"/>
                </a:lnTo>
                <a:lnTo>
                  <a:pt x="1739123" y="537680"/>
                </a:lnTo>
                <a:lnTo>
                  <a:pt x="1709224" y="475780"/>
                </a:lnTo>
                <a:lnTo>
                  <a:pt x="1674644" y="416621"/>
                </a:lnTo>
                <a:lnTo>
                  <a:pt x="1635616" y="360428"/>
                </a:lnTo>
                <a:lnTo>
                  <a:pt x="1592373" y="307429"/>
                </a:lnTo>
                <a:lnTo>
                  <a:pt x="1545147" y="257849"/>
                </a:lnTo>
                <a:lnTo>
                  <a:pt x="1494173" y="211917"/>
                </a:lnTo>
                <a:lnTo>
                  <a:pt x="1439682" y="169857"/>
                </a:lnTo>
                <a:lnTo>
                  <a:pt x="1381908" y="131897"/>
                </a:lnTo>
                <a:lnTo>
                  <a:pt x="1321084" y="98263"/>
                </a:lnTo>
                <a:lnTo>
                  <a:pt x="1257442" y="69182"/>
                </a:lnTo>
                <a:lnTo>
                  <a:pt x="1191216" y="44881"/>
                </a:lnTo>
                <a:lnTo>
                  <a:pt x="1122639" y="25585"/>
                </a:lnTo>
                <a:lnTo>
                  <a:pt x="1051942" y="11522"/>
                </a:lnTo>
                <a:lnTo>
                  <a:pt x="979361" y="2918"/>
                </a:lnTo>
                <a:lnTo>
                  <a:pt x="905126" y="0"/>
                </a:lnTo>
                <a:lnTo>
                  <a:pt x="830892" y="2918"/>
                </a:lnTo>
                <a:lnTo>
                  <a:pt x="758310" y="11522"/>
                </a:lnTo>
                <a:lnTo>
                  <a:pt x="687614" y="25585"/>
                </a:lnTo>
                <a:lnTo>
                  <a:pt x="619036" y="44881"/>
                </a:lnTo>
                <a:lnTo>
                  <a:pt x="552810" y="69182"/>
                </a:lnTo>
                <a:lnTo>
                  <a:pt x="489168" y="98263"/>
                </a:lnTo>
                <a:lnTo>
                  <a:pt x="428344" y="131897"/>
                </a:lnTo>
                <a:lnTo>
                  <a:pt x="370570" y="169857"/>
                </a:lnTo>
                <a:lnTo>
                  <a:pt x="316079" y="211917"/>
                </a:lnTo>
                <a:lnTo>
                  <a:pt x="265105" y="257849"/>
                </a:lnTo>
                <a:lnTo>
                  <a:pt x="217880" y="307429"/>
                </a:lnTo>
                <a:lnTo>
                  <a:pt x="174636" y="360428"/>
                </a:lnTo>
                <a:lnTo>
                  <a:pt x="135608" y="416621"/>
                </a:lnTo>
                <a:lnTo>
                  <a:pt x="101028" y="475780"/>
                </a:lnTo>
                <a:lnTo>
                  <a:pt x="71129" y="537680"/>
                </a:lnTo>
                <a:lnTo>
                  <a:pt x="46143" y="602094"/>
                </a:lnTo>
                <a:lnTo>
                  <a:pt x="26305" y="668794"/>
                </a:lnTo>
                <a:lnTo>
                  <a:pt x="11846" y="737555"/>
                </a:lnTo>
                <a:lnTo>
                  <a:pt x="3000" y="808151"/>
                </a:lnTo>
                <a:lnTo>
                  <a:pt x="0" y="880353"/>
                </a:lnTo>
                <a:close/>
              </a:path>
            </a:pathLst>
          </a:custGeom>
          <a:solidFill>
            <a:srgbClr val="83984F">
              <a:alpha val="50000"/>
            </a:srgbClr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6" name="object 82"/>
          <p:cNvSpPr/>
          <p:nvPr/>
        </p:nvSpPr>
        <p:spPr>
          <a:xfrm>
            <a:off x="4414372" y="54871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7" name="object 84"/>
          <p:cNvSpPr/>
          <p:nvPr/>
        </p:nvSpPr>
        <p:spPr>
          <a:xfrm>
            <a:off x="5399747" y="55212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8" name="object 86"/>
          <p:cNvSpPr/>
          <p:nvPr/>
        </p:nvSpPr>
        <p:spPr>
          <a:xfrm>
            <a:off x="6251551" y="55023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9" name="object 74"/>
          <p:cNvSpPr/>
          <p:nvPr/>
        </p:nvSpPr>
        <p:spPr>
          <a:xfrm>
            <a:off x="2668469" y="519520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0" name="object 72"/>
          <p:cNvSpPr/>
          <p:nvPr/>
        </p:nvSpPr>
        <p:spPr>
          <a:xfrm>
            <a:off x="5959366" y="251737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40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80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1" name="object 70"/>
          <p:cNvSpPr/>
          <p:nvPr/>
        </p:nvSpPr>
        <p:spPr>
          <a:xfrm>
            <a:off x="5560113" y="213564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2" name="object 68"/>
          <p:cNvSpPr/>
          <p:nvPr/>
        </p:nvSpPr>
        <p:spPr>
          <a:xfrm>
            <a:off x="5148028" y="1723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3" name="object 66"/>
          <p:cNvSpPr/>
          <p:nvPr/>
        </p:nvSpPr>
        <p:spPr>
          <a:xfrm>
            <a:off x="6872003" y="34121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4" name="object 63"/>
          <p:cNvSpPr/>
          <p:nvPr/>
        </p:nvSpPr>
        <p:spPr>
          <a:xfrm>
            <a:off x="5880842" y="502152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6"/>
                </a:lnTo>
                <a:lnTo>
                  <a:pt x="1583" y="198179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6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2"/>
                </a:lnTo>
                <a:lnTo>
                  <a:pt x="49876" y="299561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6"/>
                </a:lnTo>
                <a:lnTo>
                  <a:pt x="196530" y="342926"/>
                </a:lnTo>
                <a:lnTo>
                  <a:pt x="209650" y="339004"/>
                </a:lnTo>
                <a:lnTo>
                  <a:pt x="222295" y="333936"/>
                </a:lnTo>
                <a:lnTo>
                  <a:pt x="234413" y="327778"/>
                </a:lnTo>
                <a:lnTo>
                  <a:pt x="245953" y="320583"/>
                </a:lnTo>
                <a:lnTo>
                  <a:pt x="256864" y="312409"/>
                </a:lnTo>
                <a:lnTo>
                  <a:pt x="267095" y="303311"/>
                </a:lnTo>
                <a:lnTo>
                  <a:pt x="276595" y="293343"/>
                </a:lnTo>
                <a:lnTo>
                  <a:pt x="285312" y="282562"/>
                </a:lnTo>
                <a:lnTo>
                  <a:pt x="293195" y="271023"/>
                </a:lnTo>
                <a:lnTo>
                  <a:pt x="300193" y="258781"/>
                </a:lnTo>
                <a:lnTo>
                  <a:pt x="306255" y="245892"/>
                </a:lnTo>
                <a:lnTo>
                  <a:pt x="311330" y="232411"/>
                </a:lnTo>
                <a:lnTo>
                  <a:pt x="315366" y="218394"/>
                </a:lnTo>
                <a:lnTo>
                  <a:pt x="318312" y="203896"/>
                </a:lnTo>
                <a:lnTo>
                  <a:pt x="320117" y="188973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9" y="93485"/>
                </a:lnTo>
                <a:lnTo>
                  <a:pt x="296006" y="80986"/>
                </a:lnTo>
                <a:lnTo>
                  <a:pt x="288459" y="69169"/>
                </a:lnTo>
                <a:lnTo>
                  <a:pt x="280058" y="58089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4"/>
                </a:lnTo>
                <a:lnTo>
                  <a:pt x="86318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5" name="object 62"/>
          <p:cNvSpPr/>
          <p:nvPr/>
        </p:nvSpPr>
        <p:spPr>
          <a:xfrm>
            <a:off x="4326962" y="34938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6" name="object 60"/>
          <p:cNvSpPr/>
          <p:nvPr/>
        </p:nvSpPr>
        <p:spPr>
          <a:xfrm>
            <a:off x="3451263" y="457102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7" name="object 58"/>
          <p:cNvSpPr/>
          <p:nvPr/>
        </p:nvSpPr>
        <p:spPr>
          <a:xfrm>
            <a:off x="7513462" y="204543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8" name="object 56"/>
          <p:cNvSpPr/>
          <p:nvPr/>
        </p:nvSpPr>
        <p:spPr>
          <a:xfrm>
            <a:off x="6553321" y="196196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9" name="object 54"/>
          <p:cNvSpPr/>
          <p:nvPr/>
        </p:nvSpPr>
        <p:spPr>
          <a:xfrm>
            <a:off x="7353097" y="275391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0" name="object 52"/>
          <p:cNvSpPr/>
          <p:nvPr/>
        </p:nvSpPr>
        <p:spPr>
          <a:xfrm>
            <a:off x="4696124" y="412086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1" name="object 50"/>
          <p:cNvSpPr/>
          <p:nvPr/>
        </p:nvSpPr>
        <p:spPr>
          <a:xfrm>
            <a:off x="4441297" y="46123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2" name="object 48"/>
          <p:cNvSpPr/>
          <p:nvPr/>
        </p:nvSpPr>
        <p:spPr>
          <a:xfrm>
            <a:off x="3130532" y="40499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3" name="object 42"/>
          <p:cNvSpPr/>
          <p:nvPr/>
        </p:nvSpPr>
        <p:spPr>
          <a:xfrm>
            <a:off x="5748103" y="33118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4" name="object 44"/>
          <p:cNvSpPr/>
          <p:nvPr/>
        </p:nvSpPr>
        <p:spPr>
          <a:xfrm>
            <a:off x="5560113" y="25802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5" name="object 46"/>
          <p:cNvSpPr/>
          <p:nvPr/>
        </p:nvSpPr>
        <p:spPr>
          <a:xfrm>
            <a:off x="5421508" y="296447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6" name="object 40"/>
          <p:cNvSpPr/>
          <p:nvPr/>
        </p:nvSpPr>
        <p:spPr>
          <a:xfrm>
            <a:off x="5213120" y="49216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7" name="object 38"/>
          <p:cNvSpPr/>
          <p:nvPr/>
        </p:nvSpPr>
        <p:spPr>
          <a:xfrm>
            <a:off x="7032365" y="221911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8" name="object 36"/>
          <p:cNvSpPr/>
          <p:nvPr/>
        </p:nvSpPr>
        <p:spPr>
          <a:xfrm>
            <a:off x="7385165" y="340218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6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7"/>
                </a:lnTo>
                <a:lnTo>
                  <a:pt x="310251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9" name="object 34"/>
          <p:cNvSpPr/>
          <p:nvPr/>
        </p:nvSpPr>
        <p:spPr>
          <a:xfrm>
            <a:off x="5038354" y="24830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0" name="object 32"/>
          <p:cNvSpPr/>
          <p:nvPr/>
        </p:nvSpPr>
        <p:spPr>
          <a:xfrm>
            <a:off x="7192732" y="159327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1" name="object 30"/>
          <p:cNvSpPr/>
          <p:nvPr/>
        </p:nvSpPr>
        <p:spPr>
          <a:xfrm>
            <a:off x="6201572" y="316997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2" name="object 28"/>
          <p:cNvSpPr/>
          <p:nvPr/>
        </p:nvSpPr>
        <p:spPr>
          <a:xfrm>
            <a:off x="4877989" y="532865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3" name="object 26"/>
          <p:cNvSpPr/>
          <p:nvPr/>
        </p:nvSpPr>
        <p:spPr>
          <a:xfrm>
            <a:off x="5581873" y="4521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4" name="object 24"/>
          <p:cNvSpPr/>
          <p:nvPr/>
        </p:nvSpPr>
        <p:spPr>
          <a:xfrm>
            <a:off x="3528670" y="35173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5" name="object 22"/>
          <p:cNvSpPr/>
          <p:nvPr/>
        </p:nvSpPr>
        <p:spPr>
          <a:xfrm>
            <a:off x="3252845" y="520650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6" name="object 20"/>
          <p:cNvSpPr/>
          <p:nvPr/>
        </p:nvSpPr>
        <p:spPr>
          <a:xfrm>
            <a:off x="3849401" y="4051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7" name="object 18"/>
          <p:cNvSpPr/>
          <p:nvPr/>
        </p:nvSpPr>
        <p:spPr>
          <a:xfrm>
            <a:off x="6713687" y="269105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8" name="object 6"/>
          <p:cNvSpPr txBox="1"/>
          <p:nvPr/>
        </p:nvSpPr>
        <p:spPr>
          <a:xfrm>
            <a:off x="1332125" y="3759280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grpSp>
        <p:nvGrpSpPr>
          <p:cNvPr id="119" name="Group 118"/>
          <p:cNvGrpSpPr/>
          <p:nvPr/>
        </p:nvGrpSpPr>
        <p:grpSpPr>
          <a:xfrm>
            <a:off x="2383438" y="1888930"/>
            <a:ext cx="6303362" cy="4054670"/>
            <a:chOff x="2343901" y="1923700"/>
            <a:chExt cx="6303362" cy="4054670"/>
          </a:xfrm>
        </p:grpSpPr>
        <p:sp>
          <p:nvSpPr>
            <p:cNvPr id="120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121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  <p:sp>
        <p:nvSpPr>
          <p:cNvPr id="122" name="object 15"/>
          <p:cNvSpPr txBox="1"/>
          <p:nvPr/>
        </p:nvSpPr>
        <p:spPr>
          <a:xfrm>
            <a:off x="349882" y="365536"/>
            <a:ext cx="1351013" cy="5207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985"/>
              </a:lnSpc>
              <a:spcBef>
                <a:spcPts val="99"/>
              </a:spcBef>
            </a:pPr>
            <a:r>
              <a:rPr sz="2700" spc="0" baseline="3034" dirty="0" smtClean="0">
                <a:solidFill>
                  <a:srgbClr val="215867"/>
                </a:solidFill>
                <a:latin typeface="+mj-lt"/>
                <a:cs typeface="Calibri"/>
              </a:rPr>
              <a:t>epsilon = 1.75</a:t>
            </a:r>
            <a:endParaRPr sz="1800">
              <a:latin typeface="+mj-lt"/>
              <a:cs typeface="Calibri"/>
            </a:endParaRPr>
          </a:p>
          <a:p>
            <a:pPr marL="12700" marR="34289">
              <a:lnSpc>
                <a:spcPts val="2100"/>
              </a:lnSpc>
              <a:spcBef>
                <a:spcPts val="5"/>
              </a:spcBef>
            </a:pPr>
            <a:r>
              <a:rPr sz="2700" spc="0" baseline="1517" dirty="0" smtClean="0">
                <a:solidFill>
                  <a:srgbClr val="215867"/>
                </a:solidFill>
                <a:latin typeface="+mj-lt"/>
                <a:cs typeface="Calibri"/>
              </a:rPr>
              <a:t>n_clu = 3</a:t>
            </a:r>
            <a:endParaRPr sz="1800">
              <a:latin typeface="+mj-lt"/>
              <a:cs typeface="Calibri"/>
            </a:endParaRPr>
          </a:p>
        </p:txBody>
      </p:sp>
      <p:sp>
        <p:nvSpPr>
          <p:cNvPr id="123" name="object 5"/>
          <p:cNvSpPr txBox="1"/>
          <p:nvPr/>
        </p:nvSpPr>
        <p:spPr>
          <a:xfrm>
            <a:off x="2101916" y="365536"/>
            <a:ext cx="6889684" cy="807913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 marR="41909">
              <a:lnSpc>
                <a:spcPts val="3454"/>
              </a:lnSpc>
              <a:spcBef>
                <a:spcPts val="172"/>
              </a:spcBef>
            </a:pPr>
            <a:r>
              <a:rPr sz="4800" spc="0" baseline="2560" dirty="0" smtClean="0">
                <a:solidFill>
                  <a:srgbClr val="4E81BC"/>
                </a:solidFill>
                <a:latin typeface="+mj-lt"/>
                <a:cs typeface="Calibri"/>
              </a:rPr>
              <a:t>DBSC</a:t>
            </a:r>
            <a:r>
              <a:rPr sz="4800" spc="-4" baseline="2560" dirty="0" smtClean="0">
                <a:solidFill>
                  <a:srgbClr val="4E81BC"/>
                </a:solidFill>
                <a:latin typeface="+mj-lt"/>
                <a:cs typeface="Calibri"/>
              </a:rPr>
              <a:t>A</a:t>
            </a:r>
            <a:r>
              <a:rPr sz="4800" spc="0" baseline="2560" dirty="0" smtClean="0">
                <a:solidFill>
                  <a:srgbClr val="4E81BC"/>
                </a:solidFill>
                <a:latin typeface="+mj-lt"/>
                <a:cs typeface="Calibri"/>
              </a:rPr>
              <a:t>N</a:t>
            </a:r>
            <a:endParaRPr sz="3200" dirty="0">
              <a:latin typeface="+mj-lt"/>
              <a:cs typeface="Calibri"/>
            </a:endParaRPr>
          </a:p>
          <a:p>
            <a:pPr marL="12700">
              <a:lnSpc>
                <a:spcPts val="2770"/>
              </a:lnSpc>
            </a:pPr>
            <a:r>
              <a:rPr lang="en-US" sz="3200" baseline="1137" dirty="0" smtClean="0">
                <a:solidFill>
                  <a:srgbClr val="7F7E7E"/>
                </a:solidFill>
                <a:cs typeface="Calibri"/>
              </a:rPr>
              <a:t>Keep adding neighbors within </a:t>
            </a:r>
            <a:r>
              <a:rPr lang="en-US" sz="3200" i="1" baseline="1137" dirty="0" smtClean="0">
                <a:solidFill>
                  <a:srgbClr val="7F7E7E"/>
                </a:solidFill>
                <a:cs typeface="Calibri"/>
              </a:rPr>
              <a:t>epsilon </a:t>
            </a:r>
            <a:r>
              <a:rPr lang="en-US" sz="3200" baseline="1137" dirty="0" smtClean="0">
                <a:solidFill>
                  <a:srgbClr val="7F7E7E"/>
                </a:solidFill>
                <a:cs typeface="Calibri"/>
              </a:rPr>
              <a:t>as chain reaction</a:t>
            </a:r>
            <a:endParaRPr lang="en-US" sz="3200" i="1" baseline="1137" dirty="0">
              <a:solidFill>
                <a:srgbClr val="7F7E7E"/>
              </a:solidFill>
              <a:cs typeface="Calibri"/>
            </a:endParaRPr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" name="object 3"/>
          <p:cNvSpPr txBox="1"/>
          <p:nvPr/>
        </p:nvSpPr>
        <p:spPr>
          <a:xfrm>
            <a:off x="5426815" y="6116930"/>
            <a:ext cx="542241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latin typeface="Calibri"/>
                <a:cs typeface="Calibri"/>
              </a:rPr>
              <a:t>Age</a:t>
            </a:r>
            <a:endParaRPr sz="2400">
              <a:latin typeface="Calibri"/>
              <a:cs typeface="Calibri"/>
            </a:endParaRPr>
          </a:p>
        </p:txBody>
      </p:sp>
      <p:sp>
        <p:nvSpPr>
          <p:cNvPr id="93" name="object 66"/>
          <p:cNvSpPr/>
          <p:nvPr/>
        </p:nvSpPr>
        <p:spPr>
          <a:xfrm>
            <a:off x="1890756" y="4563486"/>
            <a:ext cx="1810252" cy="1760707"/>
          </a:xfrm>
          <a:custGeom>
            <a:avLst/>
            <a:gdLst/>
            <a:ahLst/>
            <a:cxnLst/>
            <a:rect l="l" t="t" r="r" b="b"/>
            <a:pathLst>
              <a:path w="1810252" h="1760707">
                <a:moveTo>
                  <a:pt x="0" y="880353"/>
                </a:moveTo>
                <a:lnTo>
                  <a:pt x="3000" y="952556"/>
                </a:lnTo>
                <a:lnTo>
                  <a:pt x="11846" y="1023151"/>
                </a:lnTo>
                <a:lnTo>
                  <a:pt x="26305" y="1091913"/>
                </a:lnTo>
                <a:lnTo>
                  <a:pt x="46143" y="1158614"/>
                </a:lnTo>
                <a:lnTo>
                  <a:pt x="71129" y="1223027"/>
                </a:lnTo>
                <a:lnTo>
                  <a:pt x="101028" y="1284927"/>
                </a:lnTo>
                <a:lnTo>
                  <a:pt x="135608" y="1344087"/>
                </a:lnTo>
                <a:lnTo>
                  <a:pt x="174636" y="1400279"/>
                </a:lnTo>
                <a:lnTo>
                  <a:pt x="217880" y="1453279"/>
                </a:lnTo>
                <a:lnTo>
                  <a:pt x="265105" y="1502858"/>
                </a:lnTo>
                <a:lnTo>
                  <a:pt x="316079" y="1548791"/>
                </a:lnTo>
                <a:lnTo>
                  <a:pt x="370570" y="1590850"/>
                </a:lnTo>
                <a:lnTo>
                  <a:pt x="428344" y="1628810"/>
                </a:lnTo>
                <a:lnTo>
                  <a:pt x="489168" y="1662444"/>
                </a:lnTo>
                <a:lnTo>
                  <a:pt x="552810" y="1691525"/>
                </a:lnTo>
                <a:lnTo>
                  <a:pt x="619036" y="1715826"/>
                </a:lnTo>
                <a:lnTo>
                  <a:pt x="687614" y="1735122"/>
                </a:lnTo>
                <a:lnTo>
                  <a:pt x="758310" y="1749185"/>
                </a:lnTo>
                <a:lnTo>
                  <a:pt x="830892" y="1757789"/>
                </a:lnTo>
                <a:lnTo>
                  <a:pt x="905126" y="1760707"/>
                </a:lnTo>
                <a:lnTo>
                  <a:pt x="979361" y="1757789"/>
                </a:lnTo>
                <a:lnTo>
                  <a:pt x="1051942" y="1749185"/>
                </a:lnTo>
                <a:lnTo>
                  <a:pt x="1122639" y="1735122"/>
                </a:lnTo>
                <a:lnTo>
                  <a:pt x="1191216" y="1715826"/>
                </a:lnTo>
                <a:lnTo>
                  <a:pt x="1257442" y="1691525"/>
                </a:lnTo>
                <a:lnTo>
                  <a:pt x="1321084" y="1662444"/>
                </a:lnTo>
                <a:lnTo>
                  <a:pt x="1381908" y="1628810"/>
                </a:lnTo>
                <a:lnTo>
                  <a:pt x="1439682" y="1590850"/>
                </a:lnTo>
                <a:lnTo>
                  <a:pt x="1494173" y="1548791"/>
                </a:lnTo>
                <a:lnTo>
                  <a:pt x="1545147" y="1502858"/>
                </a:lnTo>
                <a:lnTo>
                  <a:pt x="1592373" y="1453279"/>
                </a:lnTo>
                <a:lnTo>
                  <a:pt x="1635616" y="1400279"/>
                </a:lnTo>
                <a:lnTo>
                  <a:pt x="1674644" y="1344087"/>
                </a:lnTo>
                <a:lnTo>
                  <a:pt x="1709224" y="1284927"/>
                </a:lnTo>
                <a:lnTo>
                  <a:pt x="1739123" y="1223027"/>
                </a:lnTo>
                <a:lnTo>
                  <a:pt x="1764109" y="1158614"/>
                </a:lnTo>
                <a:lnTo>
                  <a:pt x="1783947" y="1091913"/>
                </a:lnTo>
                <a:lnTo>
                  <a:pt x="1798406" y="1023151"/>
                </a:lnTo>
                <a:lnTo>
                  <a:pt x="1807252" y="952556"/>
                </a:lnTo>
                <a:lnTo>
                  <a:pt x="1810252" y="880353"/>
                </a:lnTo>
                <a:lnTo>
                  <a:pt x="1807252" y="808151"/>
                </a:lnTo>
                <a:lnTo>
                  <a:pt x="1798406" y="737555"/>
                </a:lnTo>
                <a:lnTo>
                  <a:pt x="1783947" y="668794"/>
                </a:lnTo>
                <a:lnTo>
                  <a:pt x="1764109" y="602094"/>
                </a:lnTo>
                <a:lnTo>
                  <a:pt x="1739123" y="537680"/>
                </a:lnTo>
                <a:lnTo>
                  <a:pt x="1709224" y="475780"/>
                </a:lnTo>
                <a:lnTo>
                  <a:pt x="1674644" y="416621"/>
                </a:lnTo>
                <a:lnTo>
                  <a:pt x="1635616" y="360428"/>
                </a:lnTo>
                <a:lnTo>
                  <a:pt x="1592373" y="307429"/>
                </a:lnTo>
                <a:lnTo>
                  <a:pt x="1545147" y="257849"/>
                </a:lnTo>
                <a:lnTo>
                  <a:pt x="1494173" y="211917"/>
                </a:lnTo>
                <a:lnTo>
                  <a:pt x="1439682" y="169857"/>
                </a:lnTo>
                <a:lnTo>
                  <a:pt x="1381908" y="131897"/>
                </a:lnTo>
                <a:lnTo>
                  <a:pt x="1321084" y="98263"/>
                </a:lnTo>
                <a:lnTo>
                  <a:pt x="1257442" y="69182"/>
                </a:lnTo>
                <a:lnTo>
                  <a:pt x="1191216" y="44881"/>
                </a:lnTo>
                <a:lnTo>
                  <a:pt x="1122639" y="25585"/>
                </a:lnTo>
                <a:lnTo>
                  <a:pt x="1051942" y="11522"/>
                </a:lnTo>
                <a:lnTo>
                  <a:pt x="979361" y="2918"/>
                </a:lnTo>
                <a:lnTo>
                  <a:pt x="905126" y="0"/>
                </a:lnTo>
                <a:lnTo>
                  <a:pt x="830892" y="2918"/>
                </a:lnTo>
                <a:lnTo>
                  <a:pt x="758310" y="11522"/>
                </a:lnTo>
                <a:lnTo>
                  <a:pt x="687614" y="25585"/>
                </a:lnTo>
                <a:lnTo>
                  <a:pt x="619036" y="44881"/>
                </a:lnTo>
                <a:lnTo>
                  <a:pt x="552810" y="69182"/>
                </a:lnTo>
                <a:lnTo>
                  <a:pt x="489168" y="98263"/>
                </a:lnTo>
                <a:lnTo>
                  <a:pt x="428344" y="131897"/>
                </a:lnTo>
                <a:lnTo>
                  <a:pt x="370570" y="169857"/>
                </a:lnTo>
                <a:lnTo>
                  <a:pt x="316079" y="211917"/>
                </a:lnTo>
                <a:lnTo>
                  <a:pt x="265105" y="257849"/>
                </a:lnTo>
                <a:lnTo>
                  <a:pt x="217880" y="307429"/>
                </a:lnTo>
                <a:lnTo>
                  <a:pt x="174636" y="360428"/>
                </a:lnTo>
                <a:lnTo>
                  <a:pt x="135608" y="416621"/>
                </a:lnTo>
                <a:lnTo>
                  <a:pt x="101028" y="475780"/>
                </a:lnTo>
                <a:lnTo>
                  <a:pt x="71129" y="537680"/>
                </a:lnTo>
                <a:lnTo>
                  <a:pt x="46143" y="602094"/>
                </a:lnTo>
                <a:lnTo>
                  <a:pt x="26305" y="668794"/>
                </a:lnTo>
                <a:lnTo>
                  <a:pt x="11846" y="737555"/>
                </a:lnTo>
                <a:lnTo>
                  <a:pt x="3000" y="808151"/>
                </a:lnTo>
                <a:lnTo>
                  <a:pt x="0" y="880353"/>
                </a:lnTo>
                <a:close/>
              </a:path>
            </a:pathLst>
          </a:custGeom>
          <a:solidFill>
            <a:srgbClr val="83984F">
              <a:alpha val="50000"/>
            </a:srgbClr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4" name="object 82"/>
          <p:cNvSpPr/>
          <p:nvPr/>
        </p:nvSpPr>
        <p:spPr>
          <a:xfrm>
            <a:off x="4414372" y="54871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5" name="object 84"/>
          <p:cNvSpPr/>
          <p:nvPr/>
        </p:nvSpPr>
        <p:spPr>
          <a:xfrm>
            <a:off x="5399747" y="55212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6" name="object 86"/>
          <p:cNvSpPr/>
          <p:nvPr/>
        </p:nvSpPr>
        <p:spPr>
          <a:xfrm>
            <a:off x="6251551" y="55023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7" name="object 74"/>
          <p:cNvSpPr/>
          <p:nvPr/>
        </p:nvSpPr>
        <p:spPr>
          <a:xfrm>
            <a:off x="2668469" y="519520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chemeClr val="tx1"/>
          </a:solidFill>
          <a:ln w="28575">
            <a:solidFill>
              <a:schemeClr val="tx1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8" name="object 72"/>
          <p:cNvSpPr/>
          <p:nvPr/>
        </p:nvSpPr>
        <p:spPr>
          <a:xfrm>
            <a:off x="5959366" y="251737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40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80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9" name="object 70"/>
          <p:cNvSpPr/>
          <p:nvPr/>
        </p:nvSpPr>
        <p:spPr>
          <a:xfrm>
            <a:off x="5560113" y="213564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0" name="object 68"/>
          <p:cNvSpPr/>
          <p:nvPr/>
        </p:nvSpPr>
        <p:spPr>
          <a:xfrm>
            <a:off x="5148028" y="1723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1" name="object 66"/>
          <p:cNvSpPr/>
          <p:nvPr/>
        </p:nvSpPr>
        <p:spPr>
          <a:xfrm>
            <a:off x="6872003" y="34121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2" name="object 63"/>
          <p:cNvSpPr/>
          <p:nvPr/>
        </p:nvSpPr>
        <p:spPr>
          <a:xfrm>
            <a:off x="5880842" y="502152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6"/>
                </a:lnTo>
                <a:lnTo>
                  <a:pt x="1583" y="198179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6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2"/>
                </a:lnTo>
                <a:lnTo>
                  <a:pt x="49876" y="299561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6"/>
                </a:lnTo>
                <a:lnTo>
                  <a:pt x="196530" y="342926"/>
                </a:lnTo>
                <a:lnTo>
                  <a:pt x="209650" y="339004"/>
                </a:lnTo>
                <a:lnTo>
                  <a:pt x="222295" y="333936"/>
                </a:lnTo>
                <a:lnTo>
                  <a:pt x="234413" y="327778"/>
                </a:lnTo>
                <a:lnTo>
                  <a:pt x="245953" y="320583"/>
                </a:lnTo>
                <a:lnTo>
                  <a:pt x="256864" y="312409"/>
                </a:lnTo>
                <a:lnTo>
                  <a:pt x="267095" y="303311"/>
                </a:lnTo>
                <a:lnTo>
                  <a:pt x="276595" y="293343"/>
                </a:lnTo>
                <a:lnTo>
                  <a:pt x="285312" y="282562"/>
                </a:lnTo>
                <a:lnTo>
                  <a:pt x="293195" y="271023"/>
                </a:lnTo>
                <a:lnTo>
                  <a:pt x="300193" y="258781"/>
                </a:lnTo>
                <a:lnTo>
                  <a:pt x="306255" y="245892"/>
                </a:lnTo>
                <a:lnTo>
                  <a:pt x="311330" y="232411"/>
                </a:lnTo>
                <a:lnTo>
                  <a:pt x="315366" y="218394"/>
                </a:lnTo>
                <a:lnTo>
                  <a:pt x="318312" y="203896"/>
                </a:lnTo>
                <a:lnTo>
                  <a:pt x="320117" y="188973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9" y="93485"/>
                </a:lnTo>
                <a:lnTo>
                  <a:pt x="296006" y="80986"/>
                </a:lnTo>
                <a:lnTo>
                  <a:pt x="288459" y="69169"/>
                </a:lnTo>
                <a:lnTo>
                  <a:pt x="280058" y="58089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4"/>
                </a:lnTo>
                <a:lnTo>
                  <a:pt x="86318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3" name="object 62"/>
          <p:cNvSpPr/>
          <p:nvPr/>
        </p:nvSpPr>
        <p:spPr>
          <a:xfrm>
            <a:off x="4326962" y="34938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4" name="object 60"/>
          <p:cNvSpPr/>
          <p:nvPr/>
        </p:nvSpPr>
        <p:spPr>
          <a:xfrm>
            <a:off x="3451263" y="457102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5" name="object 58"/>
          <p:cNvSpPr/>
          <p:nvPr/>
        </p:nvSpPr>
        <p:spPr>
          <a:xfrm>
            <a:off x="7513462" y="204543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6" name="object 56"/>
          <p:cNvSpPr/>
          <p:nvPr/>
        </p:nvSpPr>
        <p:spPr>
          <a:xfrm>
            <a:off x="6553321" y="196196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7" name="object 54"/>
          <p:cNvSpPr/>
          <p:nvPr/>
        </p:nvSpPr>
        <p:spPr>
          <a:xfrm>
            <a:off x="7353097" y="275391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8" name="object 52"/>
          <p:cNvSpPr/>
          <p:nvPr/>
        </p:nvSpPr>
        <p:spPr>
          <a:xfrm>
            <a:off x="4696124" y="412086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9" name="object 50"/>
          <p:cNvSpPr/>
          <p:nvPr/>
        </p:nvSpPr>
        <p:spPr>
          <a:xfrm>
            <a:off x="4441297" y="46123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0" name="object 48"/>
          <p:cNvSpPr/>
          <p:nvPr/>
        </p:nvSpPr>
        <p:spPr>
          <a:xfrm>
            <a:off x="3130532" y="40499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1" name="object 42"/>
          <p:cNvSpPr/>
          <p:nvPr/>
        </p:nvSpPr>
        <p:spPr>
          <a:xfrm>
            <a:off x="5748103" y="33118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2" name="object 44"/>
          <p:cNvSpPr/>
          <p:nvPr/>
        </p:nvSpPr>
        <p:spPr>
          <a:xfrm>
            <a:off x="5560113" y="25802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3" name="object 46"/>
          <p:cNvSpPr/>
          <p:nvPr/>
        </p:nvSpPr>
        <p:spPr>
          <a:xfrm>
            <a:off x="5421508" y="296447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4" name="object 40"/>
          <p:cNvSpPr/>
          <p:nvPr/>
        </p:nvSpPr>
        <p:spPr>
          <a:xfrm>
            <a:off x="5213120" y="49216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5" name="object 38"/>
          <p:cNvSpPr/>
          <p:nvPr/>
        </p:nvSpPr>
        <p:spPr>
          <a:xfrm>
            <a:off x="7032365" y="221911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6" name="object 36"/>
          <p:cNvSpPr/>
          <p:nvPr/>
        </p:nvSpPr>
        <p:spPr>
          <a:xfrm>
            <a:off x="7385165" y="340218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6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7"/>
                </a:lnTo>
                <a:lnTo>
                  <a:pt x="310251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7" name="object 34"/>
          <p:cNvSpPr/>
          <p:nvPr/>
        </p:nvSpPr>
        <p:spPr>
          <a:xfrm>
            <a:off x="5038354" y="24830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8" name="object 32"/>
          <p:cNvSpPr/>
          <p:nvPr/>
        </p:nvSpPr>
        <p:spPr>
          <a:xfrm>
            <a:off x="7192732" y="159327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9" name="object 30"/>
          <p:cNvSpPr/>
          <p:nvPr/>
        </p:nvSpPr>
        <p:spPr>
          <a:xfrm>
            <a:off x="6201572" y="316997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0" name="object 28"/>
          <p:cNvSpPr/>
          <p:nvPr/>
        </p:nvSpPr>
        <p:spPr>
          <a:xfrm>
            <a:off x="4877989" y="532865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1" name="object 26"/>
          <p:cNvSpPr/>
          <p:nvPr/>
        </p:nvSpPr>
        <p:spPr>
          <a:xfrm>
            <a:off x="5581873" y="4521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2" name="object 24"/>
          <p:cNvSpPr/>
          <p:nvPr/>
        </p:nvSpPr>
        <p:spPr>
          <a:xfrm>
            <a:off x="3528670" y="35173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3" name="object 22"/>
          <p:cNvSpPr/>
          <p:nvPr/>
        </p:nvSpPr>
        <p:spPr>
          <a:xfrm>
            <a:off x="3252845" y="520650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4" name="object 20"/>
          <p:cNvSpPr/>
          <p:nvPr/>
        </p:nvSpPr>
        <p:spPr>
          <a:xfrm>
            <a:off x="3849401" y="4051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5" name="object 18"/>
          <p:cNvSpPr/>
          <p:nvPr/>
        </p:nvSpPr>
        <p:spPr>
          <a:xfrm>
            <a:off x="6713687" y="269105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6" name="object 6"/>
          <p:cNvSpPr txBox="1"/>
          <p:nvPr/>
        </p:nvSpPr>
        <p:spPr>
          <a:xfrm>
            <a:off x="1332125" y="3759280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grpSp>
        <p:nvGrpSpPr>
          <p:cNvPr id="127" name="Group 126"/>
          <p:cNvGrpSpPr/>
          <p:nvPr/>
        </p:nvGrpSpPr>
        <p:grpSpPr>
          <a:xfrm>
            <a:off x="2383438" y="1888930"/>
            <a:ext cx="6303362" cy="4054670"/>
            <a:chOff x="2343901" y="1923700"/>
            <a:chExt cx="6303362" cy="4054670"/>
          </a:xfrm>
        </p:grpSpPr>
        <p:sp>
          <p:nvSpPr>
            <p:cNvPr id="128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129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  <p:sp>
        <p:nvSpPr>
          <p:cNvPr id="130" name="object 15"/>
          <p:cNvSpPr txBox="1"/>
          <p:nvPr/>
        </p:nvSpPr>
        <p:spPr>
          <a:xfrm>
            <a:off x="349882" y="365536"/>
            <a:ext cx="1351013" cy="5207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985"/>
              </a:lnSpc>
              <a:spcBef>
                <a:spcPts val="99"/>
              </a:spcBef>
            </a:pPr>
            <a:r>
              <a:rPr sz="2700" spc="0" baseline="3034" dirty="0" smtClean="0">
                <a:solidFill>
                  <a:srgbClr val="215867"/>
                </a:solidFill>
                <a:latin typeface="+mj-lt"/>
                <a:cs typeface="Calibri"/>
              </a:rPr>
              <a:t>epsilon = 1.75</a:t>
            </a:r>
            <a:endParaRPr sz="1800">
              <a:latin typeface="+mj-lt"/>
              <a:cs typeface="Calibri"/>
            </a:endParaRPr>
          </a:p>
          <a:p>
            <a:pPr marL="12700" marR="34289">
              <a:lnSpc>
                <a:spcPts val="2100"/>
              </a:lnSpc>
              <a:spcBef>
                <a:spcPts val="5"/>
              </a:spcBef>
            </a:pPr>
            <a:r>
              <a:rPr sz="2700" spc="0" baseline="1517" dirty="0" smtClean="0">
                <a:solidFill>
                  <a:srgbClr val="215867"/>
                </a:solidFill>
                <a:latin typeface="+mj-lt"/>
                <a:cs typeface="Calibri"/>
              </a:rPr>
              <a:t>n_clu = 3</a:t>
            </a:r>
            <a:endParaRPr sz="1800">
              <a:latin typeface="+mj-lt"/>
              <a:cs typeface="Calibri"/>
            </a:endParaRPr>
          </a:p>
        </p:txBody>
      </p:sp>
      <p:sp>
        <p:nvSpPr>
          <p:cNvPr id="131" name="object 5"/>
          <p:cNvSpPr txBox="1"/>
          <p:nvPr/>
        </p:nvSpPr>
        <p:spPr>
          <a:xfrm>
            <a:off x="2101916" y="365536"/>
            <a:ext cx="6889684" cy="1166986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 marR="41909">
              <a:lnSpc>
                <a:spcPts val="3454"/>
              </a:lnSpc>
              <a:spcBef>
                <a:spcPts val="172"/>
              </a:spcBef>
            </a:pPr>
            <a:r>
              <a:rPr sz="4800" spc="0" baseline="2560" dirty="0" smtClean="0">
                <a:solidFill>
                  <a:srgbClr val="4E81BC"/>
                </a:solidFill>
                <a:latin typeface="+mj-lt"/>
                <a:cs typeface="Calibri"/>
              </a:rPr>
              <a:t>DBSC</a:t>
            </a:r>
            <a:r>
              <a:rPr sz="4800" spc="-4" baseline="2560" dirty="0" smtClean="0">
                <a:solidFill>
                  <a:srgbClr val="4E81BC"/>
                </a:solidFill>
                <a:latin typeface="+mj-lt"/>
                <a:cs typeface="Calibri"/>
              </a:rPr>
              <a:t>A</a:t>
            </a:r>
            <a:r>
              <a:rPr sz="4800" spc="0" baseline="2560" dirty="0" smtClean="0">
                <a:solidFill>
                  <a:srgbClr val="4E81BC"/>
                </a:solidFill>
                <a:latin typeface="+mj-lt"/>
                <a:cs typeface="Calibri"/>
              </a:rPr>
              <a:t>N</a:t>
            </a:r>
            <a:endParaRPr sz="3200" dirty="0">
              <a:latin typeface="+mj-lt"/>
              <a:cs typeface="Calibri"/>
            </a:endParaRPr>
          </a:p>
          <a:p>
            <a:pPr marL="12700">
              <a:lnSpc>
                <a:spcPts val="2770"/>
              </a:lnSpc>
            </a:pPr>
            <a:r>
              <a:rPr lang="en-US" sz="3200" baseline="1137" dirty="0" smtClean="0">
                <a:solidFill>
                  <a:srgbClr val="7F7E7E"/>
                </a:solidFill>
                <a:cs typeface="Calibri"/>
              </a:rPr>
              <a:t>If there is a point that does not have </a:t>
            </a:r>
            <a:r>
              <a:rPr lang="en-US" sz="3200" i="1" baseline="1137" dirty="0" err="1" smtClean="0">
                <a:solidFill>
                  <a:srgbClr val="7F7E7E"/>
                </a:solidFill>
                <a:cs typeface="Calibri"/>
              </a:rPr>
              <a:t>n_clu</a:t>
            </a:r>
            <a:r>
              <a:rPr lang="en-US" sz="3200" i="1" baseline="1137" dirty="0" smtClean="0">
                <a:solidFill>
                  <a:srgbClr val="7F7E7E"/>
                </a:solidFill>
                <a:cs typeface="Calibri"/>
              </a:rPr>
              <a:t> </a:t>
            </a:r>
            <a:r>
              <a:rPr lang="en-US" sz="3200" baseline="1137" dirty="0" smtClean="0">
                <a:solidFill>
                  <a:srgbClr val="7F7E7E"/>
                </a:solidFill>
                <a:cs typeface="Calibri"/>
              </a:rPr>
              <a:t>neighbors and is not reached from a core point: It is a </a:t>
            </a:r>
            <a:r>
              <a:rPr lang="en-US" sz="3200" b="1" baseline="1137" dirty="0" smtClean="0">
                <a:solidFill>
                  <a:srgbClr val="7F7E7E"/>
                </a:solidFill>
                <a:cs typeface="Calibri"/>
              </a:rPr>
              <a:t>noise</a:t>
            </a:r>
            <a:r>
              <a:rPr lang="en-US" sz="3200" baseline="1137" dirty="0" smtClean="0">
                <a:solidFill>
                  <a:srgbClr val="7F7E7E"/>
                </a:solidFill>
                <a:cs typeface="Calibri"/>
              </a:rPr>
              <a:t> point</a:t>
            </a:r>
            <a:r>
              <a:rPr lang="en-US" sz="3200" baseline="1137" dirty="0">
                <a:solidFill>
                  <a:srgbClr val="7F7E7E"/>
                </a:solidFill>
                <a:cs typeface="Calibri"/>
              </a:rPr>
              <a:t>.</a:t>
            </a:r>
            <a:endParaRPr lang="en-US" sz="3200" i="1" baseline="1137" dirty="0">
              <a:solidFill>
                <a:srgbClr val="7F7E7E"/>
              </a:solidFill>
              <a:cs typeface="Calibri"/>
            </a:endParaRPr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5" name="object 3"/>
          <p:cNvSpPr txBox="1"/>
          <p:nvPr/>
        </p:nvSpPr>
        <p:spPr>
          <a:xfrm>
            <a:off x="5426815" y="6116930"/>
            <a:ext cx="542241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latin typeface="Calibri"/>
                <a:cs typeface="Calibri"/>
              </a:rPr>
              <a:t>Age</a:t>
            </a:r>
            <a:endParaRPr sz="2400">
              <a:latin typeface="Calibri"/>
              <a:cs typeface="Calibri"/>
            </a:endParaRPr>
          </a:p>
        </p:txBody>
      </p:sp>
      <p:sp>
        <p:nvSpPr>
          <p:cNvPr id="87" name="object 82"/>
          <p:cNvSpPr/>
          <p:nvPr/>
        </p:nvSpPr>
        <p:spPr>
          <a:xfrm>
            <a:off x="4414372" y="54871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8" name="object 84"/>
          <p:cNvSpPr/>
          <p:nvPr/>
        </p:nvSpPr>
        <p:spPr>
          <a:xfrm>
            <a:off x="5399747" y="55212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9" name="object 86"/>
          <p:cNvSpPr/>
          <p:nvPr/>
        </p:nvSpPr>
        <p:spPr>
          <a:xfrm>
            <a:off x="6251551" y="55023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0" name="object 74"/>
          <p:cNvSpPr/>
          <p:nvPr/>
        </p:nvSpPr>
        <p:spPr>
          <a:xfrm>
            <a:off x="2668469" y="519520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chemeClr val="tx1"/>
          </a:solidFill>
          <a:ln w="28575">
            <a:solidFill>
              <a:schemeClr val="tx1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1" name="object 72"/>
          <p:cNvSpPr/>
          <p:nvPr/>
        </p:nvSpPr>
        <p:spPr>
          <a:xfrm>
            <a:off x="5959366" y="251737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40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80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2" name="object 70"/>
          <p:cNvSpPr/>
          <p:nvPr/>
        </p:nvSpPr>
        <p:spPr>
          <a:xfrm>
            <a:off x="5560113" y="213564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3" name="object 68"/>
          <p:cNvSpPr/>
          <p:nvPr/>
        </p:nvSpPr>
        <p:spPr>
          <a:xfrm>
            <a:off x="5148028" y="1723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4" name="object 66"/>
          <p:cNvSpPr/>
          <p:nvPr/>
        </p:nvSpPr>
        <p:spPr>
          <a:xfrm>
            <a:off x="6872003" y="34121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5" name="object 63"/>
          <p:cNvSpPr/>
          <p:nvPr/>
        </p:nvSpPr>
        <p:spPr>
          <a:xfrm>
            <a:off x="5880842" y="502152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6"/>
                </a:lnTo>
                <a:lnTo>
                  <a:pt x="1583" y="198179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6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2"/>
                </a:lnTo>
                <a:lnTo>
                  <a:pt x="49876" y="299561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6"/>
                </a:lnTo>
                <a:lnTo>
                  <a:pt x="196530" y="342926"/>
                </a:lnTo>
                <a:lnTo>
                  <a:pt x="209650" y="339004"/>
                </a:lnTo>
                <a:lnTo>
                  <a:pt x="222295" y="333936"/>
                </a:lnTo>
                <a:lnTo>
                  <a:pt x="234413" y="327778"/>
                </a:lnTo>
                <a:lnTo>
                  <a:pt x="245953" y="320583"/>
                </a:lnTo>
                <a:lnTo>
                  <a:pt x="256864" y="312409"/>
                </a:lnTo>
                <a:lnTo>
                  <a:pt x="267095" y="303311"/>
                </a:lnTo>
                <a:lnTo>
                  <a:pt x="276595" y="293343"/>
                </a:lnTo>
                <a:lnTo>
                  <a:pt x="285312" y="282562"/>
                </a:lnTo>
                <a:lnTo>
                  <a:pt x="293195" y="271023"/>
                </a:lnTo>
                <a:lnTo>
                  <a:pt x="300193" y="258781"/>
                </a:lnTo>
                <a:lnTo>
                  <a:pt x="306255" y="245892"/>
                </a:lnTo>
                <a:lnTo>
                  <a:pt x="311330" y="232411"/>
                </a:lnTo>
                <a:lnTo>
                  <a:pt x="315366" y="218394"/>
                </a:lnTo>
                <a:lnTo>
                  <a:pt x="318312" y="203896"/>
                </a:lnTo>
                <a:lnTo>
                  <a:pt x="320117" y="188973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9" y="93485"/>
                </a:lnTo>
                <a:lnTo>
                  <a:pt x="296006" y="80986"/>
                </a:lnTo>
                <a:lnTo>
                  <a:pt x="288459" y="69169"/>
                </a:lnTo>
                <a:lnTo>
                  <a:pt x="280058" y="58089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4"/>
                </a:lnTo>
                <a:lnTo>
                  <a:pt x="86318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6" name="object 62"/>
          <p:cNvSpPr/>
          <p:nvPr/>
        </p:nvSpPr>
        <p:spPr>
          <a:xfrm>
            <a:off x="4326962" y="34938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7" name="object 60"/>
          <p:cNvSpPr/>
          <p:nvPr/>
        </p:nvSpPr>
        <p:spPr>
          <a:xfrm>
            <a:off x="3451263" y="457102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8" name="object 58"/>
          <p:cNvSpPr/>
          <p:nvPr/>
        </p:nvSpPr>
        <p:spPr>
          <a:xfrm>
            <a:off x="7513462" y="204543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9" name="object 56"/>
          <p:cNvSpPr/>
          <p:nvPr/>
        </p:nvSpPr>
        <p:spPr>
          <a:xfrm>
            <a:off x="6553321" y="196196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0" name="object 54"/>
          <p:cNvSpPr/>
          <p:nvPr/>
        </p:nvSpPr>
        <p:spPr>
          <a:xfrm>
            <a:off x="7353097" y="275391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1" name="object 52"/>
          <p:cNvSpPr/>
          <p:nvPr/>
        </p:nvSpPr>
        <p:spPr>
          <a:xfrm>
            <a:off x="4696124" y="412086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2" name="object 50"/>
          <p:cNvSpPr/>
          <p:nvPr/>
        </p:nvSpPr>
        <p:spPr>
          <a:xfrm>
            <a:off x="4441297" y="46123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3" name="object 48"/>
          <p:cNvSpPr/>
          <p:nvPr/>
        </p:nvSpPr>
        <p:spPr>
          <a:xfrm>
            <a:off x="3130532" y="40499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4" name="object 42"/>
          <p:cNvSpPr/>
          <p:nvPr/>
        </p:nvSpPr>
        <p:spPr>
          <a:xfrm>
            <a:off x="5748103" y="33118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5" name="object 44"/>
          <p:cNvSpPr/>
          <p:nvPr/>
        </p:nvSpPr>
        <p:spPr>
          <a:xfrm>
            <a:off x="5560113" y="25802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6" name="object 46"/>
          <p:cNvSpPr/>
          <p:nvPr/>
        </p:nvSpPr>
        <p:spPr>
          <a:xfrm>
            <a:off x="5421508" y="296447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7" name="object 40"/>
          <p:cNvSpPr/>
          <p:nvPr/>
        </p:nvSpPr>
        <p:spPr>
          <a:xfrm>
            <a:off x="5213120" y="49216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8" name="object 38"/>
          <p:cNvSpPr/>
          <p:nvPr/>
        </p:nvSpPr>
        <p:spPr>
          <a:xfrm>
            <a:off x="7032365" y="221911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9" name="object 36"/>
          <p:cNvSpPr/>
          <p:nvPr/>
        </p:nvSpPr>
        <p:spPr>
          <a:xfrm>
            <a:off x="7385165" y="340218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6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7"/>
                </a:lnTo>
                <a:lnTo>
                  <a:pt x="310251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0" name="object 34"/>
          <p:cNvSpPr/>
          <p:nvPr/>
        </p:nvSpPr>
        <p:spPr>
          <a:xfrm>
            <a:off x="5038354" y="24830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1" name="object 32"/>
          <p:cNvSpPr/>
          <p:nvPr/>
        </p:nvSpPr>
        <p:spPr>
          <a:xfrm>
            <a:off x="7192732" y="159327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2" name="object 30"/>
          <p:cNvSpPr/>
          <p:nvPr/>
        </p:nvSpPr>
        <p:spPr>
          <a:xfrm>
            <a:off x="6201572" y="316997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3" name="object 28"/>
          <p:cNvSpPr/>
          <p:nvPr/>
        </p:nvSpPr>
        <p:spPr>
          <a:xfrm>
            <a:off x="4877989" y="532865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4" name="object 26"/>
          <p:cNvSpPr/>
          <p:nvPr/>
        </p:nvSpPr>
        <p:spPr>
          <a:xfrm>
            <a:off x="5581873" y="4521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5" name="object 24"/>
          <p:cNvSpPr/>
          <p:nvPr/>
        </p:nvSpPr>
        <p:spPr>
          <a:xfrm>
            <a:off x="3528670" y="35173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6" name="object 22"/>
          <p:cNvSpPr/>
          <p:nvPr/>
        </p:nvSpPr>
        <p:spPr>
          <a:xfrm>
            <a:off x="3252845" y="520650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7" name="object 20"/>
          <p:cNvSpPr/>
          <p:nvPr/>
        </p:nvSpPr>
        <p:spPr>
          <a:xfrm>
            <a:off x="3849401" y="4051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8" name="object 18"/>
          <p:cNvSpPr/>
          <p:nvPr/>
        </p:nvSpPr>
        <p:spPr>
          <a:xfrm>
            <a:off x="6713687" y="269105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9" name="object 6"/>
          <p:cNvSpPr txBox="1"/>
          <p:nvPr/>
        </p:nvSpPr>
        <p:spPr>
          <a:xfrm>
            <a:off x="1332125" y="3759280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grpSp>
        <p:nvGrpSpPr>
          <p:cNvPr id="120" name="Group 119"/>
          <p:cNvGrpSpPr/>
          <p:nvPr/>
        </p:nvGrpSpPr>
        <p:grpSpPr>
          <a:xfrm>
            <a:off x="2383438" y="1888930"/>
            <a:ext cx="6303362" cy="4054670"/>
            <a:chOff x="2343901" y="1923700"/>
            <a:chExt cx="6303362" cy="4054670"/>
          </a:xfrm>
        </p:grpSpPr>
        <p:sp>
          <p:nvSpPr>
            <p:cNvPr id="121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122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  <p:sp>
        <p:nvSpPr>
          <p:cNvPr id="123" name="object 15"/>
          <p:cNvSpPr txBox="1"/>
          <p:nvPr/>
        </p:nvSpPr>
        <p:spPr>
          <a:xfrm>
            <a:off x="349882" y="365536"/>
            <a:ext cx="1351013" cy="5207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985"/>
              </a:lnSpc>
              <a:spcBef>
                <a:spcPts val="99"/>
              </a:spcBef>
            </a:pPr>
            <a:r>
              <a:rPr sz="2700" spc="0" baseline="3034" dirty="0" smtClean="0">
                <a:solidFill>
                  <a:srgbClr val="215867"/>
                </a:solidFill>
                <a:latin typeface="+mj-lt"/>
                <a:cs typeface="Calibri"/>
              </a:rPr>
              <a:t>epsilon = 1.75</a:t>
            </a:r>
            <a:endParaRPr sz="1800">
              <a:latin typeface="+mj-lt"/>
              <a:cs typeface="Calibri"/>
            </a:endParaRPr>
          </a:p>
          <a:p>
            <a:pPr marL="12700" marR="34289">
              <a:lnSpc>
                <a:spcPts val="2100"/>
              </a:lnSpc>
              <a:spcBef>
                <a:spcPts val="5"/>
              </a:spcBef>
            </a:pPr>
            <a:r>
              <a:rPr sz="2700" spc="0" baseline="1517" dirty="0" smtClean="0">
                <a:solidFill>
                  <a:srgbClr val="215867"/>
                </a:solidFill>
                <a:latin typeface="+mj-lt"/>
                <a:cs typeface="Calibri"/>
              </a:rPr>
              <a:t>n_clu = 3</a:t>
            </a:r>
            <a:endParaRPr sz="1800">
              <a:latin typeface="+mj-lt"/>
              <a:cs typeface="Calibri"/>
            </a:endParaRPr>
          </a:p>
        </p:txBody>
      </p:sp>
      <p:sp>
        <p:nvSpPr>
          <p:cNvPr id="124" name="object 5"/>
          <p:cNvSpPr txBox="1"/>
          <p:nvPr/>
        </p:nvSpPr>
        <p:spPr>
          <a:xfrm>
            <a:off x="2101916" y="365536"/>
            <a:ext cx="6889684" cy="1166986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 marR="41909">
              <a:lnSpc>
                <a:spcPts val="3454"/>
              </a:lnSpc>
              <a:spcBef>
                <a:spcPts val="172"/>
              </a:spcBef>
            </a:pPr>
            <a:r>
              <a:rPr sz="4800" spc="0" baseline="2560" dirty="0" smtClean="0">
                <a:solidFill>
                  <a:srgbClr val="4E81BC"/>
                </a:solidFill>
                <a:latin typeface="+mj-lt"/>
                <a:cs typeface="Calibri"/>
              </a:rPr>
              <a:t>DBSC</a:t>
            </a:r>
            <a:r>
              <a:rPr sz="4800" spc="-4" baseline="2560" dirty="0" smtClean="0">
                <a:solidFill>
                  <a:srgbClr val="4E81BC"/>
                </a:solidFill>
                <a:latin typeface="+mj-lt"/>
                <a:cs typeface="Calibri"/>
              </a:rPr>
              <a:t>A</a:t>
            </a:r>
            <a:r>
              <a:rPr sz="4800" spc="0" baseline="2560" dirty="0" smtClean="0">
                <a:solidFill>
                  <a:srgbClr val="4E81BC"/>
                </a:solidFill>
                <a:latin typeface="+mj-lt"/>
                <a:cs typeface="Calibri"/>
              </a:rPr>
              <a:t>N</a:t>
            </a:r>
            <a:endParaRPr sz="3200" dirty="0">
              <a:latin typeface="+mj-lt"/>
              <a:cs typeface="Calibri"/>
            </a:endParaRPr>
          </a:p>
          <a:p>
            <a:pPr marL="12700">
              <a:lnSpc>
                <a:spcPts val="2770"/>
              </a:lnSpc>
            </a:pPr>
            <a:r>
              <a:rPr lang="en-US" sz="3200" baseline="1137" dirty="0">
                <a:solidFill>
                  <a:srgbClr val="7F7E7E"/>
                </a:solidFill>
                <a:cs typeface="Calibri"/>
              </a:rPr>
              <a:t>Ta-</a:t>
            </a:r>
            <a:r>
              <a:rPr lang="en-US" sz="3200" baseline="1137" dirty="0" smtClean="0">
                <a:solidFill>
                  <a:srgbClr val="7F7E7E"/>
                </a:solidFill>
                <a:cs typeface="Calibri"/>
              </a:rPr>
              <a:t>­</a:t>
            </a:r>
            <a:r>
              <a:rPr lang="en-US" sz="3200" baseline="1137" dirty="0" err="1" smtClean="0">
                <a:solidFill>
                  <a:srgbClr val="7F7E7E"/>
                </a:solidFill>
                <a:cs typeface="Calibri"/>
              </a:rPr>
              <a:t>daa</a:t>
            </a:r>
            <a:r>
              <a:rPr lang="en-US" sz="3200" baseline="1137" dirty="0" smtClean="0">
                <a:solidFill>
                  <a:srgbClr val="7F7E7E"/>
                </a:solidFill>
                <a:cs typeface="Calibri"/>
              </a:rPr>
              <a:t>! Notice the core points, density-reachable points </a:t>
            </a:r>
          </a:p>
          <a:p>
            <a:pPr marL="12700">
              <a:lnSpc>
                <a:spcPts val="2770"/>
              </a:lnSpc>
            </a:pPr>
            <a:r>
              <a:rPr lang="en-US" sz="3200" baseline="1137" dirty="0" smtClean="0">
                <a:solidFill>
                  <a:srgbClr val="7F7E7E"/>
                </a:solidFill>
                <a:cs typeface="Calibri"/>
              </a:rPr>
              <a:t>(at the borders) and the </a:t>
            </a:r>
            <a:r>
              <a:rPr lang="en-US" sz="3200" b="1" baseline="1137" dirty="0" smtClean="0">
                <a:solidFill>
                  <a:srgbClr val="7F7E7E"/>
                </a:solidFill>
                <a:cs typeface="Calibri"/>
              </a:rPr>
              <a:t>noise</a:t>
            </a:r>
            <a:r>
              <a:rPr lang="en-US" sz="3200" baseline="1137" dirty="0" smtClean="0">
                <a:solidFill>
                  <a:srgbClr val="7F7E7E"/>
                </a:solidFill>
                <a:cs typeface="Calibri"/>
              </a:rPr>
              <a:t> point</a:t>
            </a:r>
            <a:r>
              <a:rPr lang="en-US" sz="3200" baseline="1137" dirty="0">
                <a:solidFill>
                  <a:srgbClr val="7F7E7E"/>
                </a:solidFill>
                <a:cs typeface="Calibri"/>
              </a:rPr>
              <a:t>.</a:t>
            </a:r>
            <a:endParaRPr lang="en-US" sz="3200" i="1" baseline="1137" dirty="0">
              <a:solidFill>
                <a:srgbClr val="7F7E7E"/>
              </a:solidFill>
              <a:cs typeface="Calibri"/>
            </a:endParaRPr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" name="object 3"/>
          <p:cNvSpPr txBox="1"/>
          <p:nvPr/>
        </p:nvSpPr>
        <p:spPr>
          <a:xfrm>
            <a:off x="5426815" y="6116930"/>
            <a:ext cx="542241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latin typeface="Calibri"/>
                <a:cs typeface="Calibri"/>
              </a:rPr>
              <a:t>Age</a:t>
            </a:r>
            <a:endParaRPr sz="2400">
              <a:latin typeface="Calibri"/>
              <a:cs typeface="Calibri"/>
            </a:endParaRPr>
          </a:p>
        </p:txBody>
      </p:sp>
      <p:sp>
        <p:nvSpPr>
          <p:cNvPr id="88" name="object 82"/>
          <p:cNvSpPr/>
          <p:nvPr/>
        </p:nvSpPr>
        <p:spPr>
          <a:xfrm>
            <a:off x="4414372" y="54871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9" name="object 84"/>
          <p:cNvSpPr/>
          <p:nvPr/>
        </p:nvSpPr>
        <p:spPr>
          <a:xfrm>
            <a:off x="5399747" y="55212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0" name="object 86"/>
          <p:cNvSpPr/>
          <p:nvPr/>
        </p:nvSpPr>
        <p:spPr>
          <a:xfrm>
            <a:off x="6251551" y="55023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1" name="object 74"/>
          <p:cNvSpPr/>
          <p:nvPr/>
        </p:nvSpPr>
        <p:spPr>
          <a:xfrm>
            <a:off x="2668469" y="519520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chemeClr val="tx1"/>
          </a:solidFill>
          <a:ln w="28575">
            <a:solidFill>
              <a:schemeClr val="tx1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2" name="object 72"/>
          <p:cNvSpPr/>
          <p:nvPr/>
        </p:nvSpPr>
        <p:spPr>
          <a:xfrm>
            <a:off x="5959366" y="251737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40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80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3" name="object 70"/>
          <p:cNvSpPr/>
          <p:nvPr/>
        </p:nvSpPr>
        <p:spPr>
          <a:xfrm>
            <a:off x="5560113" y="213564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4" name="object 68"/>
          <p:cNvSpPr/>
          <p:nvPr/>
        </p:nvSpPr>
        <p:spPr>
          <a:xfrm>
            <a:off x="5148028" y="1723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5" name="object 66"/>
          <p:cNvSpPr/>
          <p:nvPr/>
        </p:nvSpPr>
        <p:spPr>
          <a:xfrm>
            <a:off x="6872003" y="34121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6" name="object 63"/>
          <p:cNvSpPr/>
          <p:nvPr/>
        </p:nvSpPr>
        <p:spPr>
          <a:xfrm>
            <a:off x="5880842" y="502152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6"/>
                </a:lnTo>
                <a:lnTo>
                  <a:pt x="1583" y="198179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6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2"/>
                </a:lnTo>
                <a:lnTo>
                  <a:pt x="49876" y="299561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6"/>
                </a:lnTo>
                <a:lnTo>
                  <a:pt x="196530" y="342926"/>
                </a:lnTo>
                <a:lnTo>
                  <a:pt x="209650" y="339004"/>
                </a:lnTo>
                <a:lnTo>
                  <a:pt x="222295" y="333936"/>
                </a:lnTo>
                <a:lnTo>
                  <a:pt x="234413" y="327778"/>
                </a:lnTo>
                <a:lnTo>
                  <a:pt x="245953" y="320583"/>
                </a:lnTo>
                <a:lnTo>
                  <a:pt x="256864" y="312409"/>
                </a:lnTo>
                <a:lnTo>
                  <a:pt x="267095" y="303311"/>
                </a:lnTo>
                <a:lnTo>
                  <a:pt x="276595" y="293343"/>
                </a:lnTo>
                <a:lnTo>
                  <a:pt x="285312" y="282562"/>
                </a:lnTo>
                <a:lnTo>
                  <a:pt x="293195" y="271023"/>
                </a:lnTo>
                <a:lnTo>
                  <a:pt x="300193" y="258781"/>
                </a:lnTo>
                <a:lnTo>
                  <a:pt x="306255" y="245892"/>
                </a:lnTo>
                <a:lnTo>
                  <a:pt x="311330" y="232411"/>
                </a:lnTo>
                <a:lnTo>
                  <a:pt x="315366" y="218394"/>
                </a:lnTo>
                <a:lnTo>
                  <a:pt x="318312" y="203896"/>
                </a:lnTo>
                <a:lnTo>
                  <a:pt x="320117" y="188973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9" y="93485"/>
                </a:lnTo>
                <a:lnTo>
                  <a:pt x="296006" y="80986"/>
                </a:lnTo>
                <a:lnTo>
                  <a:pt x="288459" y="69169"/>
                </a:lnTo>
                <a:lnTo>
                  <a:pt x="280058" y="58089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4"/>
                </a:lnTo>
                <a:lnTo>
                  <a:pt x="86318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7" name="object 62"/>
          <p:cNvSpPr/>
          <p:nvPr/>
        </p:nvSpPr>
        <p:spPr>
          <a:xfrm>
            <a:off x="4326962" y="34938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8" name="object 60"/>
          <p:cNvSpPr/>
          <p:nvPr/>
        </p:nvSpPr>
        <p:spPr>
          <a:xfrm>
            <a:off x="3451263" y="457102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9" name="object 58"/>
          <p:cNvSpPr/>
          <p:nvPr/>
        </p:nvSpPr>
        <p:spPr>
          <a:xfrm>
            <a:off x="7513462" y="204543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0" name="object 56"/>
          <p:cNvSpPr/>
          <p:nvPr/>
        </p:nvSpPr>
        <p:spPr>
          <a:xfrm>
            <a:off x="6553321" y="196196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1" name="object 54"/>
          <p:cNvSpPr/>
          <p:nvPr/>
        </p:nvSpPr>
        <p:spPr>
          <a:xfrm>
            <a:off x="7353097" y="275391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2" name="object 52"/>
          <p:cNvSpPr/>
          <p:nvPr/>
        </p:nvSpPr>
        <p:spPr>
          <a:xfrm>
            <a:off x="4696124" y="412086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3" name="object 50"/>
          <p:cNvSpPr/>
          <p:nvPr/>
        </p:nvSpPr>
        <p:spPr>
          <a:xfrm>
            <a:off x="4441297" y="46123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4" name="object 48"/>
          <p:cNvSpPr/>
          <p:nvPr/>
        </p:nvSpPr>
        <p:spPr>
          <a:xfrm>
            <a:off x="3130532" y="40499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5" name="object 42"/>
          <p:cNvSpPr/>
          <p:nvPr/>
        </p:nvSpPr>
        <p:spPr>
          <a:xfrm>
            <a:off x="5748103" y="33118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6" name="object 44"/>
          <p:cNvSpPr/>
          <p:nvPr/>
        </p:nvSpPr>
        <p:spPr>
          <a:xfrm>
            <a:off x="5560113" y="25802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7" name="object 46"/>
          <p:cNvSpPr/>
          <p:nvPr/>
        </p:nvSpPr>
        <p:spPr>
          <a:xfrm>
            <a:off x="5421508" y="296447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8" name="object 40"/>
          <p:cNvSpPr/>
          <p:nvPr/>
        </p:nvSpPr>
        <p:spPr>
          <a:xfrm>
            <a:off x="5213120" y="49216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9" name="object 38"/>
          <p:cNvSpPr/>
          <p:nvPr/>
        </p:nvSpPr>
        <p:spPr>
          <a:xfrm>
            <a:off x="7032365" y="221911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0" name="object 36"/>
          <p:cNvSpPr/>
          <p:nvPr/>
        </p:nvSpPr>
        <p:spPr>
          <a:xfrm>
            <a:off x="7385165" y="340218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6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7"/>
                </a:lnTo>
                <a:lnTo>
                  <a:pt x="310251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1" name="object 34"/>
          <p:cNvSpPr/>
          <p:nvPr/>
        </p:nvSpPr>
        <p:spPr>
          <a:xfrm>
            <a:off x="5038354" y="24830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2" name="object 32"/>
          <p:cNvSpPr/>
          <p:nvPr/>
        </p:nvSpPr>
        <p:spPr>
          <a:xfrm>
            <a:off x="7192732" y="159327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3" name="object 30"/>
          <p:cNvSpPr/>
          <p:nvPr/>
        </p:nvSpPr>
        <p:spPr>
          <a:xfrm>
            <a:off x="6201572" y="316997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4" name="object 28"/>
          <p:cNvSpPr/>
          <p:nvPr/>
        </p:nvSpPr>
        <p:spPr>
          <a:xfrm>
            <a:off x="4877989" y="532865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5" name="object 26"/>
          <p:cNvSpPr/>
          <p:nvPr/>
        </p:nvSpPr>
        <p:spPr>
          <a:xfrm>
            <a:off x="5581873" y="4521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6" name="object 24"/>
          <p:cNvSpPr/>
          <p:nvPr/>
        </p:nvSpPr>
        <p:spPr>
          <a:xfrm>
            <a:off x="3528670" y="35173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7" name="object 22"/>
          <p:cNvSpPr/>
          <p:nvPr/>
        </p:nvSpPr>
        <p:spPr>
          <a:xfrm>
            <a:off x="3252845" y="520650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8" name="object 20"/>
          <p:cNvSpPr/>
          <p:nvPr/>
        </p:nvSpPr>
        <p:spPr>
          <a:xfrm>
            <a:off x="3849401" y="4051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9" name="object 18"/>
          <p:cNvSpPr/>
          <p:nvPr/>
        </p:nvSpPr>
        <p:spPr>
          <a:xfrm>
            <a:off x="6713687" y="269105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0" name="object 6"/>
          <p:cNvSpPr txBox="1"/>
          <p:nvPr/>
        </p:nvSpPr>
        <p:spPr>
          <a:xfrm>
            <a:off x="1332125" y="3759280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grpSp>
        <p:nvGrpSpPr>
          <p:cNvPr id="121" name="Group 120"/>
          <p:cNvGrpSpPr/>
          <p:nvPr/>
        </p:nvGrpSpPr>
        <p:grpSpPr>
          <a:xfrm>
            <a:off x="2383438" y="1888930"/>
            <a:ext cx="6303362" cy="4054670"/>
            <a:chOff x="2343901" y="1923700"/>
            <a:chExt cx="6303362" cy="4054670"/>
          </a:xfrm>
        </p:grpSpPr>
        <p:sp>
          <p:nvSpPr>
            <p:cNvPr id="122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123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  <p:sp>
        <p:nvSpPr>
          <p:cNvPr id="124" name="object 15"/>
          <p:cNvSpPr txBox="1"/>
          <p:nvPr/>
        </p:nvSpPr>
        <p:spPr>
          <a:xfrm>
            <a:off x="349882" y="365536"/>
            <a:ext cx="1351013" cy="5207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985"/>
              </a:lnSpc>
              <a:spcBef>
                <a:spcPts val="99"/>
              </a:spcBef>
            </a:pPr>
            <a:r>
              <a:rPr sz="2700" spc="0" baseline="3034" dirty="0" smtClean="0">
                <a:solidFill>
                  <a:srgbClr val="215867"/>
                </a:solidFill>
                <a:latin typeface="+mj-lt"/>
                <a:cs typeface="Calibri"/>
              </a:rPr>
              <a:t>epsilon = 1.75</a:t>
            </a:r>
            <a:endParaRPr sz="1800">
              <a:latin typeface="+mj-lt"/>
              <a:cs typeface="Calibri"/>
            </a:endParaRPr>
          </a:p>
          <a:p>
            <a:pPr marL="12700" marR="34289">
              <a:lnSpc>
                <a:spcPts val="2100"/>
              </a:lnSpc>
              <a:spcBef>
                <a:spcPts val="5"/>
              </a:spcBef>
            </a:pPr>
            <a:r>
              <a:rPr sz="2700" spc="0" baseline="1517" dirty="0" smtClean="0">
                <a:solidFill>
                  <a:srgbClr val="215867"/>
                </a:solidFill>
                <a:latin typeface="+mj-lt"/>
                <a:cs typeface="Calibri"/>
              </a:rPr>
              <a:t>n_clu = 3</a:t>
            </a:r>
            <a:endParaRPr sz="1800">
              <a:latin typeface="+mj-lt"/>
              <a:cs typeface="Calibri"/>
            </a:endParaRPr>
          </a:p>
        </p:txBody>
      </p:sp>
      <p:sp>
        <p:nvSpPr>
          <p:cNvPr id="125" name="object 5"/>
          <p:cNvSpPr txBox="1"/>
          <p:nvPr/>
        </p:nvSpPr>
        <p:spPr>
          <a:xfrm>
            <a:off x="2101916" y="365536"/>
            <a:ext cx="6889684" cy="807913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 marR="41909">
              <a:lnSpc>
                <a:spcPts val="3454"/>
              </a:lnSpc>
              <a:spcBef>
                <a:spcPts val="172"/>
              </a:spcBef>
            </a:pPr>
            <a:r>
              <a:rPr sz="4800" spc="0" baseline="2560" dirty="0" smtClean="0">
                <a:solidFill>
                  <a:srgbClr val="4E81BC"/>
                </a:solidFill>
                <a:latin typeface="+mj-lt"/>
                <a:cs typeface="Calibri"/>
              </a:rPr>
              <a:t>DBSC</a:t>
            </a:r>
            <a:r>
              <a:rPr sz="4800" spc="-4" baseline="2560" dirty="0" smtClean="0">
                <a:solidFill>
                  <a:srgbClr val="4E81BC"/>
                </a:solidFill>
                <a:latin typeface="+mj-lt"/>
                <a:cs typeface="Calibri"/>
              </a:rPr>
              <a:t>A</a:t>
            </a:r>
            <a:r>
              <a:rPr sz="4800" spc="0" baseline="2560" dirty="0" smtClean="0">
                <a:solidFill>
                  <a:srgbClr val="4E81BC"/>
                </a:solidFill>
                <a:latin typeface="+mj-lt"/>
                <a:cs typeface="Calibri"/>
              </a:rPr>
              <a:t>N</a:t>
            </a:r>
            <a:endParaRPr sz="3200" dirty="0">
              <a:latin typeface="+mj-lt"/>
              <a:cs typeface="Calibri"/>
            </a:endParaRPr>
          </a:p>
          <a:p>
            <a:pPr marL="12700">
              <a:lnSpc>
                <a:spcPts val="2770"/>
              </a:lnSpc>
            </a:pPr>
            <a:r>
              <a:rPr lang="en-US" sz="3200" baseline="1137" dirty="0" smtClean="0">
                <a:solidFill>
                  <a:srgbClr val="7F7E7E"/>
                </a:solidFill>
                <a:cs typeface="Calibri"/>
              </a:rPr>
              <a:t>The effect of the parameters</a:t>
            </a:r>
            <a:endParaRPr lang="en-US" sz="3200" i="1" baseline="1137" dirty="0">
              <a:solidFill>
                <a:srgbClr val="7F7E7E"/>
              </a:solidFill>
              <a:cs typeface="Calibri"/>
            </a:endParaRPr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" name="object 3"/>
          <p:cNvSpPr txBox="1"/>
          <p:nvPr/>
        </p:nvSpPr>
        <p:spPr>
          <a:xfrm>
            <a:off x="5426815" y="6116930"/>
            <a:ext cx="542241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latin typeface="Calibri"/>
                <a:cs typeface="Calibri"/>
              </a:rPr>
              <a:t>Age</a:t>
            </a:r>
            <a:endParaRPr sz="2400">
              <a:latin typeface="Calibri"/>
              <a:cs typeface="Calibri"/>
            </a:endParaRPr>
          </a:p>
        </p:txBody>
      </p:sp>
      <p:sp>
        <p:nvSpPr>
          <p:cNvPr id="88" name="object 82"/>
          <p:cNvSpPr/>
          <p:nvPr/>
        </p:nvSpPr>
        <p:spPr>
          <a:xfrm>
            <a:off x="4414372" y="54871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9" name="object 84"/>
          <p:cNvSpPr/>
          <p:nvPr/>
        </p:nvSpPr>
        <p:spPr>
          <a:xfrm>
            <a:off x="5399747" y="55212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0" name="object 86"/>
          <p:cNvSpPr/>
          <p:nvPr/>
        </p:nvSpPr>
        <p:spPr>
          <a:xfrm>
            <a:off x="6251551" y="55023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1" name="object 74"/>
          <p:cNvSpPr/>
          <p:nvPr/>
        </p:nvSpPr>
        <p:spPr>
          <a:xfrm>
            <a:off x="2668469" y="519520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chemeClr val="tx1"/>
          </a:solidFill>
          <a:ln w="28575">
            <a:solidFill>
              <a:schemeClr val="tx1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2" name="object 72"/>
          <p:cNvSpPr/>
          <p:nvPr/>
        </p:nvSpPr>
        <p:spPr>
          <a:xfrm>
            <a:off x="5959366" y="251737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40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80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3" name="object 70"/>
          <p:cNvSpPr/>
          <p:nvPr/>
        </p:nvSpPr>
        <p:spPr>
          <a:xfrm>
            <a:off x="5560113" y="213564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4" name="object 68"/>
          <p:cNvSpPr/>
          <p:nvPr/>
        </p:nvSpPr>
        <p:spPr>
          <a:xfrm>
            <a:off x="5148028" y="1723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5" name="object 66"/>
          <p:cNvSpPr/>
          <p:nvPr/>
        </p:nvSpPr>
        <p:spPr>
          <a:xfrm>
            <a:off x="6872003" y="34121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6" name="object 63"/>
          <p:cNvSpPr/>
          <p:nvPr/>
        </p:nvSpPr>
        <p:spPr>
          <a:xfrm>
            <a:off x="5880842" y="502152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6"/>
                </a:lnTo>
                <a:lnTo>
                  <a:pt x="1583" y="198179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6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2"/>
                </a:lnTo>
                <a:lnTo>
                  <a:pt x="49876" y="299561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6"/>
                </a:lnTo>
                <a:lnTo>
                  <a:pt x="196530" y="342926"/>
                </a:lnTo>
                <a:lnTo>
                  <a:pt x="209650" y="339004"/>
                </a:lnTo>
                <a:lnTo>
                  <a:pt x="222295" y="333936"/>
                </a:lnTo>
                <a:lnTo>
                  <a:pt x="234413" y="327778"/>
                </a:lnTo>
                <a:lnTo>
                  <a:pt x="245953" y="320583"/>
                </a:lnTo>
                <a:lnTo>
                  <a:pt x="256864" y="312409"/>
                </a:lnTo>
                <a:lnTo>
                  <a:pt x="267095" y="303311"/>
                </a:lnTo>
                <a:lnTo>
                  <a:pt x="276595" y="293343"/>
                </a:lnTo>
                <a:lnTo>
                  <a:pt x="285312" y="282562"/>
                </a:lnTo>
                <a:lnTo>
                  <a:pt x="293195" y="271023"/>
                </a:lnTo>
                <a:lnTo>
                  <a:pt x="300193" y="258781"/>
                </a:lnTo>
                <a:lnTo>
                  <a:pt x="306255" y="245892"/>
                </a:lnTo>
                <a:lnTo>
                  <a:pt x="311330" y="232411"/>
                </a:lnTo>
                <a:lnTo>
                  <a:pt x="315366" y="218394"/>
                </a:lnTo>
                <a:lnTo>
                  <a:pt x="318312" y="203896"/>
                </a:lnTo>
                <a:lnTo>
                  <a:pt x="320117" y="188973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9" y="93485"/>
                </a:lnTo>
                <a:lnTo>
                  <a:pt x="296006" y="80986"/>
                </a:lnTo>
                <a:lnTo>
                  <a:pt x="288459" y="69169"/>
                </a:lnTo>
                <a:lnTo>
                  <a:pt x="280058" y="58089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4"/>
                </a:lnTo>
                <a:lnTo>
                  <a:pt x="86318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7" name="object 62"/>
          <p:cNvSpPr/>
          <p:nvPr/>
        </p:nvSpPr>
        <p:spPr>
          <a:xfrm>
            <a:off x="4326962" y="34938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8" name="object 60"/>
          <p:cNvSpPr/>
          <p:nvPr/>
        </p:nvSpPr>
        <p:spPr>
          <a:xfrm>
            <a:off x="3451263" y="457102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9" name="object 58"/>
          <p:cNvSpPr/>
          <p:nvPr/>
        </p:nvSpPr>
        <p:spPr>
          <a:xfrm>
            <a:off x="7513462" y="204543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0" name="object 56"/>
          <p:cNvSpPr/>
          <p:nvPr/>
        </p:nvSpPr>
        <p:spPr>
          <a:xfrm>
            <a:off x="6553321" y="196196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1" name="object 54"/>
          <p:cNvSpPr/>
          <p:nvPr/>
        </p:nvSpPr>
        <p:spPr>
          <a:xfrm>
            <a:off x="7353097" y="275391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2" name="object 52"/>
          <p:cNvSpPr/>
          <p:nvPr/>
        </p:nvSpPr>
        <p:spPr>
          <a:xfrm>
            <a:off x="4696124" y="412086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3" name="object 50"/>
          <p:cNvSpPr/>
          <p:nvPr/>
        </p:nvSpPr>
        <p:spPr>
          <a:xfrm>
            <a:off x="4441297" y="46123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4" name="object 48"/>
          <p:cNvSpPr/>
          <p:nvPr/>
        </p:nvSpPr>
        <p:spPr>
          <a:xfrm>
            <a:off x="3130532" y="40499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5" name="object 42"/>
          <p:cNvSpPr/>
          <p:nvPr/>
        </p:nvSpPr>
        <p:spPr>
          <a:xfrm>
            <a:off x="5748103" y="33118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6" name="object 44"/>
          <p:cNvSpPr/>
          <p:nvPr/>
        </p:nvSpPr>
        <p:spPr>
          <a:xfrm>
            <a:off x="5560113" y="25802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7" name="object 46"/>
          <p:cNvSpPr/>
          <p:nvPr/>
        </p:nvSpPr>
        <p:spPr>
          <a:xfrm>
            <a:off x="5421508" y="296447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8" name="object 40"/>
          <p:cNvSpPr/>
          <p:nvPr/>
        </p:nvSpPr>
        <p:spPr>
          <a:xfrm>
            <a:off x="5213120" y="49216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9" name="object 38"/>
          <p:cNvSpPr/>
          <p:nvPr/>
        </p:nvSpPr>
        <p:spPr>
          <a:xfrm>
            <a:off x="7032365" y="221911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0" name="object 36"/>
          <p:cNvSpPr/>
          <p:nvPr/>
        </p:nvSpPr>
        <p:spPr>
          <a:xfrm>
            <a:off x="7385165" y="340218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6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7"/>
                </a:lnTo>
                <a:lnTo>
                  <a:pt x="310251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1" name="object 34"/>
          <p:cNvSpPr/>
          <p:nvPr/>
        </p:nvSpPr>
        <p:spPr>
          <a:xfrm>
            <a:off x="5038354" y="24830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2" name="object 32"/>
          <p:cNvSpPr/>
          <p:nvPr/>
        </p:nvSpPr>
        <p:spPr>
          <a:xfrm>
            <a:off x="7192732" y="159327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3" name="object 30"/>
          <p:cNvSpPr/>
          <p:nvPr/>
        </p:nvSpPr>
        <p:spPr>
          <a:xfrm>
            <a:off x="6201572" y="316997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4" name="object 28"/>
          <p:cNvSpPr/>
          <p:nvPr/>
        </p:nvSpPr>
        <p:spPr>
          <a:xfrm>
            <a:off x="4877989" y="532865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5" name="object 26"/>
          <p:cNvSpPr/>
          <p:nvPr/>
        </p:nvSpPr>
        <p:spPr>
          <a:xfrm>
            <a:off x="5581873" y="4521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6" name="object 24"/>
          <p:cNvSpPr/>
          <p:nvPr/>
        </p:nvSpPr>
        <p:spPr>
          <a:xfrm>
            <a:off x="3528670" y="35173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7" name="object 22"/>
          <p:cNvSpPr/>
          <p:nvPr/>
        </p:nvSpPr>
        <p:spPr>
          <a:xfrm>
            <a:off x="3252845" y="520650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chemeClr val="tx1"/>
          </a:solidFill>
          <a:ln w="28575">
            <a:solidFill>
              <a:schemeClr val="tx1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8" name="object 20"/>
          <p:cNvSpPr/>
          <p:nvPr/>
        </p:nvSpPr>
        <p:spPr>
          <a:xfrm>
            <a:off x="3849401" y="4051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9" name="object 18"/>
          <p:cNvSpPr/>
          <p:nvPr/>
        </p:nvSpPr>
        <p:spPr>
          <a:xfrm>
            <a:off x="6713687" y="269105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0" name="object 6"/>
          <p:cNvSpPr txBox="1"/>
          <p:nvPr/>
        </p:nvSpPr>
        <p:spPr>
          <a:xfrm>
            <a:off x="1332125" y="3759280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grpSp>
        <p:nvGrpSpPr>
          <p:cNvPr id="121" name="Group 120"/>
          <p:cNvGrpSpPr/>
          <p:nvPr/>
        </p:nvGrpSpPr>
        <p:grpSpPr>
          <a:xfrm>
            <a:off x="2383438" y="1888930"/>
            <a:ext cx="6303362" cy="4054670"/>
            <a:chOff x="2343901" y="1923700"/>
            <a:chExt cx="6303362" cy="4054670"/>
          </a:xfrm>
        </p:grpSpPr>
        <p:sp>
          <p:nvSpPr>
            <p:cNvPr id="122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123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  <p:sp>
        <p:nvSpPr>
          <p:cNvPr id="124" name="object 15"/>
          <p:cNvSpPr txBox="1"/>
          <p:nvPr/>
        </p:nvSpPr>
        <p:spPr>
          <a:xfrm>
            <a:off x="349882" y="365536"/>
            <a:ext cx="1351013" cy="5207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985"/>
              </a:lnSpc>
              <a:spcBef>
                <a:spcPts val="99"/>
              </a:spcBef>
            </a:pPr>
            <a:r>
              <a:rPr sz="2700" spc="0" baseline="3034" dirty="0" smtClean="0">
                <a:solidFill>
                  <a:srgbClr val="215867"/>
                </a:solidFill>
                <a:latin typeface="+mj-lt"/>
                <a:cs typeface="Calibri"/>
              </a:rPr>
              <a:t>epsilon = 1.75</a:t>
            </a:r>
            <a:endParaRPr sz="1800" dirty="0">
              <a:latin typeface="+mj-lt"/>
              <a:cs typeface="Calibri"/>
            </a:endParaRPr>
          </a:p>
          <a:p>
            <a:pPr marL="12700" marR="34289">
              <a:lnSpc>
                <a:spcPts val="2100"/>
              </a:lnSpc>
              <a:spcBef>
                <a:spcPts val="5"/>
              </a:spcBef>
            </a:pPr>
            <a:r>
              <a:rPr sz="2700" spc="0" baseline="1517" dirty="0" smtClean="0">
                <a:solidFill>
                  <a:srgbClr val="215867"/>
                </a:solidFill>
                <a:latin typeface="+mj-lt"/>
                <a:cs typeface="Calibri"/>
              </a:rPr>
              <a:t>n_clu = </a:t>
            </a:r>
            <a:r>
              <a:rPr lang="en-US" sz="2700" spc="0" baseline="1517" dirty="0" smtClean="0">
                <a:solidFill>
                  <a:srgbClr val="C00000"/>
                </a:solidFill>
                <a:latin typeface="+mj-lt"/>
                <a:cs typeface="Calibri"/>
              </a:rPr>
              <a:t>5</a:t>
            </a:r>
            <a:endParaRPr sz="1800" dirty="0">
              <a:solidFill>
                <a:srgbClr val="C00000"/>
              </a:solidFill>
              <a:latin typeface="+mj-lt"/>
              <a:cs typeface="Calibri"/>
            </a:endParaRPr>
          </a:p>
        </p:txBody>
      </p:sp>
      <p:sp>
        <p:nvSpPr>
          <p:cNvPr id="125" name="object 5"/>
          <p:cNvSpPr txBox="1"/>
          <p:nvPr/>
        </p:nvSpPr>
        <p:spPr>
          <a:xfrm>
            <a:off x="2101916" y="365536"/>
            <a:ext cx="6889684" cy="807913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 marR="41909">
              <a:lnSpc>
                <a:spcPts val="3454"/>
              </a:lnSpc>
              <a:spcBef>
                <a:spcPts val="172"/>
              </a:spcBef>
            </a:pPr>
            <a:r>
              <a:rPr sz="4800" spc="0" baseline="2560" dirty="0" smtClean="0">
                <a:solidFill>
                  <a:srgbClr val="4E81BC"/>
                </a:solidFill>
                <a:latin typeface="+mj-lt"/>
                <a:cs typeface="Calibri"/>
              </a:rPr>
              <a:t>DBSC</a:t>
            </a:r>
            <a:r>
              <a:rPr sz="4800" spc="-4" baseline="2560" dirty="0" smtClean="0">
                <a:solidFill>
                  <a:srgbClr val="4E81BC"/>
                </a:solidFill>
                <a:latin typeface="+mj-lt"/>
                <a:cs typeface="Calibri"/>
              </a:rPr>
              <a:t>A</a:t>
            </a:r>
            <a:r>
              <a:rPr sz="4800" spc="0" baseline="2560" dirty="0" smtClean="0">
                <a:solidFill>
                  <a:srgbClr val="4E81BC"/>
                </a:solidFill>
                <a:latin typeface="+mj-lt"/>
                <a:cs typeface="Calibri"/>
              </a:rPr>
              <a:t>N</a:t>
            </a:r>
            <a:endParaRPr sz="3200" dirty="0">
              <a:latin typeface="+mj-lt"/>
              <a:cs typeface="Calibri"/>
            </a:endParaRPr>
          </a:p>
          <a:p>
            <a:pPr marL="12700">
              <a:lnSpc>
                <a:spcPts val="2770"/>
              </a:lnSpc>
            </a:pPr>
            <a:r>
              <a:rPr lang="en-US" sz="3200" baseline="1137" dirty="0" smtClean="0">
                <a:solidFill>
                  <a:srgbClr val="7F7E7E"/>
                </a:solidFill>
                <a:cs typeface="Calibri"/>
              </a:rPr>
              <a:t>The effect of the parameters</a:t>
            </a:r>
            <a:endParaRPr lang="en-US" sz="3200" i="1" baseline="1137" dirty="0">
              <a:solidFill>
                <a:srgbClr val="7F7E7E"/>
              </a:solidFill>
              <a:cs typeface="Calibri"/>
            </a:endParaRPr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" name="object 3"/>
          <p:cNvSpPr txBox="1"/>
          <p:nvPr/>
        </p:nvSpPr>
        <p:spPr>
          <a:xfrm>
            <a:off x="5426815" y="6116930"/>
            <a:ext cx="542241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latin typeface="Calibri"/>
                <a:cs typeface="Calibri"/>
              </a:rPr>
              <a:t>Age</a:t>
            </a:r>
            <a:endParaRPr sz="2400">
              <a:latin typeface="Calibri"/>
              <a:cs typeface="Calibri"/>
            </a:endParaRPr>
          </a:p>
        </p:txBody>
      </p:sp>
      <p:sp>
        <p:nvSpPr>
          <p:cNvPr id="88" name="object 82"/>
          <p:cNvSpPr/>
          <p:nvPr/>
        </p:nvSpPr>
        <p:spPr>
          <a:xfrm>
            <a:off x="4414372" y="54871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9" name="object 84"/>
          <p:cNvSpPr/>
          <p:nvPr/>
        </p:nvSpPr>
        <p:spPr>
          <a:xfrm>
            <a:off x="5399747" y="55212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0" name="object 86"/>
          <p:cNvSpPr/>
          <p:nvPr/>
        </p:nvSpPr>
        <p:spPr>
          <a:xfrm>
            <a:off x="6251551" y="55023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1" name="object 74"/>
          <p:cNvSpPr/>
          <p:nvPr/>
        </p:nvSpPr>
        <p:spPr>
          <a:xfrm>
            <a:off x="2668469" y="519520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2" name="object 72"/>
          <p:cNvSpPr/>
          <p:nvPr/>
        </p:nvSpPr>
        <p:spPr>
          <a:xfrm>
            <a:off x="5959366" y="251737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40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80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3" name="object 70"/>
          <p:cNvSpPr/>
          <p:nvPr/>
        </p:nvSpPr>
        <p:spPr>
          <a:xfrm>
            <a:off x="5560113" y="213564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4" name="object 68"/>
          <p:cNvSpPr/>
          <p:nvPr/>
        </p:nvSpPr>
        <p:spPr>
          <a:xfrm>
            <a:off x="5148028" y="1723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5" name="object 66"/>
          <p:cNvSpPr/>
          <p:nvPr/>
        </p:nvSpPr>
        <p:spPr>
          <a:xfrm>
            <a:off x="6872003" y="34121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6" name="object 63"/>
          <p:cNvSpPr/>
          <p:nvPr/>
        </p:nvSpPr>
        <p:spPr>
          <a:xfrm>
            <a:off x="5880842" y="502152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6"/>
                </a:lnTo>
                <a:lnTo>
                  <a:pt x="1583" y="198179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6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2"/>
                </a:lnTo>
                <a:lnTo>
                  <a:pt x="49876" y="299561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6"/>
                </a:lnTo>
                <a:lnTo>
                  <a:pt x="196530" y="342926"/>
                </a:lnTo>
                <a:lnTo>
                  <a:pt x="209650" y="339004"/>
                </a:lnTo>
                <a:lnTo>
                  <a:pt x="222295" y="333936"/>
                </a:lnTo>
                <a:lnTo>
                  <a:pt x="234413" y="327778"/>
                </a:lnTo>
                <a:lnTo>
                  <a:pt x="245953" y="320583"/>
                </a:lnTo>
                <a:lnTo>
                  <a:pt x="256864" y="312409"/>
                </a:lnTo>
                <a:lnTo>
                  <a:pt x="267095" y="303311"/>
                </a:lnTo>
                <a:lnTo>
                  <a:pt x="276595" y="293343"/>
                </a:lnTo>
                <a:lnTo>
                  <a:pt x="285312" y="282562"/>
                </a:lnTo>
                <a:lnTo>
                  <a:pt x="293195" y="271023"/>
                </a:lnTo>
                <a:lnTo>
                  <a:pt x="300193" y="258781"/>
                </a:lnTo>
                <a:lnTo>
                  <a:pt x="306255" y="245892"/>
                </a:lnTo>
                <a:lnTo>
                  <a:pt x="311330" y="232411"/>
                </a:lnTo>
                <a:lnTo>
                  <a:pt x="315366" y="218394"/>
                </a:lnTo>
                <a:lnTo>
                  <a:pt x="318312" y="203896"/>
                </a:lnTo>
                <a:lnTo>
                  <a:pt x="320117" y="188973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9" y="93485"/>
                </a:lnTo>
                <a:lnTo>
                  <a:pt x="296006" y="80986"/>
                </a:lnTo>
                <a:lnTo>
                  <a:pt x="288459" y="69169"/>
                </a:lnTo>
                <a:lnTo>
                  <a:pt x="280058" y="58089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4"/>
                </a:lnTo>
                <a:lnTo>
                  <a:pt x="86318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7" name="object 62"/>
          <p:cNvSpPr/>
          <p:nvPr/>
        </p:nvSpPr>
        <p:spPr>
          <a:xfrm>
            <a:off x="4326962" y="34938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8" name="object 60"/>
          <p:cNvSpPr/>
          <p:nvPr/>
        </p:nvSpPr>
        <p:spPr>
          <a:xfrm>
            <a:off x="3451263" y="457102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9" name="object 58"/>
          <p:cNvSpPr/>
          <p:nvPr/>
        </p:nvSpPr>
        <p:spPr>
          <a:xfrm>
            <a:off x="7513462" y="204543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0" name="object 56"/>
          <p:cNvSpPr/>
          <p:nvPr/>
        </p:nvSpPr>
        <p:spPr>
          <a:xfrm>
            <a:off x="6553321" y="196196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1" name="object 54"/>
          <p:cNvSpPr/>
          <p:nvPr/>
        </p:nvSpPr>
        <p:spPr>
          <a:xfrm>
            <a:off x="7353097" y="275391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2" name="object 52"/>
          <p:cNvSpPr/>
          <p:nvPr/>
        </p:nvSpPr>
        <p:spPr>
          <a:xfrm>
            <a:off x="4696124" y="412086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3" name="object 50"/>
          <p:cNvSpPr/>
          <p:nvPr/>
        </p:nvSpPr>
        <p:spPr>
          <a:xfrm>
            <a:off x="4441297" y="46123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4" name="object 48"/>
          <p:cNvSpPr/>
          <p:nvPr/>
        </p:nvSpPr>
        <p:spPr>
          <a:xfrm>
            <a:off x="3130532" y="40499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5" name="object 42"/>
          <p:cNvSpPr/>
          <p:nvPr/>
        </p:nvSpPr>
        <p:spPr>
          <a:xfrm>
            <a:off x="5748103" y="33118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6" name="object 44"/>
          <p:cNvSpPr/>
          <p:nvPr/>
        </p:nvSpPr>
        <p:spPr>
          <a:xfrm>
            <a:off x="5560113" y="25802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7" name="object 46"/>
          <p:cNvSpPr/>
          <p:nvPr/>
        </p:nvSpPr>
        <p:spPr>
          <a:xfrm>
            <a:off x="5421508" y="296447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8" name="object 40"/>
          <p:cNvSpPr/>
          <p:nvPr/>
        </p:nvSpPr>
        <p:spPr>
          <a:xfrm>
            <a:off x="5213120" y="49216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9" name="object 38"/>
          <p:cNvSpPr/>
          <p:nvPr/>
        </p:nvSpPr>
        <p:spPr>
          <a:xfrm>
            <a:off x="7032365" y="221911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0" name="object 36"/>
          <p:cNvSpPr/>
          <p:nvPr/>
        </p:nvSpPr>
        <p:spPr>
          <a:xfrm>
            <a:off x="7385165" y="340218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6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7"/>
                </a:lnTo>
                <a:lnTo>
                  <a:pt x="310251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1" name="object 34"/>
          <p:cNvSpPr/>
          <p:nvPr/>
        </p:nvSpPr>
        <p:spPr>
          <a:xfrm>
            <a:off x="5038354" y="24830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2" name="object 32"/>
          <p:cNvSpPr/>
          <p:nvPr/>
        </p:nvSpPr>
        <p:spPr>
          <a:xfrm>
            <a:off x="7192732" y="159327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3" name="object 30"/>
          <p:cNvSpPr/>
          <p:nvPr/>
        </p:nvSpPr>
        <p:spPr>
          <a:xfrm>
            <a:off x="6201572" y="316997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4" name="object 28"/>
          <p:cNvSpPr/>
          <p:nvPr/>
        </p:nvSpPr>
        <p:spPr>
          <a:xfrm>
            <a:off x="4877989" y="532865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5" name="object 26"/>
          <p:cNvSpPr/>
          <p:nvPr/>
        </p:nvSpPr>
        <p:spPr>
          <a:xfrm>
            <a:off x="5581873" y="4521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6" name="object 24"/>
          <p:cNvSpPr/>
          <p:nvPr/>
        </p:nvSpPr>
        <p:spPr>
          <a:xfrm>
            <a:off x="3528670" y="35173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7" name="object 22"/>
          <p:cNvSpPr/>
          <p:nvPr/>
        </p:nvSpPr>
        <p:spPr>
          <a:xfrm>
            <a:off x="3252845" y="520650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8" name="object 20"/>
          <p:cNvSpPr/>
          <p:nvPr/>
        </p:nvSpPr>
        <p:spPr>
          <a:xfrm>
            <a:off x="3849401" y="4051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9" name="object 18"/>
          <p:cNvSpPr/>
          <p:nvPr/>
        </p:nvSpPr>
        <p:spPr>
          <a:xfrm>
            <a:off x="6713687" y="269105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0" name="object 6"/>
          <p:cNvSpPr txBox="1"/>
          <p:nvPr/>
        </p:nvSpPr>
        <p:spPr>
          <a:xfrm>
            <a:off x="1332125" y="3759280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grpSp>
        <p:nvGrpSpPr>
          <p:cNvPr id="121" name="Group 120"/>
          <p:cNvGrpSpPr/>
          <p:nvPr/>
        </p:nvGrpSpPr>
        <p:grpSpPr>
          <a:xfrm>
            <a:off x="2383438" y="1888930"/>
            <a:ext cx="6303362" cy="4054670"/>
            <a:chOff x="2343901" y="1923700"/>
            <a:chExt cx="6303362" cy="4054670"/>
          </a:xfrm>
        </p:grpSpPr>
        <p:sp>
          <p:nvSpPr>
            <p:cNvPr id="122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123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  <p:sp>
        <p:nvSpPr>
          <p:cNvPr id="125" name="object 5"/>
          <p:cNvSpPr txBox="1"/>
          <p:nvPr/>
        </p:nvSpPr>
        <p:spPr>
          <a:xfrm>
            <a:off x="2101916" y="365536"/>
            <a:ext cx="6889684" cy="807913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 marR="41909">
              <a:lnSpc>
                <a:spcPts val="3454"/>
              </a:lnSpc>
              <a:spcBef>
                <a:spcPts val="172"/>
              </a:spcBef>
            </a:pPr>
            <a:r>
              <a:rPr sz="4800" spc="0" baseline="2560" dirty="0" smtClean="0">
                <a:solidFill>
                  <a:srgbClr val="4E81BC"/>
                </a:solidFill>
                <a:latin typeface="+mj-lt"/>
                <a:cs typeface="Calibri"/>
              </a:rPr>
              <a:t>DBSC</a:t>
            </a:r>
            <a:r>
              <a:rPr sz="4800" spc="-4" baseline="2560" dirty="0" smtClean="0">
                <a:solidFill>
                  <a:srgbClr val="4E81BC"/>
                </a:solidFill>
                <a:latin typeface="+mj-lt"/>
                <a:cs typeface="Calibri"/>
              </a:rPr>
              <a:t>A</a:t>
            </a:r>
            <a:r>
              <a:rPr sz="4800" spc="0" baseline="2560" dirty="0" smtClean="0">
                <a:solidFill>
                  <a:srgbClr val="4E81BC"/>
                </a:solidFill>
                <a:latin typeface="+mj-lt"/>
                <a:cs typeface="Calibri"/>
              </a:rPr>
              <a:t>N</a:t>
            </a:r>
            <a:endParaRPr sz="3200" dirty="0">
              <a:latin typeface="+mj-lt"/>
              <a:cs typeface="Calibri"/>
            </a:endParaRPr>
          </a:p>
          <a:p>
            <a:pPr marL="12700">
              <a:lnSpc>
                <a:spcPts val="2770"/>
              </a:lnSpc>
            </a:pPr>
            <a:r>
              <a:rPr lang="en-US" sz="3200" baseline="1137" dirty="0" smtClean="0">
                <a:solidFill>
                  <a:srgbClr val="7F7E7E"/>
                </a:solidFill>
                <a:cs typeface="Calibri"/>
              </a:rPr>
              <a:t>The effect of the parameters</a:t>
            </a:r>
            <a:endParaRPr lang="en-US" sz="3200" i="1" baseline="1137" dirty="0">
              <a:solidFill>
                <a:srgbClr val="7F7E7E"/>
              </a:solidFill>
              <a:cs typeface="Calibri"/>
            </a:endParaRPr>
          </a:p>
        </p:txBody>
      </p:sp>
      <p:sp>
        <p:nvSpPr>
          <p:cNvPr id="126" name="object 15"/>
          <p:cNvSpPr txBox="1"/>
          <p:nvPr/>
        </p:nvSpPr>
        <p:spPr>
          <a:xfrm>
            <a:off x="349882" y="365536"/>
            <a:ext cx="1351013" cy="5207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985"/>
              </a:lnSpc>
              <a:spcBef>
                <a:spcPts val="99"/>
              </a:spcBef>
            </a:pPr>
            <a:r>
              <a:rPr sz="2700" spc="0" baseline="3034" dirty="0" smtClean="0">
                <a:solidFill>
                  <a:srgbClr val="215867"/>
                </a:solidFill>
                <a:latin typeface="+mj-lt"/>
                <a:cs typeface="Calibri"/>
              </a:rPr>
              <a:t>epsilon = 1.75</a:t>
            </a:r>
            <a:endParaRPr sz="1800" dirty="0">
              <a:latin typeface="+mj-lt"/>
              <a:cs typeface="Calibri"/>
            </a:endParaRPr>
          </a:p>
          <a:p>
            <a:pPr marL="12700" marR="34289">
              <a:lnSpc>
                <a:spcPts val="2100"/>
              </a:lnSpc>
              <a:spcBef>
                <a:spcPts val="5"/>
              </a:spcBef>
            </a:pPr>
            <a:r>
              <a:rPr sz="2700" spc="0" baseline="1517" dirty="0" smtClean="0">
                <a:solidFill>
                  <a:srgbClr val="215867"/>
                </a:solidFill>
                <a:latin typeface="+mj-lt"/>
                <a:cs typeface="Calibri"/>
              </a:rPr>
              <a:t>n_clu = </a:t>
            </a:r>
            <a:r>
              <a:rPr lang="en-US" sz="2700" spc="0" baseline="1517" dirty="0" smtClean="0">
                <a:solidFill>
                  <a:srgbClr val="C00000"/>
                </a:solidFill>
                <a:latin typeface="+mj-lt"/>
                <a:cs typeface="Calibri"/>
              </a:rPr>
              <a:t>1</a:t>
            </a:r>
            <a:endParaRPr sz="1800" dirty="0">
              <a:solidFill>
                <a:srgbClr val="C00000"/>
              </a:solidFill>
              <a:latin typeface="+mj-lt"/>
              <a:cs typeface="Calibri"/>
            </a:endParaRPr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" name="object 3"/>
          <p:cNvSpPr txBox="1"/>
          <p:nvPr/>
        </p:nvSpPr>
        <p:spPr>
          <a:xfrm>
            <a:off x="5426815" y="6116930"/>
            <a:ext cx="542241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latin typeface="Calibri"/>
                <a:cs typeface="Calibri"/>
              </a:rPr>
              <a:t>Age</a:t>
            </a:r>
            <a:endParaRPr sz="2400">
              <a:latin typeface="Calibri"/>
              <a:cs typeface="Calibri"/>
            </a:endParaRPr>
          </a:p>
        </p:txBody>
      </p:sp>
      <p:sp>
        <p:nvSpPr>
          <p:cNvPr id="88" name="object 82"/>
          <p:cNvSpPr/>
          <p:nvPr/>
        </p:nvSpPr>
        <p:spPr>
          <a:xfrm>
            <a:off x="4414372" y="54871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9" name="object 84"/>
          <p:cNvSpPr/>
          <p:nvPr/>
        </p:nvSpPr>
        <p:spPr>
          <a:xfrm>
            <a:off x="5399747" y="55212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0" name="object 86"/>
          <p:cNvSpPr/>
          <p:nvPr/>
        </p:nvSpPr>
        <p:spPr>
          <a:xfrm>
            <a:off x="6251551" y="55023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1" name="object 74"/>
          <p:cNvSpPr/>
          <p:nvPr/>
        </p:nvSpPr>
        <p:spPr>
          <a:xfrm>
            <a:off x="2668469" y="519520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chemeClr val="tx1"/>
          </a:solidFill>
          <a:ln w="28575">
            <a:solidFill>
              <a:schemeClr val="tx1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2" name="object 72"/>
          <p:cNvSpPr/>
          <p:nvPr/>
        </p:nvSpPr>
        <p:spPr>
          <a:xfrm>
            <a:off x="5959366" y="251737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40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80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3" name="object 70"/>
          <p:cNvSpPr/>
          <p:nvPr/>
        </p:nvSpPr>
        <p:spPr>
          <a:xfrm>
            <a:off x="5560113" y="213564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4" name="object 68"/>
          <p:cNvSpPr/>
          <p:nvPr/>
        </p:nvSpPr>
        <p:spPr>
          <a:xfrm>
            <a:off x="5148028" y="1723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5" name="object 66"/>
          <p:cNvSpPr/>
          <p:nvPr/>
        </p:nvSpPr>
        <p:spPr>
          <a:xfrm>
            <a:off x="6872003" y="34121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6" name="object 63"/>
          <p:cNvSpPr/>
          <p:nvPr/>
        </p:nvSpPr>
        <p:spPr>
          <a:xfrm>
            <a:off x="5880842" y="502152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6"/>
                </a:lnTo>
                <a:lnTo>
                  <a:pt x="1583" y="198179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6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2"/>
                </a:lnTo>
                <a:lnTo>
                  <a:pt x="49876" y="299561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6"/>
                </a:lnTo>
                <a:lnTo>
                  <a:pt x="196530" y="342926"/>
                </a:lnTo>
                <a:lnTo>
                  <a:pt x="209650" y="339004"/>
                </a:lnTo>
                <a:lnTo>
                  <a:pt x="222295" y="333936"/>
                </a:lnTo>
                <a:lnTo>
                  <a:pt x="234413" y="327778"/>
                </a:lnTo>
                <a:lnTo>
                  <a:pt x="245953" y="320583"/>
                </a:lnTo>
                <a:lnTo>
                  <a:pt x="256864" y="312409"/>
                </a:lnTo>
                <a:lnTo>
                  <a:pt x="267095" y="303311"/>
                </a:lnTo>
                <a:lnTo>
                  <a:pt x="276595" y="293343"/>
                </a:lnTo>
                <a:lnTo>
                  <a:pt x="285312" y="282562"/>
                </a:lnTo>
                <a:lnTo>
                  <a:pt x="293195" y="271023"/>
                </a:lnTo>
                <a:lnTo>
                  <a:pt x="300193" y="258781"/>
                </a:lnTo>
                <a:lnTo>
                  <a:pt x="306255" y="245892"/>
                </a:lnTo>
                <a:lnTo>
                  <a:pt x="311330" y="232411"/>
                </a:lnTo>
                <a:lnTo>
                  <a:pt x="315366" y="218394"/>
                </a:lnTo>
                <a:lnTo>
                  <a:pt x="318312" y="203896"/>
                </a:lnTo>
                <a:lnTo>
                  <a:pt x="320117" y="188973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9" y="93485"/>
                </a:lnTo>
                <a:lnTo>
                  <a:pt x="296006" y="80986"/>
                </a:lnTo>
                <a:lnTo>
                  <a:pt x="288459" y="69169"/>
                </a:lnTo>
                <a:lnTo>
                  <a:pt x="280058" y="58089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4"/>
                </a:lnTo>
                <a:lnTo>
                  <a:pt x="86318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7" name="object 62"/>
          <p:cNvSpPr/>
          <p:nvPr/>
        </p:nvSpPr>
        <p:spPr>
          <a:xfrm>
            <a:off x="4326962" y="34938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8" name="object 60"/>
          <p:cNvSpPr/>
          <p:nvPr/>
        </p:nvSpPr>
        <p:spPr>
          <a:xfrm>
            <a:off x="3451263" y="457102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9" name="object 58"/>
          <p:cNvSpPr/>
          <p:nvPr/>
        </p:nvSpPr>
        <p:spPr>
          <a:xfrm>
            <a:off x="7513462" y="204543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0" name="object 56"/>
          <p:cNvSpPr/>
          <p:nvPr/>
        </p:nvSpPr>
        <p:spPr>
          <a:xfrm>
            <a:off x="6553321" y="196196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1" name="object 54"/>
          <p:cNvSpPr/>
          <p:nvPr/>
        </p:nvSpPr>
        <p:spPr>
          <a:xfrm>
            <a:off x="7353097" y="275391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2" name="object 52"/>
          <p:cNvSpPr/>
          <p:nvPr/>
        </p:nvSpPr>
        <p:spPr>
          <a:xfrm>
            <a:off x="4696124" y="412086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3" name="object 50"/>
          <p:cNvSpPr/>
          <p:nvPr/>
        </p:nvSpPr>
        <p:spPr>
          <a:xfrm>
            <a:off x="4441297" y="46123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4" name="object 48"/>
          <p:cNvSpPr/>
          <p:nvPr/>
        </p:nvSpPr>
        <p:spPr>
          <a:xfrm>
            <a:off x="3130532" y="40499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5" name="object 42"/>
          <p:cNvSpPr/>
          <p:nvPr/>
        </p:nvSpPr>
        <p:spPr>
          <a:xfrm>
            <a:off x="5748103" y="33118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6" name="object 44"/>
          <p:cNvSpPr/>
          <p:nvPr/>
        </p:nvSpPr>
        <p:spPr>
          <a:xfrm>
            <a:off x="5560113" y="25802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7" name="object 46"/>
          <p:cNvSpPr/>
          <p:nvPr/>
        </p:nvSpPr>
        <p:spPr>
          <a:xfrm>
            <a:off x="5421508" y="296447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8" name="object 40"/>
          <p:cNvSpPr/>
          <p:nvPr/>
        </p:nvSpPr>
        <p:spPr>
          <a:xfrm>
            <a:off x="5213120" y="49216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9" name="object 38"/>
          <p:cNvSpPr/>
          <p:nvPr/>
        </p:nvSpPr>
        <p:spPr>
          <a:xfrm>
            <a:off x="7032365" y="221911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0" name="object 36"/>
          <p:cNvSpPr/>
          <p:nvPr/>
        </p:nvSpPr>
        <p:spPr>
          <a:xfrm>
            <a:off x="7385165" y="340218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6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7"/>
                </a:lnTo>
                <a:lnTo>
                  <a:pt x="310251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1" name="object 34"/>
          <p:cNvSpPr/>
          <p:nvPr/>
        </p:nvSpPr>
        <p:spPr>
          <a:xfrm>
            <a:off x="5038354" y="24830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2" name="object 32"/>
          <p:cNvSpPr/>
          <p:nvPr/>
        </p:nvSpPr>
        <p:spPr>
          <a:xfrm>
            <a:off x="7192732" y="159327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3" name="object 30"/>
          <p:cNvSpPr/>
          <p:nvPr/>
        </p:nvSpPr>
        <p:spPr>
          <a:xfrm>
            <a:off x="6201572" y="316997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4" name="object 28"/>
          <p:cNvSpPr/>
          <p:nvPr/>
        </p:nvSpPr>
        <p:spPr>
          <a:xfrm>
            <a:off x="4877989" y="532865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5" name="object 26"/>
          <p:cNvSpPr/>
          <p:nvPr/>
        </p:nvSpPr>
        <p:spPr>
          <a:xfrm>
            <a:off x="5581873" y="4521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6" name="object 24"/>
          <p:cNvSpPr/>
          <p:nvPr/>
        </p:nvSpPr>
        <p:spPr>
          <a:xfrm>
            <a:off x="3528670" y="35173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7" name="object 22"/>
          <p:cNvSpPr/>
          <p:nvPr/>
        </p:nvSpPr>
        <p:spPr>
          <a:xfrm>
            <a:off x="3252845" y="520650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chemeClr val="tx1"/>
          </a:solidFill>
          <a:ln w="28575">
            <a:solidFill>
              <a:schemeClr val="tx1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8" name="object 20"/>
          <p:cNvSpPr/>
          <p:nvPr/>
        </p:nvSpPr>
        <p:spPr>
          <a:xfrm>
            <a:off x="3849401" y="4051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9" name="object 18"/>
          <p:cNvSpPr/>
          <p:nvPr/>
        </p:nvSpPr>
        <p:spPr>
          <a:xfrm>
            <a:off x="6713687" y="269105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0" name="object 6"/>
          <p:cNvSpPr txBox="1"/>
          <p:nvPr/>
        </p:nvSpPr>
        <p:spPr>
          <a:xfrm>
            <a:off x="1332125" y="3759280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grpSp>
        <p:nvGrpSpPr>
          <p:cNvPr id="121" name="Group 120"/>
          <p:cNvGrpSpPr/>
          <p:nvPr/>
        </p:nvGrpSpPr>
        <p:grpSpPr>
          <a:xfrm>
            <a:off x="2383438" y="1888930"/>
            <a:ext cx="6303362" cy="4054670"/>
            <a:chOff x="2343901" y="1923700"/>
            <a:chExt cx="6303362" cy="4054670"/>
          </a:xfrm>
        </p:grpSpPr>
        <p:sp>
          <p:nvSpPr>
            <p:cNvPr id="122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123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  <p:sp>
        <p:nvSpPr>
          <p:cNvPr id="124" name="object 5"/>
          <p:cNvSpPr txBox="1"/>
          <p:nvPr/>
        </p:nvSpPr>
        <p:spPr>
          <a:xfrm>
            <a:off x="2101916" y="365536"/>
            <a:ext cx="6889684" cy="807913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 marR="41909">
              <a:lnSpc>
                <a:spcPts val="3454"/>
              </a:lnSpc>
              <a:spcBef>
                <a:spcPts val="172"/>
              </a:spcBef>
            </a:pPr>
            <a:r>
              <a:rPr sz="4800" spc="0" baseline="2560" dirty="0" smtClean="0">
                <a:solidFill>
                  <a:srgbClr val="4E81BC"/>
                </a:solidFill>
                <a:latin typeface="+mj-lt"/>
                <a:cs typeface="Calibri"/>
              </a:rPr>
              <a:t>DBSC</a:t>
            </a:r>
            <a:r>
              <a:rPr sz="4800" spc="-4" baseline="2560" dirty="0" smtClean="0">
                <a:solidFill>
                  <a:srgbClr val="4E81BC"/>
                </a:solidFill>
                <a:latin typeface="+mj-lt"/>
                <a:cs typeface="Calibri"/>
              </a:rPr>
              <a:t>A</a:t>
            </a:r>
            <a:r>
              <a:rPr sz="4800" spc="0" baseline="2560" dirty="0" smtClean="0">
                <a:solidFill>
                  <a:srgbClr val="4E81BC"/>
                </a:solidFill>
                <a:latin typeface="+mj-lt"/>
                <a:cs typeface="Calibri"/>
              </a:rPr>
              <a:t>N</a:t>
            </a:r>
            <a:endParaRPr sz="3200" dirty="0">
              <a:latin typeface="+mj-lt"/>
              <a:cs typeface="Calibri"/>
            </a:endParaRPr>
          </a:p>
          <a:p>
            <a:pPr marL="12700">
              <a:lnSpc>
                <a:spcPts val="2770"/>
              </a:lnSpc>
            </a:pPr>
            <a:r>
              <a:rPr lang="en-US" sz="3200" baseline="1137" dirty="0" smtClean="0">
                <a:solidFill>
                  <a:srgbClr val="7F7E7E"/>
                </a:solidFill>
                <a:cs typeface="Calibri"/>
              </a:rPr>
              <a:t>The effect of the parameters</a:t>
            </a:r>
            <a:endParaRPr lang="en-US" sz="3200" i="1" baseline="1137" dirty="0">
              <a:solidFill>
                <a:srgbClr val="7F7E7E"/>
              </a:solidFill>
              <a:cs typeface="Calibri"/>
            </a:endParaRPr>
          </a:p>
        </p:txBody>
      </p:sp>
      <p:sp>
        <p:nvSpPr>
          <p:cNvPr id="126" name="object 15"/>
          <p:cNvSpPr txBox="1"/>
          <p:nvPr/>
        </p:nvSpPr>
        <p:spPr>
          <a:xfrm>
            <a:off x="349882" y="365536"/>
            <a:ext cx="1351013" cy="5207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985"/>
              </a:lnSpc>
              <a:spcBef>
                <a:spcPts val="99"/>
              </a:spcBef>
            </a:pPr>
            <a:r>
              <a:rPr sz="2700" spc="0" baseline="3034" dirty="0" smtClean="0">
                <a:solidFill>
                  <a:srgbClr val="215867"/>
                </a:solidFill>
                <a:latin typeface="+mj-lt"/>
                <a:cs typeface="Calibri"/>
              </a:rPr>
              <a:t>epsilon = </a:t>
            </a:r>
            <a:r>
              <a:rPr sz="2700" spc="0" baseline="3034" dirty="0" smtClean="0">
                <a:solidFill>
                  <a:srgbClr val="C00000"/>
                </a:solidFill>
                <a:latin typeface="+mj-lt"/>
                <a:cs typeface="Calibri"/>
              </a:rPr>
              <a:t>1.</a:t>
            </a:r>
            <a:r>
              <a:rPr lang="en-US" sz="2700" spc="0" baseline="3034" dirty="0" smtClean="0">
                <a:solidFill>
                  <a:srgbClr val="C00000"/>
                </a:solidFill>
                <a:latin typeface="+mj-lt"/>
                <a:cs typeface="Calibri"/>
              </a:rPr>
              <a:t>2</a:t>
            </a:r>
            <a:r>
              <a:rPr sz="2700" spc="0" baseline="3034" dirty="0" smtClean="0">
                <a:solidFill>
                  <a:srgbClr val="C00000"/>
                </a:solidFill>
                <a:latin typeface="+mj-lt"/>
                <a:cs typeface="Calibri"/>
              </a:rPr>
              <a:t>5</a:t>
            </a:r>
            <a:endParaRPr sz="1800" dirty="0">
              <a:solidFill>
                <a:srgbClr val="C00000"/>
              </a:solidFill>
              <a:latin typeface="+mj-lt"/>
              <a:cs typeface="Calibri"/>
            </a:endParaRPr>
          </a:p>
          <a:p>
            <a:pPr marL="12700" marR="34289">
              <a:lnSpc>
                <a:spcPts val="2100"/>
              </a:lnSpc>
              <a:spcBef>
                <a:spcPts val="5"/>
              </a:spcBef>
            </a:pPr>
            <a:r>
              <a:rPr sz="2700" spc="0" baseline="1517" dirty="0" err="1" smtClean="0">
                <a:solidFill>
                  <a:srgbClr val="215867"/>
                </a:solidFill>
                <a:latin typeface="+mj-lt"/>
                <a:cs typeface="Calibri"/>
              </a:rPr>
              <a:t>n_clu</a:t>
            </a:r>
            <a:r>
              <a:rPr sz="2700" spc="0" baseline="1517" dirty="0" smtClean="0">
                <a:solidFill>
                  <a:srgbClr val="215867"/>
                </a:solidFill>
                <a:latin typeface="+mj-lt"/>
                <a:cs typeface="Calibri"/>
              </a:rPr>
              <a:t> =</a:t>
            </a:r>
            <a:r>
              <a:rPr lang="en-US" sz="2700" spc="0" baseline="1517" dirty="0" smtClean="0">
                <a:solidFill>
                  <a:srgbClr val="215867"/>
                </a:solidFill>
                <a:latin typeface="+mj-lt"/>
                <a:cs typeface="Calibri"/>
              </a:rPr>
              <a:t> 3</a:t>
            </a:r>
            <a:r>
              <a:rPr sz="2700" spc="0" baseline="1517" dirty="0" smtClean="0">
                <a:solidFill>
                  <a:srgbClr val="215867"/>
                </a:solidFill>
                <a:latin typeface="+mj-lt"/>
                <a:cs typeface="Calibri"/>
              </a:rPr>
              <a:t> </a:t>
            </a:r>
            <a:endParaRPr sz="1800" dirty="0">
              <a:solidFill>
                <a:srgbClr val="C00000"/>
              </a:solidFill>
              <a:latin typeface="+mj-lt"/>
              <a:cs typeface="Calibri"/>
            </a:endParaRPr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" name="object 3"/>
          <p:cNvSpPr txBox="1"/>
          <p:nvPr/>
        </p:nvSpPr>
        <p:spPr>
          <a:xfrm>
            <a:off x="5426815" y="6116930"/>
            <a:ext cx="542241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latin typeface="Calibri"/>
                <a:cs typeface="Calibri"/>
              </a:rPr>
              <a:t>Age</a:t>
            </a:r>
            <a:endParaRPr sz="2400">
              <a:latin typeface="Calibri"/>
              <a:cs typeface="Calibri"/>
            </a:endParaRPr>
          </a:p>
        </p:txBody>
      </p:sp>
      <p:sp>
        <p:nvSpPr>
          <p:cNvPr id="88" name="object 82"/>
          <p:cNvSpPr/>
          <p:nvPr/>
        </p:nvSpPr>
        <p:spPr>
          <a:xfrm>
            <a:off x="4414372" y="54871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9" name="object 84"/>
          <p:cNvSpPr/>
          <p:nvPr/>
        </p:nvSpPr>
        <p:spPr>
          <a:xfrm>
            <a:off x="5399747" y="55212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0" name="object 86"/>
          <p:cNvSpPr/>
          <p:nvPr/>
        </p:nvSpPr>
        <p:spPr>
          <a:xfrm>
            <a:off x="6251551" y="55023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1" name="object 74"/>
          <p:cNvSpPr/>
          <p:nvPr/>
        </p:nvSpPr>
        <p:spPr>
          <a:xfrm>
            <a:off x="2668469" y="519520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chemeClr val="tx1"/>
          </a:solidFill>
          <a:ln w="28575">
            <a:solidFill>
              <a:schemeClr val="tx1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2" name="object 72"/>
          <p:cNvSpPr/>
          <p:nvPr/>
        </p:nvSpPr>
        <p:spPr>
          <a:xfrm>
            <a:off x="5959366" y="251737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40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80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3" name="object 70"/>
          <p:cNvSpPr/>
          <p:nvPr/>
        </p:nvSpPr>
        <p:spPr>
          <a:xfrm>
            <a:off x="5560113" y="213564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4" name="object 68"/>
          <p:cNvSpPr/>
          <p:nvPr/>
        </p:nvSpPr>
        <p:spPr>
          <a:xfrm>
            <a:off x="5148028" y="1723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5" name="object 66"/>
          <p:cNvSpPr/>
          <p:nvPr/>
        </p:nvSpPr>
        <p:spPr>
          <a:xfrm>
            <a:off x="6872003" y="34121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6" name="object 63"/>
          <p:cNvSpPr/>
          <p:nvPr/>
        </p:nvSpPr>
        <p:spPr>
          <a:xfrm>
            <a:off x="5880842" y="502152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6"/>
                </a:lnTo>
                <a:lnTo>
                  <a:pt x="1583" y="198179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6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2"/>
                </a:lnTo>
                <a:lnTo>
                  <a:pt x="49876" y="299561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6"/>
                </a:lnTo>
                <a:lnTo>
                  <a:pt x="196530" y="342926"/>
                </a:lnTo>
                <a:lnTo>
                  <a:pt x="209650" y="339004"/>
                </a:lnTo>
                <a:lnTo>
                  <a:pt x="222295" y="333936"/>
                </a:lnTo>
                <a:lnTo>
                  <a:pt x="234413" y="327778"/>
                </a:lnTo>
                <a:lnTo>
                  <a:pt x="245953" y="320583"/>
                </a:lnTo>
                <a:lnTo>
                  <a:pt x="256864" y="312409"/>
                </a:lnTo>
                <a:lnTo>
                  <a:pt x="267095" y="303311"/>
                </a:lnTo>
                <a:lnTo>
                  <a:pt x="276595" y="293343"/>
                </a:lnTo>
                <a:lnTo>
                  <a:pt x="285312" y="282562"/>
                </a:lnTo>
                <a:lnTo>
                  <a:pt x="293195" y="271023"/>
                </a:lnTo>
                <a:lnTo>
                  <a:pt x="300193" y="258781"/>
                </a:lnTo>
                <a:lnTo>
                  <a:pt x="306255" y="245892"/>
                </a:lnTo>
                <a:lnTo>
                  <a:pt x="311330" y="232411"/>
                </a:lnTo>
                <a:lnTo>
                  <a:pt x="315366" y="218394"/>
                </a:lnTo>
                <a:lnTo>
                  <a:pt x="318312" y="203896"/>
                </a:lnTo>
                <a:lnTo>
                  <a:pt x="320117" y="188973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9" y="93485"/>
                </a:lnTo>
                <a:lnTo>
                  <a:pt x="296006" y="80986"/>
                </a:lnTo>
                <a:lnTo>
                  <a:pt x="288459" y="69169"/>
                </a:lnTo>
                <a:lnTo>
                  <a:pt x="280058" y="58089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4"/>
                </a:lnTo>
                <a:lnTo>
                  <a:pt x="86318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7" name="object 62"/>
          <p:cNvSpPr/>
          <p:nvPr/>
        </p:nvSpPr>
        <p:spPr>
          <a:xfrm>
            <a:off x="4326962" y="34938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8" name="object 60"/>
          <p:cNvSpPr/>
          <p:nvPr/>
        </p:nvSpPr>
        <p:spPr>
          <a:xfrm>
            <a:off x="3451263" y="457102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9" name="object 58"/>
          <p:cNvSpPr/>
          <p:nvPr/>
        </p:nvSpPr>
        <p:spPr>
          <a:xfrm>
            <a:off x="7513462" y="204543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0" name="object 56"/>
          <p:cNvSpPr/>
          <p:nvPr/>
        </p:nvSpPr>
        <p:spPr>
          <a:xfrm>
            <a:off x="6553321" y="196196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1" name="object 54"/>
          <p:cNvSpPr/>
          <p:nvPr/>
        </p:nvSpPr>
        <p:spPr>
          <a:xfrm>
            <a:off x="7353097" y="275391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2" name="object 52"/>
          <p:cNvSpPr/>
          <p:nvPr/>
        </p:nvSpPr>
        <p:spPr>
          <a:xfrm>
            <a:off x="4696124" y="412086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3" name="object 50"/>
          <p:cNvSpPr/>
          <p:nvPr/>
        </p:nvSpPr>
        <p:spPr>
          <a:xfrm>
            <a:off x="4441297" y="46123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4" name="object 48"/>
          <p:cNvSpPr/>
          <p:nvPr/>
        </p:nvSpPr>
        <p:spPr>
          <a:xfrm>
            <a:off x="3130532" y="40499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5" name="object 42"/>
          <p:cNvSpPr/>
          <p:nvPr/>
        </p:nvSpPr>
        <p:spPr>
          <a:xfrm>
            <a:off x="5748103" y="33118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6" name="object 44"/>
          <p:cNvSpPr/>
          <p:nvPr/>
        </p:nvSpPr>
        <p:spPr>
          <a:xfrm>
            <a:off x="5560113" y="25802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7" name="object 46"/>
          <p:cNvSpPr/>
          <p:nvPr/>
        </p:nvSpPr>
        <p:spPr>
          <a:xfrm>
            <a:off x="5421508" y="296447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8" name="object 40"/>
          <p:cNvSpPr/>
          <p:nvPr/>
        </p:nvSpPr>
        <p:spPr>
          <a:xfrm>
            <a:off x="5213120" y="49216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9" name="object 38"/>
          <p:cNvSpPr/>
          <p:nvPr/>
        </p:nvSpPr>
        <p:spPr>
          <a:xfrm>
            <a:off x="7032365" y="221911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0" name="object 36"/>
          <p:cNvSpPr/>
          <p:nvPr/>
        </p:nvSpPr>
        <p:spPr>
          <a:xfrm>
            <a:off x="7385165" y="340218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6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7"/>
                </a:lnTo>
                <a:lnTo>
                  <a:pt x="310251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1" name="object 34"/>
          <p:cNvSpPr/>
          <p:nvPr/>
        </p:nvSpPr>
        <p:spPr>
          <a:xfrm>
            <a:off x="5038354" y="24830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2" name="object 32"/>
          <p:cNvSpPr/>
          <p:nvPr/>
        </p:nvSpPr>
        <p:spPr>
          <a:xfrm>
            <a:off x="7192732" y="159327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3" name="object 30"/>
          <p:cNvSpPr/>
          <p:nvPr/>
        </p:nvSpPr>
        <p:spPr>
          <a:xfrm>
            <a:off x="6201572" y="316997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4" name="object 28"/>
          <p:cNvSpPr/>
          <p:nvPr/>
        </p:nvSpPr>
        <p:spPr>
          <a:xfrm>
            <a:off x="4877989" y="532865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5" name="object 26"/>
          <p:cNvSpPr/>
          <p:nvPr/>
        </p:nvSpPr>
        <p:spPr>
          <a:xfrm>
            <a:off x="5581873" y="4521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6" name="object 24"/>
          <p:cNvSpPr/>
          <p:nvPr/>
        </p:nvSpPr>
        <p:spPr>
          <a:xfrm>
            <a:off x="3528670" y="35173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7" name="object 22"/>
          <p:cNvSpPr/>
          <p:nvPr/>
        </p:nvSpPr>
        <p:spPr>
          <a:xfrm>
            <a:off x="3252845" y="520650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chemeClr val="tx1"/>
          </a:solidFill>
          <a:ln w="28575">
            <a:solidFill>
              <a:schemeClr val="tx1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8" name="object 20"/>
          <p:cNvSpPr/>
          <p:nvPr/>
        </p:nvSpPr>
        <p:spPr>
          <a:xfrm>
            <a:off x="3849401" y="4051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9" name="object 18"/>
          <p:cNvSpPr/>
          <p:nvPr/>
        </p:nvSpPr>
        <p:spPr>
          <a:xfrm>
            <a:off x="6713687" y="269105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0" name="object 6"/>
          <p:cNvSpPr txBox="1"/>
          <p:nvPr/>
        </p:nvSpPr>
        <p:spPr>
          <a:xfrm>
            <a:off x="1332125" y="3759280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grpSp>
        <p:nvGrpSpPr>
          <p:cNvPr id="121" name="Group 120"/>
          <p:cNvGrpSpPr/>
          <p:nvPr/>
        </p:nvGrpSpPr>
        <p:grpSpPr>
          <a:xfrm>
            <a:off x="2383438" y="1888930"/>
            <a:ext cx="6303362" cy="4054670"/>
            <a:chOff x="2343901" y="1923700"/>
            <a:chExt cx="6303362" cy="4054670"/>
          </a:xfrm>
        </p:grpSpPr>
        <p:sp>
          <p:nvSpPr>
            <p:cNvPr id="122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123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  <p:sp>
        <p:nvSpPr>
          <p:cNvPr id="124" name="object 5"/>
          <p:cNvSpPr txBox="1"/>
          <p:nvPr/>
        </p:nvSpPr>
        <p:spPr>
          <a:xfrm>
            <a:off x="2101916" y="365536"/>
            <a:ext cx="6889684" cy="807913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 marR="41909">
              <a:lnSpc>
                <a:spcPts val="3454"/>
              </a:lnSpc>
              <a:spcBef>
                <a:spcPts val="172"/>
              </a:spcBef>
            </a:pPr>
            <a:r>
              <a:rPr sz="4800" spc="0" baseline="2560" dirty="0" smtClean="0">
                <a:solidFill>
                  <a:srgbClr val="4E81BC"/>
                </a:solidFill>
                <a:latin typeface="+mj-lt"/>
                <a:cs typeface="Calibri"/>
              </a:rPr>
              <a:t>DBSC</a:t>
            </a:r>
            <a:r>
              <a:rPr sz="4800" spc="-4" baseline="2560" dirty="0" smtClean="0">
                <a:solidFill>
                  <a:srgbClr val="4E81BC"/>
                </a:solidFill>
                <a:latin typeface="+mj-lt"/>
                <a:cs typeface="Calibri"/>
              </a:rPr>
              <a:t>A</a:t>
            </a:r>
            <a:r>
              <a:rPr sz="4800" spc="0" baseline="2560" dirty="0" smtClean="0">
                <a:solidFill>
                  <a:srgbClr val="4E81BC"/>
                </a:solidFill>
                <a:latin typeface="+mj-lt"/>
                <a:cs typeface="Calibri"/>
              </a:rPr>
              <a:t>N</a:t>
            </a:r>
            <a:endParaRPr sz="3200" dirty="0">
              <a:latin typeface="+mj-lt"/>
              <a:cs typeface="Calibri"/>
            </a:endParaRPr>
          </a:p>
          <a:p>
            <a:pPr marL="12700">
              <a:lnSpc>
                <a:spcPts val="2770"/>
              </a:lnSpc>
            </a:pPr>
            <a:r>
              <a:rPr lang="en-US" sz="3200" baseline="1137" dirty="0" smtClean="0">
                <a:solidFill>
                  <a:srgbClr val="7F7E7E"/>
                </a:solidFill>
                <a:cs typeface="Calibri"/>
              </a:rPr>
              <a:t>The effect of the parameters</a:t>
            </a:r>
            <a:endParaRPr lang="en-US" sz="3200" i="1" baseline="1137" dirty="0">
              <a:solidFill>
                <a:srgbClr val="7F7E7E"/>
              </a:solidFill>
              <a:cs typeface="Calibri"/>
            </a:endParaRPr>
          </a:p>
        </p:txBody>
      </p:sp>
      <p:sp>
        <p:nvSpPr>
          <p:cNvPr id="125" name="object 15"/>
          <p:cNvSpPr txBox="1"/>
          <p:nvPr/>
        </p:nvSpPr>
        <p:spPr>
          <a:xfrm>
            <a:off x="349882" y="365536"/>
            <a:ext cx="1351013" cy="5207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985"/>
              </a:lnSpc>
              <a:spcBef>
                <a:spcPts val="99"/>
              </a:spcBef>
            </a:pPr>
            <a:r>
              <a:rPr sz="2700" spc="0" baseline="3034" dirty="0" smtClean="0">
                <a:solidFill>
                  <a:srgbClr val="215867"/>
                </a:solidFill>
                <a:latin typeface="+mj-lt"/>
                <a:cs typeface="Calibri"/>
              </a:rPr>
              <a:t>epsilon = </a:t>
            </a:r>
            <a:r>
              <a:rPr sz="2700" spc="0" baseline="3034" dirty="0" smtClean="0">
                <a:solidFill>
                  <a:srgbClr val="C00000"/>
                </a:solidFill>
                <a:latin typeface="+mj-lt"/>
                <a:cs typeface="Calibri"/>
              </a:rPr>
              <a:t>1.</a:t>
            </a:r>
            <a:r>
              <a:rPr lang="en-US" sz="2700" spc="0" baseline="3034" dirty="0" smtClean="0">
                <a:solidFill>
                  <a:srgbClr val="C00000"/>
                </a:solidFill>
                <a:latin typeface="+mj-lt"/>
                <a:cs typeface="Calibri"/>
              </a:rPr>
              <a:t>00</a:t>
            </a:r>
            <a:endParaRPr sz="1800" dirty="0">
              <a:solidFill>
                <a:srgbClr val="C00000"/>
              </a:solidFill>
              <a:latin typeface="+mj-lt"/>
              <a:cs typeface="Calibri"/>
            </a:endParaRPr>
          </a:p>
          <a:p>
            <a:pPr marL="12700" marR="34289">
              <a:lnSpc>
                <a:spcPts val="2100"/>
              </a:lnSpc>
              <a:spcBef>
                <a:spcPts val="5"/>
              </a:spcBef>
            </a:pPr>
            <a:r>
              <a:rPr sz="2700" spc="0" baseline="1517" dirty="0" err="1" smtClean="0">
                <a:solidFill>
                  <a:srgbClr val="215867"/>
                </a:solidFill>
                <a:latin typeface="+mj-lt"/>
                <a:cs typeface="Calibri"/>
              </a:rPr>
              <a:t>n_clu</a:t>
            </a:r>
            <a:r>
              <a:rPr sz="2700" spc="0" baseline="1517" dirty="0" smtClean="0">
                <a:solidFill>
                  <a:srgbClr val="215867"/>
                </a:solidFill>
                <a:latin typeface="+mj-lt"/>
                <a:cs typeface="Calibri"/>
              </a:rPr>
              <a:t> =</a:t>
            </a:r>
            <a:r>
              <a:rPr lang="en-US" sz="2700" spc="0" baseline="1517" dirty="0" smtClean="0">
                <a:solidFill>
                  <a:srgbClr val="215867"/>
                </a:solidFill>
                <a:latin typeface="+mj-lt"/>
                <a:cs typeface="Calibri"/>
              </a:rPr>
              <a:t> 3</a:t>
            </a:r>
            <a:r>
              <a:rPr sz="2700" spc="0" baseline="1517" dirty="0" smtClean="0">
                <a:solidFill>
                  <a:srgbClr val="215867"/>
                </a:solidFill>
                <a:latin typeface="+mj-lt"/>
                <a:cs typeface="Calibri"/>
              </a:rPr>
              <a:t> </a:t>
            </a:r>
            <a:endParaRPr sz="1800" dirty="0">
              <a:solidFill>
                <a:srgbClr val="C00000"/>
              </a:solidFill>
              <a:latin typeface="+mj-lt"/>
              <a:cs typeface="Calibri"/>
            </a:endParaRPr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" name="object 5"/>
          <p:cNvSpPr txBox="1"/>
          <p:nvPr/>
        </p:nvSpPr>
        <p:spPr>
          <a:xfrm>
            <a:off x="2101916" y="365536"/>
            <a:ext cx="6889684" cy="807913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 marR="41909">
              <a:lnSpc>
                <a:spcPts val="3454"/>
              </a:lnSpc>
              <a:spcBef>
                <a:spcPts val="172"/>
              </a:spcBef>
            </a:pPr>
            <a:r>
              <a:rPr sz="4800" spc="0" baseline="2560" dirty="0" smtClean="0">
                <a:solidFill>
                  <a:srgbClr val="4E81BC"/>
                </a:solidFill>
                <a:latin typeface="+mj-lt"/>
                <a:cs typeface="Calibri"/>
              </a:rPr>
              <a:t>DBSC</a:t>
            </a:r>
            <a:r>
              <a:rPr sz="4800" spc="-4" baseline="2560" dirty="0" smtClean="0">
                <a:solidFill>
                  <a:srgbClr val="4E81BC"/>
                </a:solidFill>
                <a:latin typeface="+mj-lt"/>
                <a:cs typeface="Calibri"/>
              </a:rPr>
              <a:t>A</a:t>
            </a:r>
            <a:r>
              <a:rPr sz="4800" spc="0" baseline="2560" dirty="0" smtClean="0">
                <a:solidFill>
                  <a:srgbClr val="4E81BC"/>
                </a:solidFill>
                <a:latin typeface="+mj-lt"/>
                <a:cs typeface="Calibri"/>
              </a:rPr>
              <a:t>N</a:t>
            </a:r>
            <a:endParaRPr sz="3200" dirty="0">
              <a:latin typeface="+mj-lt"/>
              <a:cs typeface="Calibri"/>
            </a:endParaRPr>
          </a:p>
          <a:p>
            <a:pPr marL="12700">
              <a:lnSpc>
                <a:spcPts val="2770"/>
              </a:lnSpc>
            </a:pPr>
            <a:r>
              <a:rPr lang="en-US" sz="3200" baseline="1137" dirty="0" smtClean="0">
                <a:solidFill>
                  <a:srgbClr val="7F7E7E"/>
                </a:solidFill>
                <a:cs typeface="Calibri"/>
              </a:rPr>
              <a:t>The effect of the parameters</a:t>
            </a:r>
            <a:endParaRPr lang="en-US" sz="3200" i="1" baseline="1137" dirty="0">
              <a:solidFill>
                <a:srgbClr val="7F7E7E"/>
              </a:solidFill>
              <a:cs typeface="Calibri"/>
            </a:endParaRPr>
          </a:p>
        </p:txBody>
      </p:sp>
      <p:sp>
        <p:nvSpPr>
          <p:cNvPr id="88" name="object 15"/>
          <p:cNvSpPr txBox="1"/>
          <p:nvPr/>
        </p:nvSpPr>
        <p:spPr>
          <a:xfrm>
            <a:off x="349882" y="365536"/>
            <a:ext cx="1351013" cy="5207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985"/>
              </a:lnSpc>
              <a:spcBef>
                <a:spcPts val="99"/>
              </a:spcBef>
            </a:pPr>
            <a:r>
              <a:rPr sz="2700" spc="0" baseline="3034" dirty="0" smtClean="0">
                <a:solidFill>
                  <a:srgbClr val="215867"/>
                </a:solidFill>
                <a:latin typeface="+mj-lt"/>
                <a:cs typeface="Calibri"/>
              </a:rPr>
              <a:t>epsilon = </a:t>
            </a:r>
            <a:r>
              <a:rPr lang="en-US" sz="2700" spc="0" baseline="3034" dirty="0" smtClean="0">
                <a:solidFill>
                  <a:srgbClr val="C00000"/>
                </a:solidFill>
                <a:latin typeface="+mj-lt"/>
                <a:cs typeface="Calibri"/>
              </a:rPr>
              <a:t>3.50</a:t>
            </a:r>
            <a:endParaRPr sz="1800" dirty="0">
              <a:solidFill>
                <a:srgbClr val="C00000"/>
              </a:solidFill>
              <a:latin typeface="+mj-lt"/>
              <a:cs typeface="Calibri"/>
            </a:endParaRPr>
          </a:p>
          <a:p>
            <a:pPr marL="12700" marR="34289">
              <a:lnSpc>
                <a:spcPts val="2100"/>
              </a:lnSpc>
              <a:spcBef>
                <a:spcPts val="5"/>
              </a:spcBef>
            </a:pPr>
            <a:r>
              <a:rPr sz="2700" spc="0" baseline="1517" dirty="0" err="1" smtClean="0">
                <a:solidFill>
                  <a:srgbClr val="215867"/>
                </a:solidFill>
                <a:latin typeface="+mj-lt"/>
                <a:cs typeface="Calibri"/>
              </a:rPr>
              <a:t>n_clu</a:t>
            </a:r>
            <a:r>
              <a:rPr sz="2700" spc="0" baseline="1517" dirty="0" smtClean="0">
                <a:solidFill>
                  <a:srgbClr val="215867"/>
                </a:solidFill>
                <a:latin typeface="+mj-lt"/>
                <a:cs typeface="Calibri"/>
              </a:rPr>
              <a:t> =</a:t>
            </a:r>
            <a:r>
              <a:rPr lang="en-US" sz="2700" spc="0" baseline="1517" dirty="0" smtClean="0">
                <a:solidFill>
                  <a:srgbClr val="215867"/>
                </a:solidFill>
                <a:latin typeface="+mj-lt"/>
                <a:cs typeface="Calibri"/>
              </a:rPr>
              <a:t> 3</a:t>
            </a:r>
            <a:r>
              <a:rPr sz="2700" spc="0" baseline="1517" dirty="0" smtClean="0">
                <a:solidFill>
                  <a:srgbClr val="215867"/>
                </a:solidFill>
                <a:latin typeface="+mj-lt"/>
                <a:cs typeface="Calibri"/>
              </a:rPr>
              <a:t> </a:t>
            </a:r>
            <a:endParaRPr sz="1800" dirty="0">
              <a:solidFill>
                <a:srgbClr val="C00000"/>
              </a:solidFill>
              <a:latin typeface="+mj-lt"/>
              <a:cs typeface="Calibri"/>
            </a:endParaRPr>
          </a:p>
        </p:txBody>
      </p:sp>
      <p:sp>
        <p:nvSpPr>
          <p:cNvPr id="89" name="object 3"/>
          <p:cNvSpPr txBox="1"/>
          <p:nvPr/>
        </p:nvSpPr>
        <p:spPr>
          <a:xfrm>
            <a:off x="5426815" y="6116930"/>
            <a:ext cx="542241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latin typeface="Calibri"/>
                <a:cs typeface="Calibri"/>
              </a:rPr>
              <a:t>Age</a:t>
            </a:r>
            <a:endParaRPr sz="2400">
              <a:latin typeface="Calibri"/>
              <a:cs typeface="Calibri"/>
            </a:endParaRPr>
          </a:p>
        </p:txBody>
      </p:sp>
      <p:sp>
        <p:nvSpPr>
          <p:cNvPr id="90" name="object 82"/>
          <p:cNvSpPr/>
          <p:nvPr/>
        </p:nvSpPr>
        <p:spPr>
          <a:xfrm>
            <a:off x="4414372" y="54871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1" name="object 84"/>
          <p:cNvSpPr/>
          <p:nvPr/>
        </p:nvSpPr>
        <p:spPr>
          <a:xfrm>
            <a:off x="5399747" y="55212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2" name="object 86"/>
          <p:cNvSpPr/>
          <p:nvPr/>
        </p:nvSpPr>
        <p:spPr>
          <a:xfrm>
            <a:off x="6251551" y="55023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3" name="object 74"/>
          <p:cNvSpPr/>
          <p:nvPr/>
        </p:nvSpPr>
        <p:spPr>
          <a:xfrm>
            <a:off x="2668469" y="519520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4" name="object 72"/>
          <p:cNvSpPr/>
          <p:nvPr/>
        </p:nvSpPr>
        <p:spPr>
          <a:xfrm>
            <a:off x="5959366" y="251737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40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80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5" name="object 70"/>
          <p:cNvSpPr/>
          <p:nvPr/>
        </p:nvSpPr>
        <p:spPr>
          <a:xfrm>
            <a:off x="5560113" y="213564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6" name="object 68"/>
          <p:cNvSpPr/>
          <p:nvPr/>
        </p:nvSpPr>
        <p:spPr>
          <a:xfrm>
            <a:off x="5148028" y="1723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7" name="object 66"/>
          <p:cNvSpPr/>
          <p:nvPr/>
        </p:nvSpPr>
        <p:spPr>
          <a:xfrm>
            <a:off x="6872003" y="34121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8" name="object 63"/>
          <p:cNvSpPr/>
          <p:nvPr/>
        </p:nvSpPr>
        <p:spPr>
          <a:xfrm>
            <a:off x="5880842" y="502152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6"/>
                </a:lnTo>
                <a:lnTo>
                  <a:pt x="1583" y="198179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6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2"/>
                </a:lnTo>
                <a:lnTo>
                  <a:pt x="49876" y="299561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6"/>
                </a:lnTo>
                <a:lnTo>
                  <a:pt x="196530" y="342926"/>
                </a:lnTo>
                <a:lnTo>
                  <a:pt x="209650" y="339004"/>
                </a:lnTo>
                <a:lnTo>
                  <a:pt x="222295" y="333936"/>
                </a:lnTo>
                <a:lnTo>
                  <a:pt x="234413" y="327778"/>
                </a:lnTo>
                <a:lnTo>
                  <a:pt x="245953" y="320583"/>
                </a:lnTo>
                <a:lnTo>
                  <a:pt x="256864" y="312409"/>
                </a:lnTo>
                <a:lnTo>
                  <a:pt x="267095" y="303311"/>
                </a:lnTo>
                <a:lnTo>
                  <a:pt x="276595" y="293343"/>
                </a:lnTo>
                <a:lnTo>
                  <a:pt x="285312" y="282562"/>
                </a:lnTo>
                <a:lnTo>
                  <a:pt x="293195" y="271023"/>
                </a:lnTo>
                <a:lnTo>
                  <a:pt x="300193" y="258781"/>
                </a:lnTo>
                <a:lnTo>
                  <a:pt x="306255" y="245892"/>
                </a:lnTo>
                <a:lnTo>
                  <a:pt x="311330" y="232411"/>
                </a:lnTo>
                <a:lnTo>
                  <a:pt x="315366" y="218394"/>
                </a:lnTo>
                <a:lnTo>
                  <a:pt x="318312" y="203896"/>
                </a:lnTo>
                <a:lnTo>
                  <a:pt x="320117" y="188973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9" y="93485"/>
                </a:lnTo>
                <a:lnTo>
                  <a:pt x="296006" y="80986"/>
                </a:lnTo>
                <a:lnTo>
                  <a:pt x="288459" y="69169"/>
                </a:lnTo>
                <a:lnTo>
                  <a:pt x="280058" y="58089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4"/>
                </a:lnTo>
                <a:lnTo>
                  <a:pt x="86318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9" name="object 62"/>
          <p:cNvSpPr/>
          <p:nvPr/>
        </p:nvSpPr>
        <p:spPr>
          <a:xfrm>
            <a:off x="4326962" y="34938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0" name="object 60"/>
          <p:cNvSpPr/>
          <p:nvPr/>
        </p:nvSpPr>
        <p:spPr>
          <a:xfrm>
            <a:off x="3451263" y="457102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1" name="object 58"/>
          <p:cNvSpPr/>
          <p:nvPr/>
        </p:nvSpPr>
        <p:spPr>
          <a:xfrm>
            <a:off x="7513462" y="204543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2" name="object 56"/>
          <p:cNvSpPr/>
          <p:nvPr/>
        </p:nvSpPr>
        <p:spPr>
          <a:xfrm>
            <a:off x="6553321" y="196196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3" name="object 54"/>
          <p:cNvSpPr/>
          <p:nvPr/>
        </p:nvSpPr>
        <p:spPr>
          <a:xfrm>
            <a:off x="7353097" y="275391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4" name="object 52"/>
          <p:cNvSpPr/>
          <p:nvPr/>
        </p:nvSpPr>
        <p:spPr>
          <a:xfrm>
            <a:off x="4696124" y="412086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5" name="object 50"/>
          <p:cNvSpPr/>
          <p:nvPr/>
        </p:nvSpPr>
        <p:spPr>
          <a:xfrm>
            <a:off x="4441297" y="46123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6" name="object 48"/>
          <p:cNvSpPr/>
          <p:nvPr/>
        </p:nvSpPr>
        <p:spPr>
          <a:xfrm>
            <a:off x="3130532" y="40499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7" name="object 42"/>
          <p:cNvSpPr/>
          <p:nvPr/>
        </p:nvSpPr>
        <p:spPr>
          <a:xfrm>
            <a:off x="5748103" y="33118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8" name="object 44"/>
          <p:cNvSpPr/>
          <p:nvPr/>
        </p:nvSpPr>
        <p:spPr>
          <a:xfrm>
            <a:off x="5560113" y="25802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9" name="object 46"/>
          <p:cNvSpPr/>
          <p:nvPr/>
        </p:nvSpPr>
        <p:spPr>
          <a:xfrm>
            <a:off x="5421508" y="296447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0" name="object 40"/>
          <p:cNvSpPr/>
          <p:nvPr/>
        </p:nvSpPr>
        <p:spPr>
          <a:xfrm>
            <a:off x="5213120" y="49216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1" name="object 38"/>
          <p:cNvSpPr/>
          <p:nvPr/>
        </p:nvSpPr>
        <p:spPr>
          <a:xfrm>
            <a:off x="7032365" y="221911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2" name="object 36"/>
          <p:cNvSpPr/>
          <p:nvPr/>
        </p:nvSpPr>
        <p:spPr>
          <a:xfrm>
            <a:off x="7385165" y="340218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6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7"/>
                </a:lnTo>
                <a:lnTo>
                  <a:pt x="310251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3" name="object 34"/>
          <p:cNvSpPr/>
          <p:nvPr/>
        </p:nvSpPr>
        <p:spPr>
          <a:xfrm>
            <a:off x="5038354" y="24830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4" name="object 32"/>
          <p:cNvSpPr/>
          <p:nvPr/>
        </p:nvSpPr>
        <p:spPr>
          <a:xfrm>
            <a:off x="7192732" y="159327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5" name="object 30"/>
          <p:cNvSpPr/>
          <p:nvPr/>
        </p:nvSpPr>
        <p:spPr>
          <a:xfrm>
            <a:off x="6201572" y="316997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6" name="object 28"/>
          <p:cNvSpPr/>
          <p:nvPr/>
        </p:nvSpPr>
        <p:spPr>
          <a:xfrm>
            <a:off x="4877989" y="532865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7" name="object 26"/>
          <p:cNvSpPr/>
          <p:nvPr/>
        </p:nvSpPr>
        <p:spPr>
          <a:xfrm>
            <a:off x="5581873" y="4521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8" name="object 24"/>
          <p:cNvSpPr/>
          <p:nvPr/>
        </p:nvSpPr>
        <p:spPr>
          <a:xfrm>
            <a:off x="3528670" y="35173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9" name="object 22"/>
          <p:cNvSpPr/>
          <p:nvPr/>
        </p:nvSpPr>
        <p:spPr>
          <a:xfrm>
            <a:off x="3252845" y="520650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0" name="object 20"/>
          <p:cNvSpPr/>
          <p:nvPr/>
        </p:nvSpPr>
        <p:spPr>
          <a:xfrm>
            <a:off x="3849401" y="4051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1" name="object 18"/>
          <p:cNvSpPr/>
          <p:nvPr/>
        </p:nvSpPr>
        <p:spPr>
          <a:xfrm>
            <a:off x="6713687" y="269105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2" name="object 6"/>
          <p:cNvSpPr txBox="1"/>
          <p:nvPr/>
        </p:nvSpPr>
        <p:spPr>
          <a:xfrm>
            <a:off x="1332125" y="3759280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grpSp>
        <p:nvGrpSpPr>
          <p:cNvPr id="123" name="Group 122"/>
          <p:cNvGrpSpPr/>
          <p:nvPr/>
        </p:nvGrpSpPr>
        <p:grpSpPr>
          <a:xfrm>
            <a:off x="2383438" y="1888930"/>
            <a:ext cx="6303362" cy="4054670"/>
            <a:chOff x="2343901" y="1923700"/>
            <a:chExt cx="6303362" cy="4054670"/>
          </a:xfrm>
        </p:grpSpPr>
        <p:sp>
          <p:nvSpPr>
            <p:cNvPr id="124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125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" name="object 82"/>
          <p:cNvSpPr/>
          <p:nvPr/>
        </p:nvSpPr>
        <p:spPr>
          <a:xfrm>
            <a:off x="4414372" y="54871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2" name="object 84"/>
          <p:cNvSpPr/>
          <p:nvPr/>
        </p:nvSpPr>
        <p:spPr>
          <a:xfrm>
            <a:off x="5399747" y="55212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3" name="object 86"/>
          <p:cNvSpPr/>
          <p:nvPr/>
        </p:nvSpPr>
        <p:spPr>
          <a:xfrm>
            <a:off x="6251551" y="55023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4" name="object 74"/>
          <p:cNvSpPr/>
          <p:nvPr/>
        </p:nvSpPr>
        <p:spPr>
          <a:xfrm>
            <a:off x="2668469" y="519520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5" name="object 72"/>
          <p:cNvSpPr/>
          <p:nvPr/>
        </p:nvSpPr>
        <p:spPr>
          <a:xfrm>
            <a:off x="5959366" y="251737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40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80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6" name="object 70"/>
          <p:cNvSpPr/>
          <p:nvPr/>
        </p:nvSpPr>
        <p:spPr>
          <a:xfrm>
            <a:off x="5560113" y="213564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7" name="object 68"/>
          <p:cNvSpPr/>
          <p:nvPr/>
        </p:nvSpPr>
        <p:spPr>
          <a:xfrm>
            <a:off x="5148028" y="1723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8" name="object 66"/>
          <p:cNvSpPr/>
          <p:nvPr/>
        </p:nvSpPr>
        <p:spPr>
          <a:xfrm>
            <a:off x="6872003" y="34121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6094C9"/>
          </a:solidFill>
          <a:ln w="28575">
            <a:solidFill>
              <a:srgbClr val="46719B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9" name="object 63"/>
          <p:cNvSpPr/>
          <p:nvPr/>
        </p:nvSpPr>
        <p:spPr>
          <a:xfrm>
            <a:off x="5880842" y="502152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6"/>
                </a:lnTo>
                <a:lnTo>
                  <a:pt x="1583" y="198179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6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2"/>
                </a:lnTo>
                <a:lnTo>
                  <a:pt x="49876" y="299561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6"/>
                </a:lnTo>
                <a:lnTo>
                  <a:pt x="196530" y="342926"/>
                </a:lnTo>
                <a:lnTo>
                  <a:pt x="209650" y="339004"/>
                </a:lnTo>
                <a:lnTo>
                  <a:pt x="222295" y="333936"/>
                </a:lnTo>
                <a:lnTo>
                  <a:pt x="234413" y="327778"/>
                </a:lnTo>
                <a:lnTo>
                  <a:pt x="245953" y="320583"/>
                </a:lnTo>
                <a:lnTo>
                  <a:pt x="256864" y="312409"/>
                </a:lnTo>
                <a:lnTo>
                  <a:pt x="267095" y="303311"/>
                </a:lnTo>
                <a:lnTo>
                  <a:pt x="276595" y="293343"/>
                </a:lnTo>
                <a:lnTo>
                  <a:pt x="285312" y="282562"/>
                </a:lnTo>
                <a:lnTo>
                  <a:pt x="293195" y="271023"/>
                </a:lnTo>
                <a:lnTo>
                  <a:pt x="300193" y="258781"/>
                </a:lnTo>
                <a:lnTo>
                  <a:pt x="306255" y="245892"/>
                </a:lnTo>
                <a:lnTo>
                  <a:pt x="311330" y="232411"/>
                </a:lnTo>
                <a:lnTo>
                  <a:pt x="315366" y="218394"/>
                </a:lnTo>
                <a:lnTo>
                  <a:pt x="318312" y="203896"/>
                </a:lnTo>
                <a:lnTo>
                  <a:pt x="320117" y="188973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9" y="93485"/>
                </a:lnTo>
                <a:lnTo>
                  <a:pt x="296006" y="80986"/>
                </a:lnTo>
                <a:lnTo>
                  <a:pt x="288459" y="69169"/>
                </a:lnTo>
                <a:lnTo>
                  <a:pt x="280058" y="58089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4"/>
                </a:lnTo>
                <a:lnTo>
                  <a:pt x="86318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0" name="object 62"/>
          <p:cNvSpPr/>
          <p:nvPr/>
        </p:nvSpPr>
        <p:spPr>
          <a:xfrm>
            <a:off x="4326962" y="34938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1" name="object 60"/>
          <p:cNvSpPr/>
          <p:nvPr/>
        </p:nvSpPr>
        <p:spPr>
          <a:xfrm>
            <a:off x="3451263" y="457102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2" name="object 58"/>
          <p:cNvSpPr/>
          <p:nvPr/>
        </p:nvSpPr>
        <p:spPr>
          <a:xfrm>
            <a:off x="7513462" y="204543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3" name="object 56"/>
          <p:cNvSpPr/>
          <p:nvPr/>
        </p:nvSpPr>
        <p:spPr>
          <a:xfrm>
            <a:off x="6553321" y="196196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4" name="object 54"/>
          <p:cNvSpPr/>
          <p:nvPr/>
        </p:nvSpPr>
        <p:spPr>
          <a:xfrm>
            <a:off x="7353097" y="275391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5" name="object 52"/>
          <p:cNvSpPr/>
          <p:nvPr/>
        </p:nvSpPr>
        <p:spPr>
          <a:xfrm>
            <a:off x="4696124" y="412086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6" name="object 50"/>
          <p:cNvSpPr/>
          <p:nvPr/>
        </p:nvSpPr>
        <p:spPr>
          <a:xfrm>
            <a:off x="4441297" y="46123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7" name="object 48"/>
          <p:cNvSpPr/>
          <p:nvPr/>
        </p:nvSpPr>
        <p:spPr>
          <a:xfrm>
            <a:off x="3130532" y="40499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8" name="object 42"/>
          <p:cNvSpPr/>
          <p:nvPr/>
        </p:nvSpPr>
        <p:spPr>
          <a:xfrm>
            <a:off x="5748103" y="33118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9" name="object 44"/>
          <p:cNvSpPr/>
          <p:nvPr/>
        </p:nvSpPr>
        <p:spPr>
          <a:xfrm>
            <a:off x="5560113" y="25802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0" name="object 46"/>
          <p:cNvSpPr/>
          <p:nvPr/>
        </p:nvSpPr>
        <p:spPr>
          <a:xfrm>
            <a:off x="5421508" y="296447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1" name="object 40"/>
          <p:cNvSpPr/>
          <p:nvPr/>
        </p:nvSpPr>
        <p:spPr>
          <a:xfrm>
            <a:off x="5213120" y="49216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2" name="object 38"/>
          <p:cNvSpPr/>
          <p:nvPr/>
        </p:nvSpPr>
        <p:spPr>
          <a:xfrm>
            <a:off x="7032365" y="221911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3" name="object 36"/>
          <p:cNvSpPr/>
          <p:nvPr/>
        </p:nvSpPr>
        <p:spPr>
          <a:xfrm>
            <a:off x="7385165" y="340218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6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7"/>
                </a:lnTo>
                <a:lnTo>
                  <a:pt x="310251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6094C9"/>
          </a:solidFill>
          <a:ln w="28575">
            <a:solidFill>
              <a:srgbClr val="46719B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4" name="object 34"/>
          <p:cNvSpPr/>
          <p:nvPr/>
        </p:nvSpPr>
        <p:spPr>
          <a:xfrm>
            <a:off x="5038354" y="24830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5" name="object 32"/>
          <p:cNvSpPr/>
          <p:nvPr/>
        </p:nvSpPr>
        <p:spPr>
          <a:xfrm>
            <a:off x="7192732" y="159327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6" name="object 30"/>
          <p:cNvSpPr/>
          <p:nvPr/>
        </p:nvSpPr>
        <p:spPr>
          <a:xfrm>
            <a:off x="6201572" y="316997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7" name="object 28"/>
          <p:cNvSpPr/>
          <p:nvPr/>
        </p:nvSpPr>
        <p:spPr>
          <a:xfrm>
            <a:off x="4877989" y="532865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8" name="object 26"/>
          <p:cNvSpPr/>
          <p:nvPr/>
        </p:nvSpPr>
        <p:spPr>
          <a:xfrm>
            <a:off x="5581873" y="4521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9" name="object 24"/>
          <p:cNvSpPr/>
          <p:nvPr/>
        </p:nvSpPr>
        <p:spPr>
          <a:xfrm>
            <a:off x="3528670" y="35173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0" name="object 22"/>
          <p:cNvSpPr/>
          <p:nvPr/>
        </p:nvSpPr>
        <p:spPr>
          <a:xfrm>
            <a:off x="3252845" y="520650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1" name="object 20"/>
          <p:cNvSpPr/>
          <p:nvPr/>
        </p:nvSpPr>
        <p:spPr>
          <a:xfrm>
            <a:off x="3849401" y="4051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2" name="object 18"/>
          <p:cNvSpPr/>
          <p:nvPr/>
        </p:nvSpPr>
        <p:spPr>
          <a:xfrm>
            <a:off x="6713687" y="269105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3" name="object 6"/>
          <p:cNvSpPr txBox="1"/>
          <p:nvPr/>
        </p:nvSpPr>
        <p:spPr>
          <a:xfrm>
            <a:off x="1332125" y="3759280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sp>
        <p:nvSpPr>
          <p:cNvPr id="114" name="object 5"/>
          <p:cNvSpPr txBox="1"/>
          <p:nvPr/>
        </p:nvSpPr>
        <p:spPr>
          <a:xfrm>
            <a:off x="5426815" y="6116930"/>
            <a:ext cx="542241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Age</a:t>
            </a:r>
            <a:endParaRPr sz="2400">
              <a:cs typeface="Calibri"/>
            </a:endParaRPr>
          </a:p>
        </p:txBody>
      </p:sp>
      <p:grpSp>
        <p:nvGrpSpPr>
          <p:cNvPr id="115" name="Group 114"/>
          <p:cNvGrpSpPr/>
          <p:nvPr/>
        </p:nvGrpSpPr>
        <p:grpSpPr>
          <a:xfrm>
            <a:off x="2383438" y="1888930"/>
            <a:ext cx="6303362" cy="4054670"/>
            <a:chOff x="2343901" y="1923700"/>
            <a:chExt cx="6303362" cy="4054670"/>
          </a:xfrm>
        </p:grpSpPr>
        <p:sp>
          <p:nvSpPr>
            <p:cNvPr id="116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117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  <p:sp>
        <p:nvSpPr>
          <p:cNvPr id="118" name="object 10"/>
          <p:cNvSpPr txBox="1"/>
          <p:nvPr/>
        </p:nvSpPr>
        <p:spPr>
          <a:xfrm>
            <a:off x="2101916" y="369650"/>
            <a:ext cx="6296519" cy="4318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3400"/>
              </a:lnSpc>
              <a:spcBef>
                <a:spcPts val="170"/>
              </a:spcBef>
            </a:pPr>
            <a:r>
              <a:rPr lang="en-US" sz="4800" baseline="1706" dirty="0">
                <a:solidFill>
                  <a:srgbClr val="4E81BC"/>
                </a:solidFill>
                <a:latin typeface="+mj-lt"/>
                <a:cs typeface="Calibri"/>
              </a:rPr>
              <a:t>Agglomerative </a:t>
            </a:r>
            <a:r>
              <a:rPr sz="4800" spc="0" baseline="1706" dirty="0" smtClean="0">
                <a:solidFill>
                  <a:srgbClr val="4E81BC"/>
                </a:solidFill>
                <a:latin typeface="+mj-lt"/>
                <a:cs typeface="Calibri"/>
              </a:rPr>
              <a:t>Hierarchical Clustering</a:t>
            </a:r>
            <a:endParaRPr sz="3200" dirty="0">
              <a:latin typeface="+mj-lt"/>
              <a:cs typeface="Calibri"/>
            </a:endParaRPr>
          </a:p>
        </p:txBody>
      </p:sp>
      <p:sp>
        <p:nvSpPr>
          <p:cNvPr id="119" name="object 11"/>
          <p:cNvSpPr txBox="1"/>
          <p:nvPr/>
        </p:nvSpPr>
        <p:spPr>
          <a:xfrm>
            <a:off x="2101916" y="852250"/>
            <a:ext cx="6584884" cy="4318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3400"/>
              </a:lnSpc>
              <a:spcBef>
                <a:spcPts val="170"/>
              </a:spcBef>
            </a:pPr>
            <a:r>
              <a:rPr sz="4800" spc="0" baseline="1706" dirty="0" smtClean="0">
                <a:solidFill>
                  <a:srgbClr val="7F7E7E"/>
                </a:solidFill>
                <a:latin typeface="+mj-lt"/>
                <a:cs typeface="Calibri"/>
              </a:rPr>
              <a:t>Find</a:t>
            </a:r>
            <a:r>
              <a:rPr lang="en-US" sz="4800" spc="0" baseline="1706" dirty="0" smtClean="0">
                <a:solidFill>
                  <a:srgbClr val="7F7E7E"/>
                </a:solidFill>
                <a:latin typeface="+mj-lt"/>
                <a:cs typeface="Calibri"/>
              </a:rPr>
              <a:t> next closet pair, merge</a:t>
            </a:r>
            <a:endParaRPr sz="3200" dirty="0">
              <a:latin typeface="+mj-lt"/>
              <a:cs typeface="Calibri"/>
            </a:endParaRPr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ject 3"/>
          <p:cNvSpPr txBox="1"/>
          <p:nvPr/>
        </p:nvSpPr>
        <p:spPr>
          <a:xfrm>
            <a:off x="604886" y="2209800"/>
            <a:ext cx="8005713" cy="423193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>
              <a:lnSpc>
                <a:spcPts val="3265"/>
              </a:lnSpc>
            </a:pPr>
            <a:r>
              <a:rPr sz="3600" b="1" spc="0" dirty="0" smtClean="0">
                <a:solidFill>
                  <a:srgbClr val="7F7E7E"/>
                </a:solidFill>
                <a:latin typeface="+mj-lt"/>
                <a:cs typeface="Calibri"/>
              </a:rPr>
              <a:t>fr</a:t>
            </a:r>
            <a:r>
              <a:rPr sz="3600" b="1" spc="-4" dirty="0" smtClean="0">
                <a:solidFill>
                  <a:srgbClr val="7F7E7E"/>
                </a:solidFill>
                <a:latin typeface="+mj-lt"/>
                <a:cs typeface="Calibri"/>
              </a:rPr>
              <a:t>o</a:t>
            </a:r>
            <a:r>
              <a:rPr sz="3600" b="1" spc="0" dirty="0" smtClean="0">
                <a:solidFill>
                  <a:srgbClr val="7F7E7E"/>
                </a:solidFill>
                <a:latin typeface="+mj-lt"/>
                <a:cs typeface="Calibri"/>
              </a:rPr>
              <a:t>m </a:t>
            </a:r>
            <a:r>
              <a:rPr sz="3600" spc="0" dirty="0" smtClean="0">
                <a:solidFill>
                  <a:srgbClr val="4E81BC"/>
                </a:solidFill>
                <a:latin typeface="+mj-lt"/>
                <a:cs typeface="Calibri"/>
              </a:rPr>
              <a:t>sklearn.cluster </a:t>
            </a:r>
            <a:r>
              <a:rPr sz="3600" b="1" spc="0" dirty="0" smtClean="0">
                <a:solidFill>
                  <a:srgbClr val="7F7E7E"/>
                </a:solidFill>
                <a:latin typeface="+mj-lt"/>
                <a:cs typeface="Calibri"/>
              </a:rPr>
              <a:t>impo</a:t>
            </a:r>
            <a:r>
              <a:rPr sz="3600" b="1" spc="4" dirty="0" smtClean="0">
                <a:solidFill>
                  <a:srgbClr val="7F7E7E"/>
                </a:solidFill>
                <a:latin typeface="+mj-lt"/>
                <a:cs typeface="Calibri"/>
              </a:rPr>
              <a:t>r</a:t>
            </a:r>
            <a:r>
              <a:rPr sz="3600" b="1" spc="0" dirty="0" smtClean="0">
                <a:solidFill>
                  <a:srgbClr val="7F7E7E"/>
                </a:solidFill>
                <a:latin typeface="+mj-lt"/>
                <a:cs typeface="Calibri"/>
              </a:rPr>
              <a:t>t </a:t>
            </a:r>
            <a:r>
              <a:rPr sz="3600" spc="0" dirty="0" smtClean="0">
                <a:solidFill>
                  <a:srgbClr val="9BBA58"/>
                </a:solidFill>
                <a:latin typeface="+mj-lt"/>
                <a:cs typeface="Calibri"/>
              </a:rPr>
              <a:t>DBSC</a:t>
            </a:r>
            <a:r>
              <a:rPr sz="3600" spc="-4" dirty="0" smtClean="0">
                <a:solidFill>
                  <a:srgbClr val="9BBA58"/>
                </a:solidFill>
                <a:latin typeface="+mj-lt"/>
                <a:cs typeface="Calibri"/>
              </a:rPr>
              <a:t>A</a:t>
            </a:r>
            <a:r>
              <a:rPr sz="3600" spc="0" dirty="0" smtClean="0">
                <a:solidFill>
                  <a:srgbClr val="9BBA58"/>
                </a:solidFill>
                <a:latin typeface="+mj-lt"/>
                <a:cs typeface="Calibri"/>
              </a:rPr>
              <a:t>N</a:t>
            </a:r>
            <a:endParaRPr sz="3600" dirty="0">
              <a:latin typeface="+mj-lt"/>
              <a:cs typeface="Calibri"/>
            </a:endParaRPr>
          </a:p>
        </p:txBody>
      </p:sp>
      <p:sp>
        <p:nvSpPr>
          <p:cNvPr id="2" name="object 2"/>
          <p:cNvSpPr txBox="1"/>
          <p:nvPr/>
        </p:nvSpPr>
        <p:spPr>
          <a:xfrm>
            <a:off x="604887" y="3352800"/>
            <a:ext cx="8005713" cy="355600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>
              <a:lnSpc>
                <a:spcPts val="2800"/>
              </a:lnSpc>
              <a:spcBef>
                <a:spcPts val="140"/>
              </a:spcBef>
            </a:pPr>
            <a:r>
              <a:rPr sz="3600" spc="0" baseline="2100" dirty="0" smtClean="0">
                <a:solidFill>
                  <a:srgbClr val="7F7E7E"/>
                </a:solidFill>
                <a:latin typeface="+mj-lt"/>
                <a:cs typeface="Calibri"/>
              </a:rPr>
              <a:t>DBSC</a:t>
            </a:r>
            <a:r>
              <a:rPr sz="3600" spc="-4" baseline="2100" dirty="0" smtClean="0">
                <a:solidFill>
                  <a:srgbClr val="7F7E7E"/>
                </a:solidFill>
                <a:latin typeface="+mj-lt"/>
                <a:cs typeface="Calibri"/>
              </a:rPr>
              <a:t>A</a:t>
            </a:r>
            <a:r>
              <a:rPr sz="3600" spc="0" baseline="2100" dirty="0" smtClean="0">
                <a:solidFill>
                  <a:srgbClr val="7F7E7E"/>
                </a:solidFill>
                <a:latin typeface="+mj-lt"/>
                <a:cs typeface="Calibri"/>
              </a:rPr>
              <a:t>N( eps = 0.5, min_samples = 5, metric =“euclidean” )</a:t>
            </a:r>
            <a:r>
              <a:rPr lang="en-US" sz="3600" spc="0" baseline="2100" dirty="0" smtClean="0">
                <a:solidFill>
                  <a:srgbClr val="7F7E7E"/>
                </a:solidFill>
                <a:latin typeface="+mj-lt"/>
                <a:cs typeface="Calibri"/>
              </a:rPr>
              <a:t> </a:t>
            </a:r>
            <a:endParaRPr sz="3600" dirty="0">
              <a:latin typeface="+mj-lt"/>
              <a:cs typeface="Calibri"/>
            </a:endParaRPr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ject 3"/>
          <p:cNvSpPr/>
          <p:nvPr/>
        </p:nvSpPr>
        <p:spPr>
          <a:xfrm>
            <a:off x="1041400" y="3691729"/>
            <a:ext cx="7048498" cy="2014804"/>
          </a:xfrm>
          <a:prstGeom prst="rect">
            <a:avLst/>
          </a:prstGeom>
          <a:blipFill>
            <a:blip r:embed="rId2" cstate="print"/>
            <a:srcRect/>
            <a:stretch>
              <a:fillRect b="-50020"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2" name="object 2"/>
          <p:cNvSpPr txBox="1"/>
          <p:nvPr/>
        </p:nvSpPr>
        <p:spPr>
          <a:xfrm>
            <a:off x="940428" y="2743200"/>
            <a:ext cx="7593972" cy="616729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ts val="4715"/>
              </a:lnSpc>
            </a:pPr>
            <a:r>
              <a:rPr lang="en-US" sz="6600" baseline="3103" dirty="0">
                <a:solidFill>
                  <a:srgbClr val="F69545"/>
                </a:solidFill>
                <a:cs typeface="Calibri"/>
              </a:rPr>
              <a:t>Mean </a:t>
            </a:r>
            <a:r>
              <a:rPr lang="en-US" sz="6600" baseline="3103" dirty="0" smtClean="0">
                <a:solidFill>
                  <a:srgbClr val="F69545"/>
                </a:solidFill>
                <a:cs typeface="Calibri"/>
              </a:rPr>
              <a:t>Shift</a:t>
            </a:r>
            <a:endParaRPr lang="en-US" sz="6600" baseline="3103" dirty="0">
              <a:solidFill>
                <a:srgbClr val="F69545"/>
              </a:solidFill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821236202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5" name="Object 11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2848283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7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4" name="object 5"/>
          <p:cNvSpPr txBox="1"/>
          <p:nvPr/>
        </p:nvSpPr>
        <p:spPr>
          <a:xfrm>
            <a:off x="2101916" y="369650"/>
            <a:ext cx="6889684" cy="448841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 marR="41909">
              <a:lnSpc>
                <a:spcPts val="3454"/>
              </a:lnSpc>
              <a:spcBef>
                <a:spcPts val="172"/>
              </a:spcBef>
            </a:pPr>
            <a:r>
              <a:rPr lang="en-US" sz="4800" baseline="2560" dirty="0">
                <a:solidFill>
                  <a:srgbClr val="4E81BC"/>
                </a:solidFill>
                <a:latin typeface="+mj-lt"/>
                <a:cs typeface="Calibri"/>
              </a:rPr>
              <a:t>Mean </a:t>
            </a:r>
            <a:r>
              <a:rPr lang="en-US" sz="4800" baseline="2560" dirty="0" smtClean="0">
                <a:solidFill>
                  <a:srgbClr val="4E81BC"/>
                </a:solidFill>
                <a:latin typeface="+mj-lt"/>
                <a:cs typeface="Calibri"/>
              </a:rPr>
              <a:t>Shift</a:t>
            </a:r>
            <a:endParaRPr lang="en-US" sz="3200" baseline="1137" dirty="0">
              <a:solidFill>
                <a:srgbClr val="7F7E7E"/>
              </a:solidFill>
              <a:latin typeface="+mj-lt"/>
              <a:cs typeface="Calibri"/>
            </a:endParaRPr>
          </a:p>
        </p:txBody>
      </p:sp>
      <p:sp>
        <p:nvSpPr>
          <p:cNvPr id="77" name="object 3"/>
          <p:cNvSpPr txBox="1"/>
          <p:nvPr/>
        </p:nvSpPr>
        <p:spPr>
          <a:xfrm>
            <a:off x="5426815" y="6116930"/>
            <a:ext cx="542241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latin typeface="Calibri"/>
                <a:cs typeface="Calibri"/>
              </a:rPr>
              <a:t>Age</a:t>
            </a:r>
            <a:endParaRPr sz="2400">
              <a:latin typeface="Calibri"/>
              <a:cs typeface="Calibri"/>
            </a:endParaRPr>
          </a:p>
        </p:txBody>
      </p:sp>
      <p:sp>
        <p:nvSpPr>
          <p:cNvPr id="78" name="object 82"/>
          <p:cNvSpPr/>
          <p:nvPr/>
        </p:nvSpPr>
        <p:spPr>
          <a:xfrm>
            <a:off x="4414372" y="54871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9" name="object 84"/>
          <p:cNvSpPr/>
          <p:nvPr/>
        </p:nvSpPr>
        <p:spPr>
          <a:xfrm>
            <a:off x="5399747" y="55212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0" name="object 86"/>
          <p:cNvSpPr/>
          <p:nvPr/>
        </p:nvSpPr>
        <p:spPr>
          <a:xfrm>
            <a:off x="6251551" y="55023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1" name="object 74"/>
          <p:cNvSpPr/>
          <p:nvPr/>
        </p:nvSpPr>
        <p:spPr>
          <a:xfrm>
            <a:off x="2668469" y="519520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2" name="object 72"/>
          <p:cNvSpPr/>
          <p:nvPr/>
        </p:nvSpPr>
        <p:spPr>
          <a:xfrm>
            <a:off x="5959366" y="251737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40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80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3" name="object 70"/>
          <p:cNvSpPr/>
          <p:nvPr/>
        </p:nvSpPr>
        <p:spPr>
          <a:xfrm>
            <a:off x="5560113" y="213564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4" name="object 68"/>
          <p:cNvSpPr/>
          <p:nvPr/>
        </p:nvSpPr>
        <p:spPr>
          <a:xfrm>
            <a:off x="5148028" y="1723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5" name="object 66"/>
          <p:cNvSpPr/>
          <p:nvPr/>
        </p:nvSpPr>
        <p:spPr>
          <a:xfrm>
            <a:off x="6872003" y="34121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6" name="object 63"/>
          <p:cNvSpPr/>
          <p:nvPr/>
        </p:nvSpPr>
        <p:spPr>
          <a:xfrm>
            <a:off x="5880842" y="502152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6"/>
                </a:lnTo>
                <a:lnTo>
                  <a:pt x="1583" y="198179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6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2"/>
                </a:lnTo>
                <a:lnTo>
                  <a:pt x="49876" y="299561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6"/>
                </a:lnTo>
                <a:lnTo>
                  <a:pt x="196530" y="342926"/>
                </a:lnTo>
                <a:lnTo>
                  <a:pt x="209650" y="339004"/>
                </a:lnTo>
                <a:lnTo>
                  <a:pt x="222295" y="333936"/>
                </a:lnTo>
                <a:lnTo>
                  <a:pt x="234413" y="327778"/>
                </a:lnTo>
                <a:lnTo>
                  <a:pt x="245953" y="320583"/>
                </a:lnTo>
                <a:lnTo>
                  <a:pt x="256864" y="312409"/>
                </a:lnTo>
                <a:lnTo>
                  <a:pt x="267095" y="303311"/>
                </a:lnTo>
                <a:lnTo>
                  <a:pt x="276595" y="293343"/>
                </a:lnTo>
                <a:lnTo>
                  <a:pt x="285312" y="282562"/>
                </a:lnTo>
                <a:lnTo>
                  <a:pt x="293195" y="271023"/>
                </a:lnTo>
                <a:lnTo>
                  <a:pt x="300193" y="258781"/>
                </a:lnTo>
                <a:lnTo>
                  <a:pt x="306255" y="245892"/>
                </a:lnTo>
                <a:lnTo>
                  <a:pt x="311330" y="232411"/>
                </a:lnTo>
                <a:lnTo>
                  <a:pt x="315366" y="218394"/>
                </a:lnTo>
                <a:lnTo>
                  <a:pt x="318312" y="203896"/>
                </a:lnTo>
                <a:lnTo>
                  <a:pt x="320117" y="188973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9" y="93485"/>
                </a:lnTo>
                <a:lnTo>
                  <a:pt x="296006" y="80986"/>
                </a:lnTo>
                <a:lnTo>
                  <a:pt x="288459" y="69169"/>
                </a:lnTo>
                <a:lnTo>
                  <a:pt x="280058" y="58089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4"/>
                </a:lnTo>
                <a:lnTo>
                  <a:pt x="86318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7" name="object 62"/>
          <p:cNvSpPr/>
          <p:nvPr/>
        </p:nvSpPr>
        <p:spPr>
          <a:xfrm>
            <a:off x="4326962" y="34938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8" name="object 60"/>
          <p:cNvSpPr/>
          <p:nvPr/>
        </p:nvSpPr>
        <p:spPr>
          <a:xfrm>
            <a:off x="3451263" y="457102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9" name="object 58"/>
          <p:cNvSpPr/>
          <p:nvPr/>
        </p:nvSpPr>
        <p:spPr>
          <a:xfrm>
            <a:off x="7513462" y="204543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0" name="object 56"/>
          <p:cNvSpPr/>
          <p:nvPr/>
        </p:nvSpPr>
        <p:spPr>
          <a:xfrm>
            <a:off x="6553321" y="196196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1" name="object 54"/>
          <p:cNvSpPr/>
          <p:nvPr/>
        </p:nvSpPr>
        <p:spPr>
          <a:xfrm>
            <a:off x="7353097" y="275391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2" name="object 52"/>
          <p:cNvSpPr/>
          <p:nvPr/>
        </p:nvSpPr>
        <p:spPr>
          <a:xfrm>
            <a:off x="4696124" y="412086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3" name="object 50"/>
          <p:cNvSpPr/>
          <p:nvPr/>
        </p:nvSpPr>
        <p:spPr>
          <a:xfrm>
            <a:off x="4441297" y="46123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4" name="object 48"/>
          <p:cNvSpPr/>
          <p:nvPr/>
        </p:nvSpPr>
        <p:spPr>
          <a:xfrm>
            <a:off x="3130532" y="40499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5" name="object 42"/>
          <p:cNvSpPr/>
          <p:nvPr/>
        </p:nvSpPr>
        <p:spPr>
          <a:xfrm>
            <a:off x="5748103" y="33118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6" name="object 44"/>
          <p:cNvSpPr/>
          <p:nvPr/>
        </p:nvSpPr>
        <p:spPr>
          <a:xfrm>
            <a:off x="5560113" y="25802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7" name="object 46"/>
          <p:cNvSpPr/>
          <p:nvPr/>
        </p:nvSpPr>
        <p:spPr>
          <a:xfrm>
            <a:off x="5421508" y="296447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8" name="object 40"/>
          <p:cNvSpPr/>
          <p:nvPr/>
        </p:nvSpPr>
        <p:spPr>
          <a:xfrm>
            <a:off x="5213120" y="49216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9" name="object 38"/>
          <p:cNvSpPr/>
          <p:nvPr/>
        </p:nvSpPr>
        <p:spPr>
          <a:xfrm>
            <a:off x="7032365" y="221911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0" name="object 36"/>
          <p:cNvSpPr/>
          <p:nvPr/>
        </p:nvSpPr>
        <p:spPr>
          <a:xfrm>
            <a:off x="7385165" y="340218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6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7"/>
                </a:lnTo>
                <a:lnTo>
                  <a:pt x="310251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1" name="object 34"/>
          <p:cNvSpPr/>
          <p:nvPr/>
        </p:nvSpPr>
        <p:spPr>
          <a:xfrm>
            <a:off x="5038354" y="24830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2" name="object 32"/>
          <p:cNvSpPr/>
          <p:nvPr/>
        </p:nvSpPr>
        <p:spPr>
          <a:xfrm>
            <a:off x="7192732" y="159327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3" name="object 30"/>
          <p:cNvSpPr/>
          <p:nvPr/>
        </p:nvSpPr>
        <p:spPr>
          <a:xfrm>
            <a:off x="6201572" y="316997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4" name="object 28"/>
          <p:cNvSpPr/>
          <p:nvPr/>
        </p:nvSpPr>
        <p:spPr>
          <a:xfrm>
            <a:off x="4877989" y="532865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5" name="object 26"/>
          <p:cNvSpPr/>
          <p:nvPr/>
        </p:nvSpPr>
        <p:spPr>
          <a:xfrm>
            <a:off x="5581873" y="4521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6" name="object 24"/>
          <p:cNvSpPr/>
          <p:nvPr/>
        </p:nvSpPr>
        <p:spPr>
          <a:xfrm>
            <a:off x="3528670" y="35173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7" name="object 22"/>
          <p:cNvSpPr/>
          <p:nvPr/>
        </p:nvSpPr>
        <p:spPr>
          <a:xfrm>
            <a:off x="3252845" y="520650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8" name="object 20"/>
          <p:cNvSpPr/>
          <p:nvPr/>
        </p:nvSpPr>
        <p:spPr>
          <a:xfrm>
            <a:off x="3849401" y="4051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9" name="object 18"/>
          <p:cNvSpPr/>
          <p:nvPr/>
        </p:nvSpPr>
        <p:spPr>
          <a:xfrm>
            <a:off x="6713687" y="269105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0" name="object 6"/>
          <p:cNvSpPr txBox="1"/>
          <p:nvPr/>
        </p:nvSpPr>
        <p:spPr>
          <a:xfrm>
            <a:off x="1332125" y="3759280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grpSp>
        <p:nvGrpSpPr>
          <p:cNvPr id="111" name="Group 110"/>
          <p:cNvGrpSpPr/>
          <p:nvPr/>
        </p:nvGrpSpPr>
        <p:grpSpPr>
          <a:xfrm>
            <a:off x="2383438" y="1888930"/>
            <a:ext cx="6303362" cy="4054670"/>
            <a:chOff x="2343901" y="1923700"/>
            <a:chExt cx="6303362" cy="4054670"/>
          </a:xfrm>
        </p:grpSpPr>
        <p:sp>
          <p:nvSpPr>
            <p:cNvPr id="112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113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5" name="Object 12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3681602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0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7" name="object 5"/>
          <p:cNvSpPr txBox="1"/>
          <p:nvPr/>
        </p:nvSpPr>
        <p:spPr>
          <a:xfrm>
            <a:off x="2101916" y="369650"/>
            <a:ext cx="6889684" cy="807913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 marR="41909">
              <a:lnSpc>
                <a:spcPts val="3454"/>
              </a:lnSpc>
              <a:spcBef>
                <a:spcPts val="172"/>
              </a:spcBef>
            </a:pPr>
            <a:r>
              <a:rPr lang="en-US" sz="4800" baseline="2560" dirty="0">
                <a:solidFill>
                  <a:srgbClr val="4E81BC"/>
                </a:solidFill>
                <a:latin typeface="+mj-lt"/>
                <a:cs typeface="Calibri"/>
              </a:rPr>
              <a:t>Mean </a:t>
            </a:r>
            <a:r>
              <a:rPr lang="en-US" sz="4800" baseline="2560" dirty="0" smtClean="0">
                <a:solidFill>
                  <a:srgbClr val="4E81BC"/>
                </a:solidFill>
                <a:latin typeface="+mj-lt"/>
                <a:cs typeface="Calibri"/>
              </a:rPr>
              <a:t>Shift</a:t>
            </a:r>
            <a:endParaRPr sz="3200" dirty="0">
              <a:latin typeface="+mj-lt"/>
              <a:cs typeface="Calibri"/>
            </a:endParaRPr>
          </a:p>
          <a:p>
            <a:pPr marL="12700">
              <a:lnSpc>
                <a:spcPts val="2770"/>
              </a:lnSpc>
            </a:pPr>
            <a:r>
              <a:rPr lang="en-US" sz="3200" baseline="1137" dirty="0" smtClean="0">
                <a:solidFill>
                  <a:srgbClr val="7F7E7E"/>
                </a:solidFill>
                <a:latin typeface="+mj-lt"/>
                <a:cs typeface="Calibri"/>
              </a:rPr>
              <a:t>Start with a centroid at a point</a:t>
            </a:r>
            <a:endParaRPr lang="en-US" sz="3200" baseline="1137" dirty="0">
              <a:solidFill>
                <a:srgbClr val="7F7E7E"/>
              </a:solidFill>
              <a:latin typeface="+mj-lt"/>
              <a:cs typeface="Calibri"/>
            </a:endParaRPr>
          </a:p>
        </p:txBody>
      </p:sp>
      <p:sp>
        <p:nvSpPr>
          <p:cNvPr id="88" name="object 3"/>
          <p:cNvSpPr txBox="1"/>
          <p:nvPr/>
        </p:nvSpPr>
        <p:spPr>
          <a:xfrm>
            <a:off x="5426815" y="6116930"/>
            <a:ext cx="542241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latin typeface="Calibri"/>
                <a:cs typeface="Calibri"/>
              </a:rPr>
              <a:t>Age</a:t>
            </a:r>
            <a:endParaRPr sz="2400">
              <a:latin typeface="Calibri"/>
              <a:cs typeface="Calibri"/>
            </a:endParaRPr>
          </a:p>
        </p:txBody>
      </p:sp>
      <p:sp>
        <p:nvSpPr>
          <p:cNvPr id="89" name="object 82"/>
          <p:cNvSpPr/>
          <p:nvPr/>
        </p:nvSpPr>
        <p:spPr>
          <a:xfrm>
            <a:off x="4414372" y="54871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0" name="object 84"/>
          <p:cNvSpPr/>
          <p:nvPr/>
        </p:nvSpPr>
        <p:spPr>
          <a:xfrm>
            <a:off x="5399747" y="55212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1" name="object 86"/>
          <p:cNvSpPr/>
          <p:nvPr/>
        </p:nvSpPr>
        <p:spPr>
          <a:xfrm>
            <a:off x="6251551" y="55023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2" name="object 74"/>
          <p:cNvSpPr/>
          <p:nvPr/>
        </p:nvSpPr>
        <p:spPr>
          <a:xfrm>
            <a:off x="2668469" y="519520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3" name="object 72"/>
          <p:cNvSpPr/>
          <p:nvPr/>
        </p:nvSpPr>
        <p:spPr>
          <a:xfrm>
            <a:off x="5959366" y="251737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40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80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4" name="object 70"/>
          <p:cNvSpPr/>
          <p:nvPr/>
        </p:nvSpPr>
        <p:spPr>
          <a:xfrm>
            <a:off x="5560113" y="213564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5" name="object 68"/>
          <p:cNvSpPr/>
          <p:nvPr/>
        </p:nvSpPr>
        <p:spPr>
          <a:xfrm>
            <a:off x="5148028" y="1723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6" name="object 66"/>
          <p:cNvSpPr/>
          <p:nvPr/>
        </p:nvSpPr>
        <p:spPr>
          <a:xfrm>
            <a:off x="6872003" y="34121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7" name="object 63"/>
          <p:cNvSpPr/>
          <p:nvPr/>
        </p:nvSpPr>
        <p:spPr>
          <a:xfrm>
            <a:off x="5880842" y="502152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6"/>
                </a:lnTo>
                <a:lnTo>
                  <a:pt x="1583" y="198179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6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2"/>
                </a:lnTo>
                <a:lnTo>
                  <a:pt x="49876" y="299561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6"/>
                </a:lnTo>
                <a:lnTo>
                  <a:pt x="196530" y="342926"/>
                </a:lnTo>
                <a:lnTo>
                  <a:pt x="209650" y="339004"/>
                </a:lnTo>
                <a:lnTo>
                  <a:pt x="222295" y="333936"/>
                </a:lnTo>
                <a:lnTo>
                  <a:pt x="234413" y="327778"/>
                </a:lnTo>
                <a:lnTo>
                  <a:pt x="245953" y="320583"/>
                </a:lnTo>
                <a:lnTo>
                  <a:pt x="256864" y="312409"/>
                </a:lnTo>
                <a:lnTo>
                  <a:pt x="267095" y="303311"/>
                </a:lnTo>
                <a:lnTo>
                  <a:pt x="276595" y="293343"/>
                </a:lnTo>
                <a:lnTo>
                  <a:pt x="285312" y="282562"/>
                </a:lnTo>
                <a:lnTo>
                  <a:pt x="293195" y="271023"/>
                </a:lnTo>
                <a:lnTo>
                  <a:pt x="300193" y="258781"/>
                </a:lnTo>
                <a:lnTo>
                  <a:pt x="306255" y="245892"/>
                </a:lnTo>
                <a:lnTo>
                  <a:pt x="311330" y="232411"/>
                </a:lnTo>
                <a:lnTo>
                  <a:pt x="315366" y="218394"/>
                </a:lnTo>
                <a:lnTo>
                  <a:pt x="318312" y="203896"/>
                </a:lnTo>
                <a:lnTo>
                  <a:pt x="320117" y="188973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9" y="93485"/>
                </a:lnTo>
                <a:lnTo>
                  <a:pt x="296006" y="80986"/>
                </a:lnTo>
                <a:lnTo>
                  <a:pt x="288459" y="69169"/>
                </a:lnTo>
                <a:lnTo>
                  <a:pt x="280058" y="58089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4"/>
                </a:lnTo>
                <a:lnTo>
                  <a:pt x="86318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8" name="object 62"/>
          <p:cNvSpPr/>
          <p:nvPr/>
        </p:nvSpPr>
        <p:spPr>
          <a:xfrm>
            <a:off x="4326962" y="34938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9" name="object 60"/>
          <p:cNvSpPr/>
          <p:nvPr/>
        </p:nvSpPr>
        <p:spPr>
          <a:xfrm>
            <a:off x="3451263" y="457102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0" name="object 58"/>
          <p:cNvSpPr/>
          <p:nvPr/>
        </p:nvSpPr>
        <p:spPr>
          <a:xfrm>
            <a:off x="7513462" y="204543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1" name="object 56"/>
          <p:cNvSpPr/>
          <p:nvPr/>
        </p:nvSpPr>
        <p:spPr>
          <a:xfrm>
            <a:off x="6553321" y="196196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2" name="object 54"/>
          <p:cNvSpPr/>
          <p:nvPr/>
        </p:nvSpPr>
        <p:spPr>
          <a:xfrm>
            <a:off x="7353097" y="275391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3" name="object 52"/>
          <p:cNvSpPr/>
          <p:nvPr/>
        </p:nvSpPr>
        <p:spPr>
          <a:xfrm>
            <a:off x="4696124" y="412086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4" name="object 50"/>
          <p:cNvSpPr/>
          <p:nvPr/>
        </p:nvSpPr>
        <p:spPr>
          <a:xfrm>
            <a:off x="4441297" y="46123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5" name="object 48"/>
          <p:cNvSpPr/>
          <p:nvPr/>
        </p:nvSpPr>
        <p:spPr>
          <a:xfrm>
            <a:off x="3130532" y="40499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6" name="object 42"/>
          <p:cNvSpPr/>
          <p:nvPr/>
        </p:nvSpPr>
        <p:spPr>
          <a:xfrm>
            <a:off x="5748103" y="33118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7" name="object 44"/>
          <p:cNvSpPr/>
          <p:nvPr/>
        </p:nvSpPr>
        <p:spPr>
          <a:xfrm>
            <a:off x="5560113" y="25802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8" name="object 46"/>
          <p:cNvSpPr/>
          <p:nvPr/>
        </p:nvSpPr>
        <p:spPr>
          <a:xfrm>
            <a:off x="5421508" y="296447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9" name="object 40"/>
          <p:cNvSpPr/>
          <p:nvPr/>
        </p:nvSpPr>
        <p:spPr>
          <a:xfrm>
            <a:off x="5213120" y="49216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0" name="object 38"/>
          <p:cNvSpPr/>
          <p:nvPr/>
        </p:nvSpPr>
        <p:spPr>
          <a:xfrm>
            <a:off x="7032365" y="221911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1" name="object 36"/>
          <p:cNvSpPr/>
          <p:nvPr/>
        </p:nvSpPr>
        <p:spPr>
          <a:xfrm>
            <a:off x="7385165" y="340218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6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7"/>
                </a:lnTo>
                <a:lnTo>
                  <a:pt x="310251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2" name="object 34"/>
          <p:cNvSpPr/>
          <p:nvPr/>
        </p:nvSpPr>
        <p:spPr>
          <a:xfrm>
            <a:off x="5038354" y="24830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3" name="object 32"/>
          <p:cNvSpPr/>
          <p:nvPr/>
        </p:nvSpPr>
        <p:spPr>
          <a:xfrm>
            <a:off x="7192732" y="159327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4" name="object 30"/>
          <p:cNvSpPr/>
          <p:nvPr/>
        </p:nvSpPr>
        <p:spPr>
          <a:xfrm>
            <a:off x="6201572" y="316997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5" name="object 28"/>
          <p:cNvSpPr/>
          <p:nvPr/>
        </p:nvSpPr>
        <p:spPr>
          <a:xfrm>
            <a:off x="4877989" y="532865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6" name="object 26"/>
          <p:cNvSpPr/>
          <p:nvPr/>
        </p:nvSpPr>
        <p:spPr>
          <a:xfrm>
            <a:off x="5581873" y="4521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7" name="object 24"/>
          <p:cNvSpPr/>
          <p:nvPr/>
        </p:nvSpPr>
        <p:spPr>
          <a:xfrm>
            <a:off x="3528670" y="35173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8" name="object 22"/>
          <p:cNvSpPr/>
          <p:nvPr/>
        </p:nvSpPr>
        <p:spPr>
          <a:xfrm>
            <a:off x="3252845" y="520650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9" name="object 20"/>
          <p:cNvSpPr/>
          <p:nvPr/>
        </p:nvSpPr>
        <p:spPr>
          <a:xfrm>
            <a:off x="3849401" y="4051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0" name="object 18"/>
          <p:cNvSpPr/>
          <p:nvPr/>
        </p:nvSpPr>
        <p:spPr>
          <a:xfrm>
            <a:off x="6713687" y="269105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1" name="object 6"/>
          <p:cNvSpPr txBox="1"/>
          <p:nvPr/>
        </p:nvSpPr>
        <p:spPr>
          <a:xfrm>
            <a:off x="1332125" y="3759280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grpSp>
        <p:nvGrpSpPr>
          <p:cNvPr id="122" name="Group 121"/>
          <p:cNvGrpSpPr/>
          <p:nvPr/>
        </p:nvGrpSpPr>
        <p:grpSpPr>
          <a:xfrm>
            <a:off x="2383438" y="1888930"/>
            <a:ext cx="6303362" cy="4054670"/>
            <a:chOff x="2343901" y="1923700"/>
            <a:chExt cx="6303362" cy="4054670"/>
          </a:xfrm>
        </p:grpSpPr>
        <p:sp>
          <p:nvSpPr>
            <p:cNvPr id="123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124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  <p:sp>
        <p:nvSpPr>
          <p:cNvPr id="126" name="object 69"/>
          <p:cNvSpPr/>
          <p:nvPr/>
        </p:nvSpPr>
        <p:spPr>
          <a:xfrm>
            <a:off x="5016854" y="1593274"/>
            <a:ext cx="565019" cy="625840"/>
          </a:xfrm>
          <a:custGeom>
            <a:avLst/>
            <a:gdLst/>
            <a:ahLst/>
            <a:cxnLst/>
            <a:rect l="l" t="t" r="r" b="b"/>
            <a:pathLst>
              <a:path w="565019" h="625840">
                <a:moveTo>
                  <a:pt x="0" y="0"/>
                </a:moveTo>
                <a:lnTo>
                  <a:pt x="0" y="625840"/>
                </a:lnTo>
                <a:lnTo>
                  <a:pt x="565019" y="625840"/>
                </a:lnTo>
                <a:lnTo>
                  <a:pt x="565019" y="0"/>
                </a:lnTo>
                <a:lnTo>
                  <a:pt x="0" y="0"/>
                </a:lnTo>
                <a:close/>
              </a:path>
            </a:pathLst>
          </a:custGeom>
          <a:solidFill>
            <a:srgbClr val="59B9D0">
              <a:alpha val="71000"/>
            </a:srgbClr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5" name="object 5"/>
          <p:cNvSpPr txBox="1"/>
          <p:nvPr/>
        </p:nvSpPr>
        <p:spPr>
          <a:xfrm>
            <a:off x="2101916" y="369650"/>
            <a:ext cx="6889684" cy="807913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 marR="41909">
              <a:lnSpc>
                <a:spcPts val="3454"/>
              </a:lnSpc>
              <a:spcBef>
                <a:spcPts val="172"/>
              </a:spcBef>
            </a:pPr>
            <a:r>
              <a:rPr lang="en-US" sz="4800" baseline="2560" dirty="0">
                <a:solidFill>
                  <a:srgbClr val="4E81BC"/>
                </a:solidFill>
                <a:latin typeface="+mj-lt"/>
                <a:cs typeface="Calibri"/>
              </a:rPr>
              <a:t>Mean </a:t>
            </a:r>
            <a:r>
              <a:rPr lang="en-US" sz="4800" baseline="2560" dirty="0" smtClean="0">
                <a:solidFill>
                  <a:srgbClr val="4E81BC"/>
                </a:solidFill>
                <a:latin typeface="+mj-lt"/>
                <a:cs typeface="Calibri"/>
              </a:rPr>
              <a:t>Shift</a:t>
            </a:r>
            <a:endParaRPr sz="3200" dirty="0">
              <a:latin typeface="+mj-lt"/>
              <a:cs typeface="Calibri"/>
            </a:endParaRPr>
          </a:p>
          <a:p>
            <a:pPr marL="12700">
              <a:lnSpc>
                <a:spcPts val="2770"/>
              </a:lnSpc>
            </a:pPr>
            <a:r>
              <a:rPr lang="en-US" sz="3200" baseline="1137" dirty="0" smtClean="0">
                <a:solidFill>
                  <a:srgbClr val="7F7E7E"/>
                </a:solidFill>
                <a:latin typeface="+mj-lt"/>
                <a:cs typeface="Calibri"/>
              </a:rPr>
              <a:t>Sample local density, follow gradient towards denser direction</a:t>
            </a:r>
            <a:endParaRPr lang="en-US" sz="3200" baseline="1137" dirty="0">
              <a:solidFill>
                <a:srgbClr val="7F7E7E"/>
              </a:solidFill>
              <a:latin typeface="+mj-lt"/>
              <a:cs typeface="Calibri"/>
            </a:endParaRPr>
          </a:p>
        </p:txBody>
      </p:sp>
      <p:sp>
        <p:nvSpPr>
          <p:cNvPr id="124" name="object 3"/>
          <p:cNvSpPr txBox="1"/>
          <p:nvPr/>
        </p:nvSpPr>
        <p:spPr>
          <a:xfrm>
            <a:off x="5426815" y="6116930"/>
            <a:ext cx="542241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latin typeface="Calibri"/>
                <a:cs typeface="Calibri"/>
              </a:rPr>
              <a:t>Age</a:t>
            </a:r>
            <a:endParaRPr sz="2400">
              <a:latin typeface="Calibri"/>
              <a:cs typeface="Calibri"/>
            </a:endParaRPr>
          </a:p>
        </p:txBody>
      </p:sp>
      <p:sp>
        <p:nvSpPr>
          <p:cNvPr id="125" name="object 82"/>
          <p:cNvSpPr/>
          <p:nvPr/>
        </p:nvSpPr>
        <p:spPr>
          <a:xfrm>
            <a:off x="4414372" y="54871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6" name="object 84"/>
          <p:cNvSpPr/>
          <p:nvPr/>
        </p:nvSpPr>
        <p:spPr>
          <a:xfrm>
            <a:off x="5399747" y="55212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7" name="object 86"/>
          <p:cNvSpPr/>
          <p:nvPr/>
        </p:nvSpPr>
        <p:spPr>
          <a:xfrm>
            <a:off x="6251551" y="55023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8" name="object 74"/>
          <p:cNvSpPr/>
          <p:nvPr/>
        </p:nvSpPr>
        <p:spPr>
          <a:xfrm>
            <a:off x="2668469" y="519520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9" name="object 72"/>
          <p:cNvSpPr/>
          <p:nvPr/>
        </p:nvSpPr>
        <p:spPr>
          <a:xfrm>
            <a:off x="5959366" y="251737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40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80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0" name="object 70"/>
          <p:cNvSpPr/>
          <p:nvPr/>
        </p:nvSpPr>
        <p:spPr>
          <a:xfrm>
            <a:off x="5560113" y="213564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1" name="object 68"/>
          <p:cNvSpPr/>
          <p:nvPr/>
        </p:nvSpPr>
        <p:spPr>
          <a:xfrm>
            <a:off x="5148028" y="1723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2" name="object 66"/>
          <p:cNvSpPr/>
          <p:nvPr/>
        </p:nvSpPr>
        <p:spPr>
          <a:xfrm>
            <a:off x="6872003" y="34121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3" name="object 63"/>
          <p:cNvSpPr/>
          <p:nvPr/>
        </p:nvSpPr>
        <p:spPr>
          <a:xfrm>
            <a:off x="5880842" y="502152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6"/>
                </a:lnTo>
                <a:lnTo>
                  <a:pt x="1583" y="198179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6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2"/>
                </a:lnTo>
                <a:lnTo>
                  <a:pt x="49876" y="299561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6"/>
                </a:lnTo>
                <a:lnTo>
                  <a:pt x="196530" y="342926"/>
                </a:lnTo>
                <a:lnTo>
                  <a:pt x="209650" y="339004"/>
                </a:lnTo>
                <a:lnTo>
                  <a:pt x="222295" y="333936"/>
                </a:lnTo>
                <a:lnTo>
                  <a:pt x="234413" y="327778"/>
                </a:lnTo>
                <a:lnTo>
                  <a:pt x="245953" y="320583"/>
                </a:lnTo>
                <a:lnTo>
                  <a:pt x="256864" y="312409"/>
                </a:lnTo>
                <a:lnTo>
                  <a:pt x="267095" y="303311"/>
                </a:lnTo>
                <a:lnTo>
                  <a:pt x="276595" y="293343"/>
                </a:lnTo>
                <a:lnTo>
                  <a:pt x="285312" y="282562"/>
                </a:lnTo>
                <a:lnTo>
                  <a:pt x="293195" y="271023"/>
                </a:lnTo>
                <a:lnTo>
                  <a:pt x="300193" y="258781"/>
                </a:lnTo>
                <a:lnTo>
                  <a:pt x="306255" y="245892"/>
                </a:lnTo>
                <a:lnTo>
                  <a:pt x="311330" y="232411"/>
                </a:lnTo>
                <a:lnTo>
                  <a:pt x="315366" y="218394"/>
                </a:lnTo>
                <a:lnTo>
                  <a:pt x="318312" y="203896"/>
                </a:lnTo>
                <a:lnTo>
                  <a:pt x="320117" y="188973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9" y="93485"/>
                </a:lnTo>
                <a:lnTo>
                  <a:pt x="296006" y="80986"/>
                </a:lnTo>
                <a:lnTo>
                  <a:pt x="288459" y="69169"/>
                </a:lnTo>
                <a:lnTo>
                  <a:pt x="280058" y="58089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4"/>
                </a:lnTo>
                <a:lnTo>
                  <a:pt x="86318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4" name="object 62"/>
          <p:cNvSpPr/>
          <p:nvPr/>
        </p:nvSpPr>
        <p:spPr>
          <a:xfrm>
            <a:off x="4326962" y="34938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5" name="object 60"/>
          <p:cNvSpPr/>
          <p:nvPr/>
        </p:nvSpPr>
        <p:spPr>
          <a:xfrm>
            <a:off x="3451263" y="457102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6" name="object 58"/>
          <p:cNvSpPr/>
          <p:nvPr/>
        </p:nvSpPr>
        <p:spPr>
          <a:xfrm>
            <a:off x="7513462" y="204543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7" name="object 56"/>
          <p:cNvSpPr/>
          <p:nvPr/>
        </p:nvSpPr>
        <p:spPr>
          <a:xfrm>
            <a:off x="6553321" y="196196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8" name="object 54"/>
          <p:cNvSpPr/>
          <p:nvPr/>
        </p:nvSpPr>
        <p:spPr>
          <a:xfrm>
            <a:off x="7353097" y="275391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9" name="object 52"/>
          <p:cNvSpPr/>
          <p:nvPr/>
        </p:nvSpPr>
        <p:spPr>
          <a:xfrm>
            <a:off x="4696124" y="412086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0" name="object 50"/>
          <p:cNvSpPr/>
          <p:nvPr/>
        </p:nvSpPr>
        <p:spPr>
          <a:xfrm>
            <a:off x="4441297" y="46123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1" name="object 48"/>
          <p:cNvSpPr/>
          <p:nvPr/>
        </p:nvSpPr>
        <p:spPr>
          <a:xfrm>
            <a:off x="3130532" y="40499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2" name="object 42"/>
          <p:cNvSpPr/>
          <p:nvPr/>
        </p:nvSpPr>
        <p:spPr>
          <a:xfrm>
            <a:off x="5748103" y="33118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3" name="object 44"/>
          <p:cNvSpPr/>
          <p:nvPr/>
        </p:nvSpPr>
        <p:spPr>
          <a:xfrm>
            <a:off x="5560113" y="25802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4" name="object 46"/>
          <p:cNvSpPr/>
          <p:nvPr/>
        </p:nvSpPr>
        <p:spPr>
          <a:xfrm>
            <a:off x="5421508" y="296447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5" name="object 40"/>
          <p:cNvSpPr/>
          <p:nvPr/>
        </p:nvSpPr>
        <p:spPr>
          <a:xfrm>
            <a:off x="5213120" y="49216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6" name="object 38"/>
          <p:cNvSpPr/>
          <p:nvPr/>
        </p:nvSpPr>
        <p:spPr>
          <a:xfrm>
            <a:off x="7032365" y="221911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7" name="object 36"/>
          <p:cNvSpPr/>
          <p:nvPr/>
        </p:nvSpPr>
        <p:spPr>
          <a:xfrm>
            <a:off x="7385165" y="340218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6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7"/>
                </a:lnTo>
                <a:lnTo>
                  <a:pt x="310251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8" name="object 34"/>
          <p:cNvSpPr/>
          <p:nvPr/>
        </p:nvSpPr>
        <p:spPr>
          <a:xfrm>
            <a:off x="5038354" y="24830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9" name="object 32"/>
          <p:cNvSpPr/>
          <p:nvPr/>
        </p:nvSpPr>
        <p:spPr>
          <a:xfrm>
            <a:off x="7192732" y="159327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50" name="object 30"/>
          <p:cNvSpPr/>
          <p:nvPr/>
        </p:nvSpPr>
        <p:spPr>
          <a:xfrm>
            <a:off x="6201572" y="316997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51" name="object 28"/>
          <p:cNvSpPr/>
          <p:nvPr/>
        </p:nvSpPr>
        <p:spPr>
          <a:xfrm>
            <a:off x="4877989" y="532865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52" name="object 26"/>
          <p:cNvSpPr/>
          <p:nvPr/>
        </p:nvSpPr>
        <p:spPr>
          <a:xfrm>
            <a:off x="5581873" y="4521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53" name="object 24"/>
          <p:cNvSpPr/>
          <p:nvPr/>
        </p:nvSpPr>
        <p:spPr>
          <a:xfrm>
            <a:off x="3528670" y="35173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54" name="object 22"/>
          <p:cNvSpPr/>
          <p:nvPr/>
        </p:nvSpPr>
        <p:spPr>
          <a:xfrm>
            <a:off x="3252845" y="520650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55" name="object 20"/>
          <p:cNvSpPr/>
          <p:nvPr/>
        </p:nvSpPr>
        <p:spPr>
          <a:xfrm>
            <a:off x="3849401" y="4051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56" name="object 18"/>
          <p:cNvSpPr/>
          <p:nvPr/>
        </p:nvSpPr>
        <p:spPr>
          <a:xfrm>
            <a:off x="6713687" y="269105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57" name="object 6"/>
          <p:cNvSpPr txBox="1"/>
          <p:nvPr/>
        </p:nvSpPr>
        <p:spPr>
          <a:xfrm>
            <a:off x="1332125" y="3759280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grpSp>
        <p:nvGrpSpPr>
          <p:cNvPr id="158" name="Group 157"/>
          <p:cNvGrpSpPr/>
          <p:nvPr/>
        </p:nvGrpSpPr>
        <p:grpSpPr>
          <a:xfrm>
            <a:off x="2383438" y="1888930"/>
            <a:ext cx="6303362" cy="4054670"/>
            <a:chOff x="2343901" y="1923700"/>
            <a:chExt cx="6303362" cy="4054670"/>
          </a:xfrm>
        </p:grpSpPr>
        <p:sp>
          <p:nvSpPr>
            <p:cNvPr id="159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160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  <p:sp>
        <p:nvSpPr>
          <p:cNvPr id="161" name="object 69"/>
          <p:cNvSpPr/>
          <p:nvPr/>
        </p:nvSpPr>
        <p:spPr>
          <a:xfrm>
            <a:off x="5016854" y="1593274"/>
            <a:ext cx="565019" cy="625840"/>
          </a:xfrm>
          <a:custGeom>
            <a:avLst/>
            <a:gdLst/>
            <a:ahLst/>
            <a:cxnLst/>
            <a:rect l="l" t="t" r="r" b="b"/>
            <a:pathLst>
              <a:path w="565019" h="625840">
                <a:moveTo>
                  <a:pt x="0" y="0"/>
                </a:moveTo>
                <a:lnTo>
                  <a:pt x="0" y="625840"/>
                </a:lnTo>
                <a:lnTo>
                  <a:pt x="565019" y="625840"/>
                </a:lnTo>
                <a:lnTo>
                  <a:pt x="565019" y="0"/>
                </a:lnTo>
                <a:lnTo>
                  <a:pt x="0" y="0"/>
                </a:lnTo>
                <a:close/>
              </a:path>
            </a:pathLst>
          </a:custGeom>
          <a:solidFill>
            <a:srgbClr val="59B9D0">
              <a:alpha val="71000"/>
            </a:srgbClr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5" name="object 5"/>
          <p:cNvSpPr txBox="1"/>
          <p:nvPr/>
        </p:nvSpPr>
        <p:spPr>
          <a:xfrm>
            <a:off x="2101916" y="369650"/>
            <a:ext cx="6889684" cy="807913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 marR="41909">
              <a:lnSpc>
                <a:spcPts val="3454"/>
              </a:lnSpc>
              <a:spcBef>
                <a:spcPts val="172"/>
              </a:spcBef>
            </a:pPr>
            <a:r>
              <a:rPr lang="en-US" sz="4800" baseline="2560" dirty="0">
                <a:solidFill>
                  <a:srgbClr val="4E81BC"/>
                </a:solidFill>
                <a:latin typeface="+mj-lt"/>
                <a:cs typeface="Calibri"/>
              </a:rPr>
              <a:t>Mean </a:t>
            </a:r>
            <a:r>
              <a:rPr lang="en-US" sz="4800" baseline="2560" dirty="0" smtClean="0">
                <a:solidFill>
                  <a:srgbClr val="4E81BC"/>
                </a:solidFill>
                <a:latin typeface="+mj-lt"/>
                <a:cs typeface="Calibri"/>
              </a:rPr>
              <a:t>Shift</a:t>
            </a:r>
            <a:endParaRPr sz="3200" dirty="0">
              <a:latin typeface="+mj-lt"/>
              <a:cs typeface="Calibri"/>
            </a:endParaRPr>
          </a:p>
          <a:p>
            <a:pPr marL="12700">
              <a:lnSpc>
                <a:spcPts val="2770"/>
              </a:lnSpc>
            </a:pPr>
            <a:r>
              <a:rPr lang="en-US" sz="3200" baseline="1137" dirty="0" smtClean="0">
                <a:solidFill>
                  <a:srgbClr val="7F7E7E"/>
                </a:solidFill>
                <a:latin typeface="+mj-lt"/>
                <a:cs typeface="Calibri"/>
              </a:rPr>
              <a:t>Sample local density, follow gradient towards denser direction</a:t>
            </a:r>
            <a:endParaRPr lang="en-US" sz="3200" baseline="1137" dirty="0">
              <a:solidFill>
                <a:srgbClr val="7F7E7E"/>
              </a:solidFill>
              <a:latin typeface="+mj-lt"/>
              <a:cs typeface="Calibri"/>
            </a:endParaRPr>
          </a:p>
        </p:txBody>
      </p:sp>
      <p:sp>
        <p:nvSpPr>
          <p:cNvPr id="86" name="object 3"/>
          <p:cNvSpPr txBox="1"/>
          <p:nvPr/>
        </p:nvSpPr>
        <p:spPr>
          <a:xfrm>
            <a:off x="5426815" y="6116930"/>
            <a:ext cx="542241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latin typeface="Calibri"/>
                <a:cs typeface="Calibri"/>
              </a:rPr>
              <a:t>Age</a:t>
            </a:r>
            <a:endParaRPr sz="2400">
              <a:latin typeface="Calibri"/>
              <a:cs typeface="Calibri"/>
            </a:endParaRPr>
          </a:p>
        </p:txBody>
      </p:sp>
      <p:sp>
        <p:nvSpPr>
          <p:cNvPr id="87" name="object 82"/>
          <p:cNvSpPr/>
          <p:nvPr/>
        </p:nvSpPr>
        <p:spPr>
          <a:xfrm>
            <a:off x="4414372" y="54871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8" name="object 84"/>
          <p:cNvSpPr/>
          <p:nvPr/>
        </p:nvSpPr>
        <p:spPr>
          <a:xfrm>
            <a:off x="5399747" y="55212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9" name="object 86"/>
          <p:cNvSpPr/>
          <p:nvPr/>
        </p:nvSpPr>
        <p:spPr>
          <a:xfrm>
            <a:off x="6251551" y="55023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0" name="object 74"/>
          <p:cNvSpPr/>
          <p:nvPr/>
        </p:nvSpPr>
        <p:spPr>
          <a:xfrm>
            <a:off x="2668469" y="519520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1" name="object 72"/>
          <p:cNvSpPr/>
          <p:nvPr/>
        </p:nvSpPr>
        <p:spPr>
          <a:xfrm>
            <a:off x="5959366" y="251737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40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80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2" name="object 70"/>
          <p:cNvSpPr/>
          <p:nvPr/>
        </p:nvSpPr>
        <p:spPr>
          <a:xfrm>
            <a:off x="5560113" y="213564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3" name="object 68"/>
          <p:cNvSpPr/>
          <p:nvPr/>
        </p:nvSpPr>
        <p:spPr>
          <a:xfrm>
            <a:off x="5148028" y="1723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4" name="object 66"/>
          <p:cNvSpPr/>
          <p:nvPr/>
        </p:nvSpPr>
        <p:spPr>
          <a:xfrm>
            <a:off x="6872003" y="34121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5" name="object 63"/>
          <p:cNvSpPr/>
          <p:nvPr/>
        </p:nvSpPr>
        <p:spPr>
          <a:xfrm>
            <a:off x="5880842" y="502152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6"/>
                </a:lnTo>
                <a:lnTo>
                  <a:pt x="1583" y="198179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6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2"/>
                </a:lnTo>
                <a:lnTo>
                  <a:pt x="49876" y="299561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6"/>
                </a:lnTo>
                <a:lnTo>
                  <a:pt x="196530" y="342926"/>
                </a:lnTo>
                <a:lnTo>
                  <a:pt x="209650" y="339004"/>
                </a:lnTo>
                <a:lnTo>
                  <a:pt x="222295" y="333936"/>
                </a:lnTo>
                <a:lnTo>
                  <a:pt x="234413" y="327778"/>
                </a:lnTo>
                <a:lnTo>
                  <a:pt x="245953" y="320583"/>
                </a:lnTo>
                <a:lnTo>
                  <a:pt x="256864" y="312409"/>
                </a:lnTo>
                <a:lnTo>
                  <a:pt x="267095" y="303311"/>
                </a:lnTo>
                <a:lnTo>
                  <a:pt x="276595" y="293343"/>
                </a:lnTo>
                <a:lnTo>
                  <a:pt x="285312" y="282562"/>
                </a:lnTo>
                <a:lnTo>
                  <a:pt x="293195" y="271023"/>
                </a:lnTo>
                <a:lnTo>
                  <a:pt x="300193" y="258781"/>
                </a:lnTo>
                <a:lnTo>
                  <a:pt x="306255" y="245892"/>
                </a:lnTo>
                <a:lnTo>
                  <a:pt x="311330" y="232411"/>
                </a:lnTo>
                <a:lnTo>
                  <a:pt x="315366" y="218394"/>
                </a:lnTo>
                <a:lnTo>
                  <a:pt x="318312" y="203896"/>
                </a:lnTo>
                <a:lnTo>
                  <a:pt x="320117" y="188973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9" y="93485"/>
                </a:lnTo>
                <a:lnTo>
                  <a:pt x="296006" y="80986"/>
                </a:lnTo>
                <a:lnTo>
                  <a:pt x="288459" y="69169"/>
                </a:lnTo>
                <a:lnTo>
                  <a:pt x="280058" y="58089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4"/>
                </a:lnTo>
                <a:lnTo>
                  <a:pt x="86318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6" name="object 62"/>
          <p:cNvSpPr/>
          <p:nvPr/>
        </p:nvSpPr>
        <p:spPr>
          <a:xfrm>
            <a:off x="4326962" y="34938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7" name="object 60"/>
          <p:cNvSpPr/>
          <p:nvPr/>
        </p:nvSpPr>
        <p:spPr>
          <a:xfrm>
            <a:off x="3451263" y="457102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8" name="object 58"/>
          <p:cNvSpPr/>
          <p:nvPr/>
        </p:nvSpPr>
        <p:spPr>
          <a:xfrm>
            <a:off x="7513462" y="204543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9" name="object 56"/>
          <p:cNvSpPr/>
          <p:nvPr/>
        </p:nvSpPr>
        <p:spPr>
          <a:xfrm>
            <a:off x="6553321" y="196196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0" name="object 54"/>
          <p:cNvSpPr/>
          <p:nvPr/>
        </p:nvSpPr>
        <p:spPr>
          <a:xfrm>
            <a:off x="7353097" y="275391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1" name="object 52"/>
          <p:cNvSpPr/>
          <p:nvPr/>
        </p:nvSpPr>
        <p:spPr>
          <a:xfrm>
            <a:off x="4696124" y="412086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2" name="object 50"/>
          <p:cNvSpPr/>
          <p:nvPr/>
        </p:nvSpPr>
        <p:spPr>
          <a:xfrm>
            <a:off x="4441297" y="46123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3" name="object 48"/>
          <p:cNvSpPr/>
          <p:nvPr/>
        </p:nvSpPr>
        <p:spPr>
          <a:xfrm>
            <a:off x="3130532" y="40499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4" name="object 42"/>
          <p:cNvSpPr/>
          <p:nvPr/>
        </p:nvSpPr>
        <p:spPr>
          <a:xfrm>
            <a:off x="5748103" y="33118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5" name="object 44"/>
          <p:cNvSpPr/>
          <p:nvPr/>
        </p:nvSpPr>
        <p:spPr>
          <a:xfrm>
            <a:off x="5560113" y="25802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6" name="object 46"/>
          <p:cNvSpPr/>
          <p:nvPr/>
        </p:nvSpPr>
        <p:spPr>
          <a:xfrm>
            <a:off x="5421508" y="296447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7" name="object 40"/>
          <p:cNvSpPr/>
          <p:nvPr/>
        </p:nvSpPr>
        <p:spPr>
          <a:xfrm>
            <a:off x="5213120" y="49216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8" name="object 38"/>
          <p:cNvSpPr/>
          <p:nvPr/>
        </p:nvSpPr>
        <p:spPr>
          <a:xfrm>
            <a:off x="7032365" y="221911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9" name="object 36"/>
          <p:cNvSpPr/>
          <p:nvPr/>
        </p:nvSpPr>
        <p:spPr>
          <a:xfrm>
            <a:off x="7385165" y="340218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6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7"/>
                </a:lnTo>
                <a:lnTo>
                  <a:pt x="310251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0" name="object 34"/>
          <p:cNvSpPr/>
          <p:nvPr/>
        </p:nvSpPr>
        <p:spPr>
          <a:xfrm>
            <a:off x="5038354" y="24830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1" name="object 32"/>
          <p:cNvSpPr/>
          <p:nvPr/>
        </p:nvSpPr>
        <p:spPr>
          <a:xfrm>
            <a:off x="7192732" y="159327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2" name="object 30"/>
          <p:cNvSpPr/>
          <p:nvPr/>
        </p:nvSpPr>
        <p:spPr>
          <a:xfrm>
            <a:off x="6201572" y="316997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3" name="object 28"/>
          <p:cNvSpPr/>
          <p:nvPr/>
        </p:nvSpPr>
        <p:spPr>
          <a:xfrm>
            <a:off x="4877989" y="532865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4" name="object 26"/>
          <p:cNvSpPr/>
          <p:nvPr/>
        </p:nvSpPr>
        <p:spPr>
          <a:xfrm>
            <a:off x="5581873" y="4521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5" name="object 24"/>
          <p:cNvSpPr/>
          <p:nvPr/>
        </p:nvSpPr>
        <p:spPr>
          <a:xfrm>
            <a:off x="3528670" y="35173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6" name="object 22"/>
          <p:cNvSpPr/>
          <p:nvPr/>
        </p:nvSpPr>
        <p:spPr>
          <a:xfrm>
            <a:off x="3252845" y="520650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7" name="object 20"/>
          <p:cNvSpPr/>
          <p:nvPr/>
        </p:nvSpPr>
        <p:spPr>
          <a:xfrm>
            <a:off x="3849401" y="4051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8" name="object 18"/>
          <p:cNvSpPr/>
          <p:nvPr/>
        </p:nvSpPr>
        <p:spPr>
          <a:xfrm>
            <a:off x="6713687" y="269105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9" name="object 6"/>
          <p:cNvSpPr txBox="1"/>
          <p:nvPr/>
        </p:nvSpPr>
        <p:spPr>
          <a:xfrm>
            <a:off x="1332125" y="3759280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grpSp>
        <p:nvGrpSpPr>
          <p:cNvPr id="120" name="Group 119"/>
          <p:cNvGrpSpPr/>
          <p:nvPr/>
        </p:nvGrpSpPr>
        <p:grpSpPr>
          <a:xfrm>
            <a:off x="2383438" y="1888930"/>
            <a:ext cx="6303362" cy="4054670"/>
            <a:chOff x="2343901" y="1923700"/>
            <a:chExt cx="6303362" cy="4054670"/>
          </a:xfrm>
        </p:grpSpPr>
        <p:sp>
          <p:nvSpPr>
            <p:cNvPr id="121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122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  <p:sp>
        <p:nvSpPr>
          <p:cNvPr id="123" name="object 69"/>
          <p:cNvSpPr/>
          <p:nvPr/>
        </p:nvSpPr>
        <p:spPr>
          <a:xfrm>
            <a:off x="5148028" y="1829704"/>
            <a:ext cx="565019" cy="625840"/>
          </a:xfrm>
          <a:custGeom>
            <a:avLst/>
            <a:gdLst/>
            <a:ahLst/>
            <a:cxnLst/>
            <a:rect l="l" t="t" r="r" b="b"/>
            <a:pathLst>
              <a:path w="565019" h="625840">
                <a:moveTo>
                  <a:pt x="0" y="0"/>
                </a:moveTo>
                <a:lnTo>
                  <a:pt x="0" y="625840"/>
                </a:lnTo>
                <a:lnTo>
                  <a:pt x="565019" y="625840"/>
                </a:lnTo>
                <a:lnTo>
                  <a:pt x="565019" y="0"/>
                </a:lnTo>
                <a:lnTo>
                  <a:pt x="0" y="0"/>
                </a:lnTo>
                <a:close/>
              </a:path>
            </a:pathLst>
          </a:custGeom>
          <a:solidFill>
            <a:srgbClr val="59B9D0">
              <a:alpha val="71000"/>
            </a:srgbClr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484212341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5" name="object 5"/>
          <p:cNvSpPr txBox="1"/>
          <p:nvPr/>
        </p:nvSpPr>
        <p:spPr>
          <a:xfrm>
            <a:off x="2101916" y="369650"/>
            <a:ext cx="6889684" cy="807913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 marR="41909">
              <a:lnSpc>
                <a:spcPts val="3454"/>
              </a:lnSpc>
              <a:spcBef>
                <a:spcPts val="172"/>
              </a:spcBef>
            </a:pPr>
            <a:r>
              <a:rPr lang="en-US" sz="4800" baseline="2560" dirty="0">
                <a:solidFill>
                  <a:srgbClr val="4E81BC"/>
                </a:solidFill>
                <a:latin typeface="+mj-lt"/>
                <a:cs typeface="Calibri"/>
              </a:rPr>
              <a:t>Mean </a:t>
            </a:r>
            <a:r>
              <a:rPr lang="en-US" sz="4800" baseline="2560" dirty="0" smtClean="0">
                <a:solidFill>
                  <a:srgbClr val="4E81BC"/>
                </a:solidFill>
                <a:latin typeface="+mj-lt"/>
                <a:cs typeface="Calibri"/>
              </a:rPr>
              <a:t>Shift</a:t>
            </a:r>
            <a:endParaRPr sz="3200" dirty="0">
              <a:latin typeface="+mj-lt"/>
              <a:cs typeface="Calibri"/>
            </a:endParaRPr>
          </a:p>
          <a:p>
            <a:pPr marL="12700">
              <a:lnSpc>
                <a:spcPts val="2770"/>
              </a:lnSpc>
            </a:pPr>
            <a:r>
              <a:rPr lang="en-US" sz="3200" baseline="1137" dirty="0" smtClean="0">
                <a:solidFill>
                  <a:srgbClr val="7F7E7E"/>
                </a:solidFill>
                <a:latin typeface="+mj-lt"/>
                <a:cs typeface="Calibri"/>
              </a:rPr>
              <a:t>Sample local density, follow gradient towards denser direction</a:t>
            </a:r>
            <a:endParaRPr lang="en-US" sz="3200" baseline="1137" dirty="0">
              <a:solidFill>
                <a:srgbClr val="7F7E7E"/>
              </a:solidFill>
              <a:latin typeface="+mj-lt"/>
              <a:cs typeface="Calibri"/>
            </a:endParaRPr>
          </a:p>
        </p:txBody>
      </p:sp>
      <p:sp>
        <p:nvSpPr>
          <p:cNvPr id="86" name="object 82"/>
          <p:cNvSpPr/>
          <p:nvPr/>
        </p:nvSpPr>
        <p:spPr>
          <a:xfrm>
            <a:off x="4414372" y="54871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7" name="object 84"/>
          <p:cNvSpPr/>
          <p:nvPr/>
        </p:nvSpPr>
        <p:spPr>
          <a:xfrm>
            <a:off x="5399747" y="55212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8" name="object 86"/>
          <p:cNvSpPr/>
          <p:nvPr/>
        </p:nvSpPr>
        <p:spPr>
          <a:xfrm>
            <a:off x="6251551" y="55023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9" name="object 74"/>
          <p:cNvSpPr/>
          <p:nvPr/>
        </p:nvSpPr>
        <p:spPr>
          <a:xfrm>
            <a:off x="2668469" y="519520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0" name="object 72"/>
          <p:cNvSpPr/>
          <p:nvPr/>
        </p:nvSpPr>
        <p:spPr>
          <a:xfrm>
            <a:off x="5959366" y="251737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40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80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1" name="object 70"/>
          <p:cNvSpPr/>
          <p:nvPr/>
        </p:nvSpPr>
        <p:spPr>
          <a:xfrm>
            <a:off x="5560113" y="213564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2" name="object 68"/>
          <p:cNvSpPr/>
          <p:nvPr/>
        </p:nvSpPr>
        <p:spPr>
          <a:xfrm>
            <a:off x="5148028" y="1723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3" name="object 66"/>
          <p:cNvSpPr/>
          <p:nvPr/>
        </p:nvSpPr>
        <p:spPr>
          <a:xfrm>
            <a:off x="6872003" y="34121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4" name="object 63"/>
          <p:cNvSpPr/>
          <p:nvPr/>
        </p:nvSpPr>
        <p:spPr>
          <a:xfrm>
            <a:off x="5880842" y="502152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6"/>
                </a:lnTo>
                <a:lnTo>
                  <a:pt x="1583" y="198179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6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2"/>
                </a:lnTo>
                <a:lnTo>
                  <a:pt x="49876" y="299561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6"/>
                </a:lnTo>
                <a:lnTo>
                  <a:pt x="196530" y="342926"/>
                </a:lnTo>
                <a:lnTo>
                  <a:pt x="209650" y="339004"/>
                </a:lnTo>
                <a:lnTo>
                  <a:pt x="222295" y="333936"/>
                </a:lnTo>
                <a:lnTo>
                  <a:pt x="234413" y="327778"/>
                </a:lnTo>
                <a:lnTo>
                  <a:pt x="245953" y="320583"/>
                </a:lnTo>
                <a:lnTo>
                  <a:pt x="256864" y="312409"/>
                </a:lnTo>
                <a:lnTo>
                  <a:pt x="267095" y="303311"/>
                </a:lnTo>
                <a:lnTo>
                  <a:pt x="276595" y="293343"/>
                </a:lnTo>
                <a:lnTo>
                  <a:pt x="285312" y="282562"/>
                </a:lnTo>
                <a:lnTo>
                  <a:pt x="293195" y="271023"/>
                </a:lnTo>
                <a:lnTo>
                  <a:pt x="300193" y="258781"/>
                </a:lnTo>
                <a:lnTo>
                  <a:pt x="306255" y="245892"/>
                </a:lnTo>
                <a:lnTo>
                  <a:pt x="311330" y="232411"/>
                </a:lnTo>
                <a:lnTo>
                  <a:pt x="315366" y="218394"/>
                </a:lnTo>
                <a:lnTo>
                  <a:pt x="318312" y="203896"/>
                </a:lnTo>
                <a:lnTo>
                  <a:pt x="320117" y="188973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9" y="93485"/>
                </a:lnTo>
                <a:lnTo>
                  <a:pt x="296006" y="80986"/>
                </a:lnTo>
                <a:lnTo>
                  <a:pt x="288459" y="69169"/>
                </a:lnTo>
                <a:lnTo>
                  <a:pt x="280058" y="58089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4"/>
                </a:lnTo>
                <a:lnTo>
                  <a:pt x="86318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5" name="object 62"/>
          <p:cNvSpPr/>
          <p:nvPr/>
        </p:nvSpPr>
        <p:spPr>
          <a:xfrm>
            <a:off x="4326962" y="34938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6" name="object 60"/>
          <p:cNvSpPr/>
          <p:nvPr/>
        </p:nvSpPr>
        <p:spPr>
          <a:xfrm>
            <a:off x="3451263" y="457102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7" name="object 58"/>
          <p:cNvSpPr/>
          <p:nvPr/>
        </p:nvSpPr>
        <p:spPr>
          <a:xfrm>
            <a:off x="7513462" y="204543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8" name="object 56"/>
          <p:cNvSpPr/>
          <p:nvPr/>
        </p:nvSpPr>
        <p:spPr>
          <a:xfrm>
            <a:off x="6553321" y="196196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9" name="object 54"/>
          <p:cNvSpPr/>
          <p:nvPr/>
        </p:nvSpPr>
        <p:spPr>
          <a:xfrm>
            <a:off x="7353097" y="275391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0" name="object 52"/>
          <p:cNvSpPr/>
          <p:nvPr/>
        </p:nvSpPr>
        <p:spPr>
          <a:xfrm>
            <a:off x="4696124" y="412086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1" name="object 50"/>
          <p:cNvSpPr/>
          <p:nvPr/>
        </p:nvSpPr>
        <p:spPr>
          <a:xfrm>
            <a:off x="4441297" y="46123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2" name="object 48"/>
          <p:cNvSpPr/>
          <p:nvPr/>
        </p:nvSpPr>
        <p:spPr>
          <a:xfrm>
            <a:off x="3130532" y="40499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3" name="object 42"/>
          <p:cNvSpPr/>
          <p:nvPr/>
        </p:nvSpPr>
        <p:spPr>
          <a:xfrm>
            <a:off x="5748103" y="33118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4" name="object 44"/>
          <p:cNvSpPr/>
          <p:nvPr/>
        </p:nvSpPr>
        <p:spPr>
          <a:xfrm>
            <a:off x="5560113" y="25802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5" name="object 46"/>
          <p:cNvSpPr/>
          <p:nvPr/>
        </p:nvSpPr>
        <p:spPr>
          <a:xfrm>
            <a:off x="5421508" y="296447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6" name="object 40"/>
          <p:cNvSpPr/>
          <p:nvPr/>
        </p:nvSpPr>
        <p:spPr>
          <a:xfrm>
            <a:off x="5213120" y="49216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7" name="object 38"/>
          <p:cNvSpPr/>
          <p:nvPr/>
        </p:nvSpPr>
        <p:spPr>
          <a:xfrm>
            <a:off x="7032365" y="221911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8" name="object 36"/>
          <p:cNvSpPr/>
          <p:nvPr/>
        </p:nvSpPr>
        <p:spPr>
          <a:xfrm>
            <a:off x="7385165" y="340218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6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7"/>
                </a:lnTo>
                <a:lnTo>
                  <a:pt x="310251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9" name="object 34"/>
          <p:cNvSpPr/>
          <p:nvPr/>
        </p:nvSpPr>
        <p:spPr>
          <a:xfrm>
            <a:off x="5038354" y="24830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0" name="object 32"/>
          <p:cNvSpPr/>
          <p:nvPr/>
        </p:nvSpPr>
        <p:spPr>
          <a:xfrm>
            <a:off x="7192732" y="159327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1" name="object 30"/>
          <p:cNvSpPr/>
          <p:nvPr/>
        </p:nvSpPr>
        <p:spPr>
          <a:xfrm>
            <a:off x="6201572" y="316997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2" name="object 28"/>
          <p:cNvSpPr/>
          <p:nvPr/>
        </p:nvSpPr>
        <p:spPr>
          <a:xfrm>
            <a:off x="4877989" y="532865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3" name="object 26"/>
          <p:cNvSpPr/>
          <p:nvPr/>
        </p:nvSpPr>
        <p:spPr>
          <a:xfrm>
            <a:off x="5581873" y="4521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4" name="object 24"/>
          <p:cNvSpPr/>
          <p:nvPr/>
        </p:nvSpPr>
        <p:spPr>
          <a:xfrm>
            <a:off x="3528670" y="35173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5" name="object 22"/>
          <p:cNvSpPr/>
          <p:nvPr/>
        </p:nvSpPr>
        <p:spPr>
          <a:xfrm>
            <a:off x="3252845" y="520650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6" name="object 20"/>
          <p:cNvSpPr/>
          <p:nvPr/>
        </p:nvSpPr>
        <p:spPr>
          <a:xfrm>
            <a:off x="3849401" y="4051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7" name="object 18"/>
          <p:cNvSpPr/>
          <p:nvPr/>
        </p:nvSpPr>
        <p:spPr>
          <a:xfrm>
            <a:off x="6713687" y="269105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8" name="object 6"/>
          <p:cNvSpPr txBox="1"/>
          <p:nvPr/>
        </p:nvSpPr>
        <p:spPr>
          <a:xfrm>
            <a:off x="1332125" y="3759280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grpSp>
        <p:nvGrpSpPr>
          <p:cNvPr id="119" name="Group 118"/>
          <p:cNvGrpSpPr/>
          <p:nvPr/>
        </p:nvGrpSpPr>
        <p:grpSpPr>
          <a:xfrm>
            <a:off x="2383438" y="1888930"/>
            <a:ext cx="6303362" cy="4054670"/>
            <a:chOff x="2343901" y="1923700"/>
            <a:chExt cx="6303362" cy="4054670"/>
          </a:xfrm>
        </p:grpSpPr>
        <p:sp>
          <p:nvSpPr>
            <p:cNvPr id="120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121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  <p:sp>
        <p:nvSpPr>
          <p:cNvPr id="122" name="object 69"/>
          <p:cNvSpPr/>
          <p:nvPr/>
        </p:nvSpPr>
        <p:spPr>
          <a:xfrm>
            <a:off x="5342566" y="2111402"/>
            <a:ext cx="565019" cy="625840"/>
          </a:xfrm>
          <a:custGeom>
            <a:avLst/>
            <a:gdLst/>
            <a:ahLst/>
            <a:cxnLst/>
            <a:rect l="l" t="t" r="r" b="b"/>
            <a:pathLst>
              <a:path w="565019" h="625840">
                <a:moveTo>
                  <a:pt x="0" y="0"/>
                </a:moveTo>
                <a:lnTo>
                  <a:pt x="0" y="625840"/>
                </a:lnTo>
                <a:lnTo>
                  <a:pt x="565019" y="625840"/>
                </a:lnTo>
                <a:lnTo>
                  <a:pt x="565019" y="0"/>
                </a:lnTo>
                <a:lnTo>
                  <a:pt x="0" y="0"/>
                </a:lnTo>
                <a:close/>
              </a:path>
            </a:pathLst>
          </a:custGeom>
          <a:solidFill>
            <a:srgbClr val="59B9D0">
              <a:alpha val="71000"/>
            </a:srgbClr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5" name="object 5"/>
          <p:cNvSpPr txBox="1"/>
          <p:nvPr/>
        </p:nvSpPr>
        <p:spPr>
          <a:xfrm>
            <a:off x="2101916" y="369650"/>
            <a:ext cx="6889684" cy="807913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 marR="41909">
              <a:lnSpc>
                <a:spcPts val="3454"/>
              </a:lnSpc>
              <a:spcBef>
                <a:spcPts val="172"/>
              </a:spcBef>
            </a:pPr>
            <a:r>
              <a:rPr lang="en-US" sz="4800" baseline="2560" dirty="0">
                <a:solidFill>
                  <a:srgbClr val="4E81BC"/>
                </a:solidFill>
                <a:latin typeface="+mj-lt"/>
                <a:cs typeface="Calibri"/>
              </a:rPr>
              <a:t>Mean </a:t>
            </a:r>
            <a:r>
              <a:rPr lang="en-US" sz="4800" baseline="2560" dirty="0" smtClean="0">
                <a:solidFill>
                  <a:srgbClr val="4E81BC"/>
                </a:solidFill>
                <a:latin typeface="+mj-lt"/>
                <a:cs typeface="Calibri"/>
              </a:rPr>
              <a:t>Shift</a:t>
            </a:r>
            <a:endParaRPr sz="3200" dirty="0">
              <a:latin typeface="+mj-lt"/>
              <a:cs typeface="Calibri"/>
            </a:endParaRPr>
          </a:p>
          <a:p>
            <a:pPr marL="12700">
              <a:lnSpc>
                <a:spcPts val="2770"/>
              </a:lnSpc>
            </a:pPr>
            <a:r>
              <a:rPr lang="en-US" sz="3200" baseline="1137" dirty="0" smtClean="0">
                <a:solidFill>
                  <a:srgbClr val="7F7E7E"/>
                </a:solidFill>
                <a:latin typeface="+mj-lt"/>
                <a:cs typeface="Calibri"/>
              </a:rPr>
              <a:t>Sample local density, follow gradient towards denser direction</a:t>
            </a:r>
            <a:endParaRPr lang="en-US" sz="3200" baseline="1137" dirty="0">
              <a:solidFill>
                <a:srgbClr val="7F7E7E"/>
              </a:solidFill>
              <a:latin typeface="+mj-lt"/>
              <a:cs typeface="Calibri"/>
            </a:endParaRPr>
          </a:p>
        </p:txBody>
      </p:sp>
      <p:sp>
        <p:nvSpPr>
          <p:cNvPr id="86" name="object 82"/>
          <p:cNvSpPr/>
          <p:nvPr/>
        </p:nvSpPr>
        <p:spPr>
          <a:xfrm>
            <a:off x="4414372" y="54871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7" name="object 84"/>
          <p:cNvSpPr/>
          <p:nvPr/>
        </p:nvSpPr>
        <p:spPr>
          <a:xfrm>
            <a:off x="5399747" y="55212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8" name="object 86"/>
          <p:cNvSpPr/>
          <p:nvPr/>
        </p:nvSpPr>
        <p:spPr>
          <a:xfrm>
            <a:off x="6251551" y="55023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9" name="object 74"/>
          <p:cNvSpPr/>
          <p:nvPr/>
        </p:nvSpPr>
        <p:spPr>
          <a:xfrm>
            <a:off x="2668469" y="519520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0" name="object 72"/>
          <p:cNvSpPr/>
          <p:nvPr/>
        </p:nvSpPr>
        <p:spPr>
          <a:xfrm>
            <a:off x="5959366" y="251737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40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80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1" name="object 70"/>
          <p:cNvSpPr/>
          <p:nvPr/>
        </p:nvSpPr>
        <p:spPr>
          <a:xfrm>
            <a:off x="5560113" y="213564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2" name="object 68"/>
          <p:cNvSpPr/>
          <p:nvPr/>
        </p:nvSpPr>
        <p:spPr>
          <a:xfrm>
            <a:off x="5148028" y="1723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3" name="object 66"/>
          <p:cNvSpPr/>
          <p:nvPr/>
        </p:nvSpPr>
        <p:spPr>
          <a:xfrm>
            <a:off x="6872003" y="34121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4" name="object 63"/>
          <p:cNvSpPr/>
          <p:nvPr/>
        </p:nvSpPr>
        <p:spPr>
          <a:xfrm>
            <a:off x="5880842" y="502152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6"/>
                </a:lnTo>
                <a:lnTo>
                  <a:pt x="1583" y="198179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6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2"/>
                </a:lnTo>
                <a:lnTo>
                  <a:pt x="49876" y="299561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6"/>
                </a:lnTo>
                <a:lnTo>
                  <a:pt x="196530" y="342926"/>
                </a:lnTo>
                <a:lnTo>
                  <a:pt x="209650" y="339004"/>
                </a:lnTo>
                <a:lnTo>
                  <a:pt x="222295" y="333936"/>
                </a:lnTo>
                <a:lnTo>
                  <a:pt x="234413" y="327778"/>
                </a:lnTo>
                <a:lnTo>
                  <a:pt x="245953" y="320583"/>
                </a:lnTo>
                <a:lnTo>
                  <a:pt x="256864" y="312409"/>
                </a:lnTo>
                <a:lnTo>
                  <a:pt x="267095" y="303311"/>
                </a:lnTo>
                <a:lnTo>
                  <a:pt x="276595" y="293343"/>
                </a:lnTo>
                <a:lnTo>
                  <a:pt x="285312" y="282562"/>
                </a:lnTo>
                <a:lnTo>
                  <a:pt x="293195" y="271023"/>
                </a:lnTo>
                <a:lnTo>
                  <a:pt x="300193" y="258781"/>
                </a:lnTo>
                <a:lnTo>
                  <a:pt x="306255" y="245892"/>
                </a:lnTo>
                <a:lnTo>
                  <a:pt x="311330" y="232411"/>
                </a:lnTo>
                <a:lnTo>
                  <a:pt x="315366" y="218394"/>
                </a:lnTo>
                <a:lnTo>
                  <a:pt x="318312" y="203896"/>
                </a:lnTo>
                <a:lnTo>
                  <a:pt x="320117" y="188973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9" y="93485"/>
                </a:lnTo>
                <a:lnTo>
                  <a:pt x="296006" y="80986"/>
                </a:lnTo>
                <a:lnTo>
                  <a:pt x="288459" y="69169"/>
                </a:lnTo>
                <a:lnTo>
                  <a:pt x="280058" y="58089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4"/>
                </a:lnTo>
                <a:lnTo>
                  <a:pt x="86318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5" name="object 62"/>
          <p:cNvSpPr/>
          <p:nvPr/>
        </p:nvSpPr>
        <p:spPr>
          <a:xfrm>
            <a:off x="4326962" y="34938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6" name="object 60"/>
          <p:cNvSpPr/>
          <p:nvPr/>
        </p:nvSpPr>
        <p:spPr>
          <a:xfrm>
            <a:off x="3451263" y="457102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7" name="object 58"/>
          <p:cNvSpPr/>
          <p:nvPr/>
        </p:nvSpPr>
        <p:spPr>
          <a:xfrm>
            <a:off x="7513462" y="204543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8" name="object 56"/>
          <p:cNvSpPr/>
          <p:nvPr/>
        </p:nvSpPr>
        <p:spPr>
          <a:xfrm>
            <a:off x="6553321" y="196196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9" name="object 54"/>
          <p:cNvSpPr/>
          <p:nvPr/>
        </p:nvSpPr>
        <p:spPr>
          <a:xfrm>
            <a:off x="7353097" y="275391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0" name="object 52"/>
          <p:cNvSpPr/>
          <p:nvPr/>
        </p:nvSpPr>
        <p:spPr>
          <a:xfrm>
            <a:off x="4696124" y="412086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1" name="object 50"/>
          <p:cNvSpPr/>
          <p:nvPr/>
        </p:nvSpPr>
        <p:spPr>
          <a:xfrm>
            <a:off x="4441297" y="46123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2" name="object 48"/>
          <p:cNvSpPr/>
          <p:nvPr/>
        </p:nvSpPr>
        <p:spPr>
          <a:xfrm>
            <a:off x="3130532" y="40499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3" name="object 42"/>
          <p:cNvSpPr/>
          <p:nvPr/>
        </p:nvSpPr>
        <p:spPr>
          <a:xfrm>
            <a:off x="5748103" y="33118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4" name="object 44"/>
          <p:cNvSpPr/>
          <p:nvPr/>
        </p:nvSpPr>
        <p:spPr>
          <a:xfrm>
            <a:off x="5560113" y="25802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5" name="object 46"/>
          <p:cNvSpPr/>
          <p:nvPr/>
        </p:nvSpPr>
        <p:spPr>
          <a:xfrm>
            <a:off x="5421508" y="296447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6" name="object 40"/>
          <p:cNvSpPr/>
          <p:nvPr/>
        </p:nvSpPr>
        <p:spPr>
          <a:xfrm>
            <a:off x="5213120" y="49216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7" name="object 38"/>
          <p:cNvSpPr/>
          <p:nvPr/>
        </p:nvSpPr>
        <p:spPr>
          <a:xfrm>
            <a:off x="7032365" y="221911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8" name="object 36"/>
          <p:cNvSpPr/>
          <p:nvPr/>
        </p:nvSpPr>
        <p:spPr>
          <a:xfrm>
            <a:off x="7385165" y="340218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6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7"/>
                </a:lnTo>
                <a:lnTo>
                  <a:pt x="310251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9" name="object 34"/>
          <p:cNvSpPr/>
          <p:nvPr/>
        </p:nvSpPr>
        <p:spPr>
          <a:xfrm>
            <a:off x="5038354" y="24830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0" name="object 32"/>
          <p:cNvSpPr/>
          <p:nvPr/>
        </p:nvSpPr>
        <p:spPr>
          <a:xfrm>
            <a:off x="7192732" y="159327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1" name="object 30"/>
          <p:cNvSpPr/>
          <p:nvPr/>
        </p:nvSpPr>
        <p:spPr>
          <a:xfrm>
            <a:off x="6201572" y="316997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2" name="object 28"/>
          <p:cNvSpPr/>
          <p:nvPr/>
        </p:nvSpPr>
        <p:spPr>
          <a:xfrm>
            <a:off x="4877989" y="532865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3" name="object 26"/>
          <p:cNvSpPr/>
          <p:nvPr/>
        </p:nvSpPr>
        <p:spPr>
          <a:xfrm>
            <a:off x="5581873" y="4521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4" name="object 24"/>
          <p:cNvSpPr/>
          <p:nvPr/>
        </p:nvSpPr>
        <p:spPr>
          <a:xfrm>
            <a:off x="3528670" y="35173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5" name="object 22"/>
          <p:cNvSpPr/>
          <p:nvPr/>
        </p:nvSpPr>
        <p:spPr>
          <a:xfrm>
            <a:off x="3252845" y="520650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6" name="object 20"/>
          <p:cNvSpPr/>
          <p:nvPr/>
        </p:nvSpPr>
        <p:spPr>
          <a:xfrm>
            <a:off x="3849401" y="4051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7" name="object 18"/>
          <p:cNvSpPr/>
          <p:nvPr/>
        </p:nvSpPr>
        <p:spPr>
          <a:xfrm>
            <a:off x="6713687" y="269105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8" name="object 6"/>
          <p:cNvSpPr txBox="1"/>
          <p:nvPr/>
        </p:nvSpPr>
        <p:spPr>
          <a:xfrm>
            <a:off x="1332125" y="3759280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grpSp>
        <p:nvGrpSpPr>
          <p:cNvPr id="119" name="Group 118"/>
          <p:cNvGrpSpPr/>
          <p:nvPr/>
        </p:nvGrpSpPr>
        <p:grpSpPr>
          <a:xfrm>
            <a:off x="2383438" y="1888930"/>
            <a:ext cx="6303362" cy="4054670"/>
            <a:chOff x="2343901" y="1923700"/>
            <a:chExt cx="6303362" cy="4054670"/>
          </a:xfrm>
        </p:grpSpPr>
        <p:sp>
          <p:nvSpPr>
            <p:cNvPr id="120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121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  <p:sp>
        <p:nvSpPr>
          <p:cNvPr id="122" name="object 69"/>
          <p:cNvSpPr/>
          <p:nvPr/>
        </p:nvSpPr>
        <p:spPr>
          <a:xfrm>
            <a:off x="5451339" y="2326186"/>
            <a:ext cx="565019" cy="625840"/>
          </a:xfrm>
          <a:custGeom>
            <a:avLst/>
            <a:gdLst/>
            <a:ahLst/>
            <a:cxnLst/>
            <a:rect l="l" t="t" r="r" b="b"/>
            <a:pathLst>
              <a:path w="565019" h="625840">
                <a:moveTo>
                  <a:pt x="0" y="0"/>
                </a:moveTo>
                <a:lnTo>
                  <a:pt x="0" y="625840"/>
                </a:lnTo>
                <a:lnTo>
                  <a:pt x="565019" y="625840"/>
                </a:lnTo>
                <a:lnTo>
                  <a:pt x="565019" y="0"/>
                </a:lnTo>
                <a:lnTo>
                  <a:pt x="0" y="0"/>
                </a:lnTo>
                <a:close/>
              </a:path>
            </a:pathLst>
          </a:custGeom>
          <a:solidFill>
            <a:srgbClr val="59B9D0">
              <a:alpha val="71000"/>
            </a:srgbClr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5" name="object 5"/>
          <p:cNvSpPr txBox="1"/>
          <p:nvPr/>
        </p:nvSpPr>
        <p:spPr>
          <a:xfrm>
            <a:off x="2101916" y="369650"/>
            <a:ext cx="6889684" cy="807913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 marR="41909">
              <a:lnSpc>
                <a:spcPts val="3454"/>
              </a:lnSpc>
              <a:spcBef>
                <a:spcPts val="172"/>
              </a:spcBef>
            </a:pPr>
            <a:r>
              <a:rPr lang="en-US" sz="4800" baseline="2560" dirty="0">
                <a:solidFill>
                  <a:srgbClr val="4E81BC"/>
                </a:solidFill>
                <a:latin typeface="+mj-lt"/>
                <a:cs typeface="Calibri"/>
              </a:rPr>
              <a:t>Mean </a:t>
            </a:r>
            <a:r>
              <a:rPr lang="en-US" sz="4800" baseline="2560" dirty="0" smtClean="0">
                <a:solidFill>
                  <a:srgbClr val="4E81BC"/>
                </a:solidFill>
                <a:latin typeface="+mj-lt"/>
                <a:cs typeface="Calibri"/>
              </a:rPr>
              <a:t>Shift</a:t>
            </a:r>
            <a:endParaRPr sz="3200" dirty="0">
              <a:latin typeface="+mj-lt"/>
              <a:cs typeface="Calibri"/>
            </a:endParaRPr>
          </a:p>
          <a:p>
            <a:pPr marL="12700">
              <a:lnSpc>
                <a:spcPts val="2770"/>
              </a:lnSpc>
            </a:pPr>
            <a:r>
              <a:rPr lang="en-US" sz="3200" baseline="1137" dirty="0" smtClean="0">
                <a:solidFill>
                  <a:srgbClr val="7F7E7E"/>
                </a:solidFill>
                <a:latin typeface="+mj-lt"/>
                <a:cs typeface="Calibri"/>
              </a:rPr>
              <a:t>Found local density maximum! Stop</a:t>
            </a:r>
            <a:r>
              <a:rPr lang="en-US" sz="3200" baseline="1137" dirty="0">
                <a:solidFill>
                  <a:srgbClr val="7F7E7E"/>
                </a:solidFill>
                <a:latin typeface="+mj-lt"/>
                <a:cs typeface="Calibri"/>
              </a:rPr>
              <a:t>.</a:t>
            </a:r>
          </a:p>
        </p:txBody>
      </p:sp>
      <p:sp>
        <p:nvSpPr>
          <p:cNvPr id="86" name="object 82"/>
          <p:cNvSpPr/>
          <p:nvPr/>
        </p:nvSpPr>
        <p:spPr>
          <a:xfrm>
            <a:off x="4414372" y="54871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7" name="object 84"/>
          <p:cNvSpPr/>
          <p:nvPr/>
        </p:nvSpPr>
        <p:spPr>
          <a:xfrm>
            <a:off x="5399747" y="55212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8" name="object 86"/>
          <p:cNvSpPr/>
          <p:nvPr/>
        </p:nvSpPr>
        <p:spPr>
          <a:xfrm>
            <a:off x="6251551" y="55023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9" name="object 74"/>
          <p:cNvSpPr/>
          <p:nvPr/>
        </p:nvSpPr>
        <p:spPr>
          <a:xfrm>
            <a:off x="2668469" y="519520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0" name="object 72"/>
          <p:cNvSpPr/>
          <p:nvPr/>
        </p:nvSpPr>
        <p:spPr>
          <a:xfrm>
            <a:off x="5959366" y="251737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40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80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1" name="object 70"/>
          <p:cNvSpPr/>
          <p:nvPr/>
        </p:nvSpPr>
        <p:spPr>
          <a:xfrm>
            <a:off x="5560113" y="213564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2" name="object 68"/>
          <p:cNvSpPr/>
          <p:nvPr/>
        </p:nvSpPr>
        <p:spPr>
          <a:xfrm>
            <a:off x="5148028" y="1723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3" name="object 66"/>
          <p:cNvSpPr/>
          <p:nvPr/>
        </p:nvSpPr>
        <p:spPr>
          <a:xfrm>
            <a:off x="6872003" y="34121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4" name="object 63"/>
          <p:cNvSpPr/>
          <p:nvPr/>
        </p:nvSpPr>
        <p:spPr>
          <a:xfrm>
            <a:off x="5880842" y="502152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6"/>
                </a:lnTo>
                <a:lnTo>
                  <a:pt x="1583" y="198179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6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2"/>
                </a:lnTo>
                <a:lnTo>
                  <a:pt x="49876" y="299561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6"/>
                </a:lnTo>
                <a:lnTo>
                  <a:pt x="196530" y="342926"/>
                </a:lnTo>
                <a:lnTo>
                  <a:pt x="209650" y="339004"/>
                </a:lnTo>
                <a:lnTo>
                  <a:pt x="222295" y="333936"/>
                </a:lnTo>
                <a:lnTo>
                  <a:pt x="234413" y="327778"/>
                </a:lnTo>
                <a:lnTo>
                  <a:pt x="245953" y="320583"/>
                </a:lnTo>
                <a:lnTo>
                  <a:pt x="256864" y="312409"/>
                </a:lnTo>
                <a:lnTo>
                  <a:pt x="267095" y="303311"/>
                </a:lnTo>
                <a:lnTo>
                  <a:pt x="276595" y="293343"/>
                </a:lnTo>
                <a:lnTo>
                  <a:pt x="285312" y="282562"/>
                </a:lnTo>
                <a:lnTo>
                  <a:pt x="293195" y="271023"/>
                </a:lnTo>
                <a:lnTo>
                  <a:pt x="300193" y="258781"/>
                </a:lnTo>
                <a:lnTo>
                  <a:pt x="306255" y="245892"/>
                </a:lnTo>
                <a:lnTo>
                  <a:pt x="311330" y="232411"/>
                </a:lnTo>
                <a:lnTo>
                  <a:pt x="315366" y="218394"/>
                </a:lnTo>
                <a:lnTo>
                  <a:pt x="318312" y="203896"/>
                </a:lnTo>
                <a:lnTo>
                  <a:pt x="320117" y="188973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9" y="93485"/>
                </a:lnTo>
                <a:lnTo>
                  <a:pt x="296006" y="80986"/>
                </a:lnTo>
                <a:lnTo>
                  <a:pt x="288459" y="69169"/>
                </a:lnTo>
                <a:lnTo>
                  <a:pt x="280058" y="58089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4"/>
                </a:lnTo>
                <a:lnTo>
                  <a:pt x="86318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5" name="object 62"/>
          <p:cNvSpPr/>
          <p:nvPr/>
        </p:nvSpPr>
        <p:spPr>
          <a:xfrm>
            <a:off x="4326962" y="34938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6" name="object 60"/>
          <p:cNvSpPr/>
          <p:nvPr/>
        </p:nvSpPr>
        <p:spPr>
          <a:xfrm>
            <a:off x="3451263" y="457102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7" name="object 58"/>
          <p:cNvSpPr/>
          <p:nvPr/>
        </p:nvSpPr>
        <p:spPr>
          <a:xfrm>
            <a:off x="7513462" y="204543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8" name="object 56"/>
          <p:cNvSpPr/>
          <p:nvPr/>
        </p:nvSpPr>
        <p:spPr>
          <a:xfrm>
            <a:off x="6553321" y="196196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9" name="object 54"/>
          <p:cNvSpPr/>
          <p:nvPr/>
        </p:nvSpPr>
        <p:spPr>
          <a:xfrm>
            <a:off x="7353097" y="275391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0" name="object 52"/>
          <p:cNvSpPr/>
          <p:nvPr/>
        </p:nvSpPr>
        <p:spPr>
          <a:xfrm>
            <a:off x="4696124" y="412086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1" name="object 50"/>
          <p:cNvSpPr/>
          <p:nvPr/>
        </p:nvSpPr>
        <p:spPr>
          <a:xfrm>
            <a:off x="4441297" y="46123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2" name="object 48"/>
          <p:cNvSpPr/>
          <p:nvPr/>
        </p:nvSpPr>
        <p:spPr>
          <a:xfrm>
            <a:off x="3130532" y="40499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3" name="object 42"/>
          <p:cNvSpPr/>
          <p:nvPr/>
        </p:nvSpPr>
        <p:spPr>
          <a:xfrm>
            <a:off x="5748103" y="33118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4" name="object 44"/>
          <p:cNvSpPr/>
          <p:nvPr/>
        </p:nvSpPr>
        <p:spPr>
          <a:xfrm>
            <a:off x="5560113" y="25802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5" name="object 46"/>
          <p:cNvSpPr/>
          <p:nvPr/>
        </p:nvSpPr>
        <p:spPr>
          <a:xfrm>
            <a:off x="5421508" y="296447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6" name="object 40"/>
          <p:cNvSpPr/>
          <p:nvPr/>
        </p:nvSpPr>
        <p:spPr>
          <a:xfrm>
            <a:off x="5213120" y="49216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7" name="object 38"/>
          <p:cNvSpPr/>
          <p:nvPr/>
        </p:nvSpPr>
        <p:spPr>
          <a:xfrm>
            <a:off x="7032365" y="221911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8" name="object 36"/>
          <p:cNvSpPr/>
          <p:nvPr/>
        </p:nvSpPr>
        <p:spPr>
          <a:xfrm>
            <a:off x="7385165" y="340218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6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7"/>
                </a:lnTo>
                <a:lnTo>
                  <a:pt x="310251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9" name="object 34"/>
          <p:cNvSpPr/>
          <p:nvPr/>
        </p:nvSpPr>
        <p:spPr>
          <a:xfrm>
            <a:off x="5038354" y="24830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0" name="object 32"/>
          <p:cNvSpPr/>
          <p:nvPr/>
        </p:nvSpPr>
        <p:spPr>
          <a:xfrm>
            <a:off x="7192732" y="159327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1" name="object 30"/>
          <p:cNvSpPr/>
          <p:nvPr/>
        </p:nvSpPr>
        <p:spPr>
          <a:xfrm>
            <a:off x="6201572" y="316997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2" name="object 28"/>
          <p:cNvSpPr/>
          <p:nvPr/>
        </p:nvSpPr>
        <p:spPr>
          <a:xfrm>
            <a:off x="4877989" y="532865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3" name="object 26"/>
          <p:cNvSpPr/>
          <p:nvPr/>
        </p:nvSpPr>
        <p:spPr>
          <a:xfrm>
            <a:off x="5581873" y="4521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4" name="object 24"/>
          <p:cNvSpPr/>
          <p:nvPr/>
        </p:nvSpPr>
        <p:spPr>
          <a:xfrm>
            <a:off x="3528670" y="35173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5" name="object 22"/>
          <p:cNvSpPr/>
          <p:nvPr/>
        </p:nvSpPr>
        <p:spPr>
          <a:xfrm>
            <a:off x="3252845" y="520650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6" name="object 20"/>
          <p:cNvSpPr/>
          <p:nvPr/>
        </p:nvSpPr>
        <p:spPr>
          <a:xfrm>
            <a:off x="3849401" y="4051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7" name="object 18"/>
          <p:cNvSpPr/>
          <p:nvPr/>
        </p:nvSpPr>
        <p:spPr>
          <a:xfrm>
            <a:off x="6713687" y="269105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8" name="object 6"/>
          <p:cNvSpPr txBox="1"/>
          <p:nvPr/>
        </p:nvSpPr>
        <p:spPr>
          <a:xfrm>
            <a:off x="1332125" y="3759280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grpSp>
        <p:nvGrpSpPr>
          <p:cNvPr id="119" name="Group 118"/>
          <p:cNvGrpSpPr/>
          <p:nvPr/>
        </p:nvGrpSpPr>
        <p:grpSpPr>
          <a:xfrm>
            <a:off x="2383438" y="1888930"/>
            <a:ext cx="6303362" cy="4054670"/>
            <a:chOff x="2343901" y="1923700"/>
            <a:chExt cx="6303362" cy="4054670"/>
          </a:xfrm>
        </p:grpSpPr>
        <p:sp>
          <p:nvSpPr>
            <p:cNvPr id="120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121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  <p:sp>
        <p:nvSpPr>
          <p:cNvPr id="122" name="object 69"/>
          <p:cNvSpPr/>
          <p:nvPr/>
        </p:nvSpPr>
        <p:spPr>
          <a:xfrm>
            <a:off x="5482207" y="2493252"/>
            <a:ext cx="565019" cy="625840"/>
          </a:xfrm>
          <a:custGeom>
            <a:avLst/>
            <a:gdLst/>
            <a:ahLst/>
            <a:cxnLst/>
            <a:rect l="l" t="t" r="r" b="b"/>
            <a:pathLst>
              <a:path w="565019" h="625840">
                <a:moveTo>
                  <a:pt x="0" y="0"/>
                </a:moveTo>
                <a:lnTo>
                  <a:pt x="0" y="625840"/>
                </a:lnTo>
                <a:lnTo>
                  <a:pt x="565019" y="625840"/>
                </a:lnTo>
                <a:lnTo>
                  <a:pt x="565019" y="0"/>
                </a:lnTo>
                <a:lnTo>
                  <a:pt x="0" y="0"/>
                </a:lnTo>
                <a:close/>
              </a:path>
            </a:pathLst>
          </a:custGeom>
          <a:solidFill>
            <a:srgbClr val="59B9D0">
              <a:alpha val="71000"/>
            </a:srgbClr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object 5"/>
          <p:cNvSpPr txBox="1"/>
          <p:nvPr/>
        </p:nvSpPr>
        <p:spPr>
          <a:xfrm>
            <a:off x="5426815" y="6116930"/>
            <a:ext cx="542241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latin typeface="Calibri"/>
                <a:cs typeface="Calibri"/>
              </a:rPr>
              <a:t>Age</a:t>
            </a:r>
            <a:endParaRPr sz="2400">
              <a:latin typeface="Calibri"/>
              <a:cs typeface="Calibri"/>
            </a:endParaRPr>
          </a:p>
        </p:txBody>
      </p:sp>
      <p:sp>
        <p:nvSpPr>
          <p:cNvPr id="88" name="object 5"/>
          <p:cNvSpPr txBox="1"/>
          <p:nvPr/>
        </p:nvSpPr>
        <p:spPr>
          <a:xfrm>
            <a:off x="2101916" y="369650"/>
            <a:ext cx="6889684" cy="807913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 marR="41909">
              <a:lnSpc>
                <a:spcPts val="3454"/>
              </a:lnSpc>
              <a:spcBef>
                <a:spcPts val="172"/>
              </a:spcBef>
            </a:pPr>
            <a:r>
              <a:rPr lang="en-US" sz="4800" baseline="2560" dirty="0">
                <a:solidFill>
                  <a:srgbClr val="4E81BC"/>
                </a:solidFill>
                <a:latin typeface="+mj-lt"/>
                <a:cs typeface="Calibri"/>
              </a:rPr>
              <a:t>Mean </a:t>
            </a:r>
            <a:r>
              <a:rPr lang="en-US" sz="4800" baseline="2560" dirty="0" smtClean="0">
                <a:solidFill>
                  <a:srgbClr val="4E81BC"/>
                </a:solidFill>
                <a:latin typeface="+mj-lt"/>
                <a:cs typeface="Calibri"/>
              </a:rPr>
              <a:t>Shift</a:t>
            </a:r>
            <a:endParaRPr sz="3200" dirty="0">
              <a:latin typeface="+mj-lt"/>
              <a:cs typeface="Calibri"/>
            </a:endParaRPr>
          </a:p>
          <a:p>
            <a:pPr marL="12700">
              <a:lnSpc>
                <a:spcPts val="2770"/>
              </a:lnSpc>
            </a:pPr>
            <a:r>
              <a:rPr lang="en-US" sz="3200" baseline="1137" dirty="0" smtClean="0">
                <a:solidFill>
                  <a:srgbClr val="7F7E7E"/>
                </a:solidFill>
                <a:latin typeface="+mj-lt"/>
                <a:cs typeface="Calibri"/>
              </a:rPr>
              <a:t>Start at another point.</a:t>
            </a:r>
            <a:endParaRPr lang="en-US" sz="3200" baseline="1137" dirty="0">
              <a:solidFill>
                <a:srgbClr val="7F7E7E"/>
              </a:solidFill>
              <a:latin typeface="+mj-lt"/>
              <a:cs typeface="Calibri"/>
            </a:endParaRPr>
          </a:p>
        </p:txBody>
      </p:sp>
      <p:sp>
        <p:nvSpPr>
          <p:cNvPr id="89" name="object 82"/>
          <p:cNvSpPr/>
          <p:nvPr/>
        </p:nvSpPr>
        <p:spPr>
          <a:xfrm>
            <a:off x="4414372" y="54871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0" name="object 84"/>
          <p:cNvSpPr/>
          <p:nvPr/>
        </p:nvSpPr>
        <p:spPr>
          <a:xfrm>
            <a:off x="5399747" y="55212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1" name="object 86"/>
          <p:cNvSpPr/>
          <p:nvPr/>
        </p:nvSpPr>
        <p:spPr>
          <a:xfrm>
            <a:off x="6251551" y="55023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2" name="object 74"/>
          <p:cNvSpPr/>
          <p:nvPr/>
        </p:nvSpPr>
        <p:spPr>
          <a:xfrm>
            <a:off x="2668469" y="519520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3" name="object 72"/>
          <p:cNvSpPr/>
          <p:nvPr/>
        </p:nvSpPr>
        <p:spPr>
          <a:xfrm>
            <a:off x="5959366" y="251737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40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80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4" name="object 70"/>
          <p:cNvSpPr/>
          <p:nvPr/>
        </p:nvSpPr>
        <p:spPr>
          <a:xfrm>
            <a:off x="5560113" y="213564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5" name="object 68"/>
          <p:cNvSpPr/>
          <p:nvPr/>
        </p:nvSpPr>
        <p:spPr>
          <a:xfrm>
            <a:off x="5148028" y="1723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6" name="object 66"/>
          <p:cNvSpPr/>
          <p:nvPr/>
        </p:nvSpPr>
        <p:spPr>
          <a:xfrm>
            <a:off x="6872003" y="34121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7" name="object 63"/>
          <p:cNvSpPr/>
          <p:nvPr/>
        </p:nvSpPr>
        <p:spPr>
          <a:xfrm>
            <a:off x="5880842" y="502152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6"/>
                </a:lnTo>
                <a:lnTo>
                  <a:pt x="1583" y="198179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6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2"/>
                </a:lnTo>
                <a:lnTo>
                  <a:pt x="49876" y="299561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6"/>
                </a:lnTo>
                <a:lnTo>
                  <a:pt x="196530" y="342926"/>
                </a:lnTo>
                <a:lnTo>
                  <a:pt x="209650" y="339004"/>
                </a:lnTo>
                <a:lnTo>
                  <a:pt x="222295" y="333936"/>
                </a:lnTo>
                <a:lnTo>
                  <a:pt x="234413" y="327778"/>
                </a:lnTo>
                <a:lnTo>
                  <a:pt x="245953" y="320583"/>
                </a:lnTo>
                <a:lnTo>
                  <a:pt x="256864" y="312409"/>
                </a:lnTo>
                <a:lnTo>
                  <a:pt x="267095" y="303311"/>
                </a:lnTo>
                <a:lnTo>
                  <a:pt x="276595" y="293343"/>
                </a:lnTo>
                <a:lnTo>
                  <a:pt x="285312" y="282562"/>
                </a:lnTo>
                <a:lnTo>
                  <a:pt x="293195" y="271023"/>
                </a:lnTo>
                <a:lnTo>
                  <a:pt x="300193" y="258781"/>
                </a:lnTo>
                <a:lnTo>
                  <a:pt x="306255" y="245892"/>
                </a:lnTo>
                <a:lnTo>
                  <a:pt x="311330" y="232411"/>
                </a:lnTo>
                <a:lnTo>
                  <a:pt x="315366" y="218394"/>
                </a:lnTo>
                <a:lnTo>
                  <a:pt x="318312" y="203896"/>
                </a:lnTo>
                <a:lnTo>
                  <a:pt x="320117" y="188973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9" y="93485"/>
                </a:lnTo>
                <a:lnTo>
                  <a:pt x="296006" y="80986"/>
                </a:lnTo>
                <a:lnTo>
                  <a:pt x="288459" y="69169"/>
                </a:lnTo>
                <a:lnTo>
                  <a:pt x="280058" y="58089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4"/>
                </a:lnTo>
                <a:lnTo>
                  <a:pt x="86318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8" name="object 62"/>
          <p:cNvSpPr/>
          <p:nvPr/>
        </p:nvSpPr>
        <p:spPr>
          <a:xfrm>
            <a:off x="4326962" y="34938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9" name="object 60"/>
          <p:cNvSpPr/>
          <p:nvPr/>
        </p:nvSpPr>
        <p:spPr>
          <a:xfrm>
            <a:off x="3451263" y="457102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0" name="object 58"/>
          <p:cNvSpPr/>
          <p:nvPr/>
        </p:nvSpPr>
        <p:spPr>
          <a:xfrm>
            <a:off x="7513462" y="204543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1" name="object 56"/>
          <p:cNvSpPr/>
          <p:nvPr/>
        </p:nvSpPr>
        <p:spPr>
          <a:xfrm>
            <a:off x="6553321" y="196196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2" name="object 54"/>
          <p:cNvSpPr/>
          <p:nvPr/>
        </p:nvSpPr>
        <p:spPr>
          <a:xfrm>
            <a:off x="7353097" y="275391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3" name="object 52"/>
          <p:cNvSpPr/>
          <p:nvPr/>
        </p:nvSpPr>
        <p:spPr>
          <a:xfrm>
            <a:off x="4696124" y="412086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4" name="object 50"/>
          <p:cNvSpPr/>
          <p:nvPr/>
        </p:nvSpPr>
        <p:spPr>
          <a:xfrm>
            <a:off x="4441297" y="46123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5" name="object 48"/>
          <p:cNvSpPr/>
          <p:nvPr/>
        </p:nvSpPr>
        <p:spPr>
          <a:xfrm>
            <a:off x="3130532" y="40499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6" name="object 42"/>
          <p:cNvSpPr/>
          <p:nvPr/>
        </p:nvSpPr>
        <p:spPr>
          <a:xfrm>
            <a:off x="5748103" y="33118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7" name="object 44"/>
          <p:cNvSpPr/>
          <p:nvPr/>
        </p:nvSpPr>
        <p:spPr>
          <a:xfrm>
            <a:off x="5560113" y="25802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8" name="object 46"/>
          <p:cNvSpPr/>
          <p:nvPr/>
        </p:nvSpPr>
        <p:spPr>
          <a:xfrm>
            <a:off x="5421508" y="296447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9" name="object 40"/>
          <p:cNvSpPr/>
          <p:nvPr/>
        </p:nvSpPr>
        <p:spPr>
          <a:xfrm>
            <a:off x="5213120" y="49216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0" name="object 38"/>
          <p:cNvSpPr/>
          <p:nvPr/>
        </p:nvSpPr>
        <p:spPr>
          <a:xfrm>
            <a:off x="7032365" y="221911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1" name="object 36"/>
          <p:cNvSpPr/>
          <p:nvPr/>
        </p:nvSpPr>
        <p:spPr>
          <a:xfrm>
            <a:off x="7385165" y="340218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6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7"/>
                </a:lnTo>
                <a:lnTo>
                  <a:pt x="310251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2" name="object 34"/>
          <p:cNvSpPr/>
          <p:nvPr/>
        </p:nvSpPr>
        <p:spPr>
          <a:xfrm>
            <a:off x="5038354" y="24830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3" name="object 32"/>
          <p:cNvSpPr/>
          <p:nvPr/>
        </p:nvSpPr>
        <p:spPr>
          <a:xfrm>
            <a:off x="7192732" y="159327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4" name="object 30"/>
          <p:cNvSpPr/>
          <p:nvPr/>
        </p:nvSpPr>
        <p:spPr>
          <a:xfrm>
            <a:off x="6201572" y="316997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5" name="object 28"/>
          <p:cNvSpPr/>
          <p:nvPr/>
        </p:nvSpPr>
        <p:spPr>
          <a:xfrm>
            <a:off x="4877989" y="532865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6" name="object 26"/>
          <p:cNvSpPr/>
          <p:nvPr/>
        </p:nvSpPr>
        <p:spPr>
          <a:xfrm>
            <a:off x="5581873" y="4521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7" name="object 24"/>
          <p:cNvSpPr/>
          <p:nvPr/>
        </p:nvSpPr>
        <p:spPr>
          <a:xfrm>
            <a:off x="3528670" y="35173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8" name="object 22"/>
          <p:cNvSpPr/>
          <p:nvPr/>
        </p:nvSpPr>
        <p:spPr>
          <a:xfrm>
            <a:off x="3252845" y="520650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9" name="object 20"/>
          <p:cNvSpPr/>
          <p:nvPr/>
        </p:nvSpPr>
        <p:spPr>
          <a:xfrm>
            <a:off x="3849401" y="4051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0" name="object 18"/>
          <p:cNvSpPr/>
          <p:nvPr/>
        </p:nvSpPr>
        <p:spPr>
          <a:xfrm>
            <a:off x="6713687" y="269105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1" name="object 6"/>
          <p:cNvSpPr txBox="1"/>
          <p:nvPr/>
        </p:nvSpPr>
        <p:spPr>
          <a:xfrm>
            <a:off x="1332125" y="3759280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grpSp>
        <p:nvGrpSpPr>
          <p:cNvPr id="122" name="Group 121"/>
          <p:cNvGrpSpPr/>
          <p:nvPr/>
        </p:nvGrpSpPr>
        <p:grpSpPr>
          <a:xfrm>
            <a:off x="2383438" y="1888930"/>
            <a:ext cx="6303362" cy="4054670"/>
            <a:chOff x="2343901" y="1923700"/>
            <a:chExt cx="6303362" cy="4054670"/>
          </a:xfrm>
        </p:grpSpPr>
        <p:sp>
          <p:nvSpPr>
            <p:cNvPr id="123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124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  <p:sp>
        <p:nvSpPr>
          <p:cNvPr id="125" name="object 69"/>
          <p:cNvSpPr/>
          <p:nvPr/>
        </p:nvSpPr>
        <p:spPr>
          <a:xfrm>
            <a:off x="5482207" y="2493252"/>
            <a:ext cx="565019" cy="625840"/>
          </a:xfrm>
          <a:custGeom>
            <a:avLst/>
            <a:gdLst/>
            <a:ahLst/>
            <a:cxnLst/>
            <a:rect l="l" t="t" r="r" b="b"/>
            <a:pathLst>
              <a:path w="565019" h="625840">
                <a:moveTo>
                  <a:pt x="0" y="0"/>
                </a:moveTo>
                <a:lnTo>
                  <a:pt x="0" y="625840"/>
                </a:lnTo>
                <a:lnTo>
                  <a:pt x="565019" y="625840"/>
                </a:lnTo>
                <a:lnTo>
                  <a:pt x="565019" y="0"/>
                </a:lnTo>
                <a:lnTo>
                  <a:pt x="0" y="0"/>
                </a:lnTo>
                <a:close/>
              </a:path>
            </a:pathLst>
          </a:custGeom>
          <a:solidFill>
            <a:srgbClr val="59B9D0">
              <a:alpha val="71000"/>
            </a:srgbClr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6" name="object 69"/>
          <p:cNvSpPr/>
          <p:nvPr/>
        </p:nvSpPr>
        <p:spPr>
          <a:xfrm>
            <a:off x="6119576" y="3029903"/>
            <a:ext cx="565019" cy="625840"/>
          </a:xfrm>
          <a:custGeom>
            <a:avLst/>
            <a:gdLst/>
            <a:ahLst/>
            <a:cxnLst/>
            <a:rect l="l" t="t" r="r" b="b"/>
            <a:pathLst>
              <a:path w="565019" h="625840">
                <a:moveTo>
                  <a:pt x="0" y="0"/>
                </a:moveTo>
                <a:lnTo>
                  <a:pt x="0" y="625840"/>
                </a:lnTo>
                <a:lnTo>
                  <a:pt x="565019" y="625840"/>
                </a:lnTo>
                <a:lnTo>
                  <a:pt x="565019" y="0"/>
                </a:lnTo>
                <a:lnTo>
                  <a:pt x="0" y="0"/>
                </a:lnTo>
                <a:close/>
              </a:path>
            </a:pathLst>
          </a:custGeom>
          <a:solidFill>
            <a:srgbClr val="FAA757">
              <a:alpha val="71000"/>
            </a:srgbClr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3" name="object 82"/>
          <p:cNvSpPr/>
          <p:nvPr/>
        </p:nvSpPr>
        <p:spPr>
          <a:xfrm>
            <a:off x="4414372" y="54871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4" name="object 84"/>
          <p:cNvSpPr/>
          <p:nvPr/>
        </p:nvSpPr>
        <p:spPr>
          <a:xfrm>
            <a:off x="5399747" y="55212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5" name="object 86"/>
          <p:cNvSpPr/>
          <p:nvPr/>
        </p:nvSpPr>
        <p:spPr>
          <a:xfrm>
            <a:off x="6251551" y="55023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6" name="object 74"/>
          <p:cNvSpPr/>
          <p:nvPr/>
        </p:nvSpPr>
        <p:spPr>
          <a:xfrm>
            <a:off x="2668469" y="519520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7" name="object 72"/>
          <p:cNvSpPr/>
          <p:nvPr/>
        </p:nvSpPr>
        <p:spPr>
          <a:xfrm>
            <a:off x="5959366" y="251737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40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80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ln/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8" name="object 70"/>
          <p:cNvSpPr/>
          <p:nvPr/>
        </p:nvSpPr>
        <p:spPr>
          <a:xfrm>
            <a:off x="5560113" y="213564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ln/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9" name="object 68"/>
          <p:cNvSpPr/>
          <p:nvPr/>
        </p:nvSpPr>
        <p:spPr>
          <a:xfrm>
            <a:off x="5148028" y="1723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0" name="object 66"/>
          <p:cNvSpPr/>
          <p:nvPr/>
        </p:nvSpPr>
        <p:spPr>
          <a:xfrm>
            <a:off x="6872003" y="34121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6094C9"/>
          </a:solidFill>
          <a:ln w="28575">
            <a:solidFill>
              <a:srgbClr val="46719B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1" name="object 63"/>
          <p:cNvSpPr/>
          <p:nvPr/>
        </p:nvSpPr>
        <p:spPr>
          <a:xfrm>
            <a:off x="5880842" y="502152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6"/>
                </a:lnTo>
                <a:lnTo>
                  <a:pt x="1583" y="198179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6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2"/>
                </a:lnTo>
                <a:lnTo>
                  <a:pt x="49876" y="299561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6"/>
                </a:lnTo>
                <a:lnTo>
                  <a:pt x="196530" y="342926"/>
                </a:lnTo>
                <a:lnTo>
                  <a:pt x="209650" y="339004"/>
                </a:lnTo>
                <a:lnTo>
                  <a:pt x="222295" y="333936"/>
                </a:lnTo>
                <a:lnTo>
                  <a:pt x="234413" y="327778"/>
                </a:lnTo>
                <a:lnTo>
                  <a:pt x="245953" y="320583"/>
                </a:lnTo>
                <a:lnTo>
                  <a:pt x="256864" y="312409"/>
                </a:lnTo>
                <a:lnTo>
                  <a:pt x="267095" y="303311"/>
                </a:lnTo>
                <a:lnTo>
                  <a:pt x="276595" y="293343"/>
                </a:lnTo>
                <a:lnTo>
                  <a:pt x="285312" y="282562"/>
                </a:lnTo>
                <a:lnTo>
                  <a:pt x="293195" y="271023"/>
                </a:lnTo>
                <a:lnTo>
                  <a:pt x="300193" y="258781"/>
                </a:lnTo>
                <a:lnTo>
                  <a:pt x="306255" y="245892"/>
                </a:lnTo>
                <a:lnTo>
                  <a:pt x="311330" y="232411"/>
                </a:lnTo>
                <a:lnTo>
                  <a:pt x="315366" y="218394"/>
                </a:lnTo>
                <a:lnTo>
                  <a:pt x="318312" y="203896"/>
                </a:lnTo>
                <a:lnTo>
                  <a:pt x="320117" y="188973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9" y="93485"/>
                </a:lnTo>
                <a:lnTo>
                  <a:pt x="296006" y="80986"/>
                </a:lnTo>
                <a:lnTo>
                  <a:pt x="288459" y="69169"/>
                </a:lnTo>
                <a:lnTo>
                  <a:pt x="280058" y="58089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4"/>
                </a:lnTo>
                <a:lnTo>
                  <a:pt x="86318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2" name="object 62"/>
          <p:cNvSpPr/>
          <p:nvPr/>
        </p:nvSpPr>
        <p:spPr>
          <a:xfrm>
            <a:off x="4326962" y="34938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3" name="object 60"/>
          <p:cNvSpPr/>
          <p:nvPr/>
        </p:nvSpPr>
        <p:spPr>
          <a:xfrm>
            <a:off x="3451263" y="457102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4" name="object 58"/>
          <p:cNvSpPr/>
          <p:nvPr/>
        </p:nvSpPr>
        <p:spPr>
          <a:xfrm>
            <a:off x="7513462" y="204543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5" name="object 56"/>
          <p:cNvSpPr/>
          <p:nvPr/>
        </p:nvSpPr>
        <p:spPr>
          <a:xfrm>
            <a:off x="6553321" y="196196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6" name="object 54"/>
          <p:cNvSpPr/>
          <p:nvPr/>
        </p:nvSpPr>
        <p:spPr>
          <a:xfrm>
            <a:off x="7353097" y="275391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7" name="object 52"/>
          <p:cNvSpPr/>
          <p:nvPr/>
        </p:nvSpPr>
        <p:spPr>
          <a:xfrm>
            <a:off x="4696124" y="412086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8" name="object 50"/>
          <p:cNvSpPr/>
          <p:nvPr/>
        </p:nvSpPr>
        <p:spPr>
          <a:xfrm>
            <a:off x="4441297" y="46123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9" name="object 48"/>
          <p:cNvSpPr/>
          <p:nvPr/>
        </p:nvSpPr>
        <p:spPr>
          <a:xfrm>
            <a:off x="3130532" y="40499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0" name="object 42"/>
          <p:cNvSpPr/>
          <p:nvPr/>
        </p:nvSpPr>
        <p:spPr>
          <a:xfrm>
            <a:off x="5748103" y="33118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1" name="object 44"/>
          <p:cNvSpPr/>
          <p:nvPr/>
        </p:nvSpPr>
        <p:spPr>
          <a:xfrm>
            <a:off x="5560113" y="25802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2" name="object 46"/>
          <p:cNvSpPr/>
          <p:nvPr/>
        </p:nvSpPr>
        <p:spPr>
          <a:xfrm>
            <a:off x="5421508" y="296447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3" name="object 40"/>
          <p:cNvSpPr/>
          <p:nvPr/>
        </p:nvSpPr>
        <p:spPr>
          <a:xfrm>
            <a:off x="5213120" y="49216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4" name="object 38"/>
          <p:cNvSpPr/>
          <p:nvPr/>
        </p:nvSpPr>
        <p:spPr>
          <a:xfrm>
            <a:off x="7032365" y="221911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5" name="object 36"/>
          <p:cNvSpPr/>
          <p:nvPr/>
        </p:nvSpPr>
        <p:spPr>
          <a:xfrm>
            <a:off x="7385165" y="340218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6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7"/>
                </a:lnTo>
                <a:lnTo>
                  <a:pt x="310251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6094C9"/>
          </a:solidFill>
          <a:ln w="28575">
            <a:solidFill>
              <a:srgbClr val="46719B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6" name="object 34"/>
          <p:cNvSpPr/>
          <p:nvPr/>
        </p:nvSpPr>
        <p:spPr>
          <a:xfrm>
            <a:off x="5038354" y="24830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7" name="object 32"/>
          <p:cNvSpPr/>
          <p:nvPr/>
        </p:nvSpPr>
        <p:spPr>
          <a:xfrm>
            <a:off x="7192732" y="159327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8" name="object 30"/>
          <p:cNvSpPr/>
          <p:nvPr/>
        </p:nvSpPr>
        <p:spPr>
          <a:xfrm>
            <a:off x="6201572" y="316997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9" name="object 28"/>
          <p:cNvSpPr/>
          <p:nvPr/>
        </p:nvSpPr>
        <p:spPr>
          <a:xfrm>
            <a:off x="4877989" y="532865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0" name="object 26"/>
          <p:cNvSpPr/>
          <p:nvPr/>
        </p:nvSpPr>
        <p:spPr>
          <a:xfrm>
            <a:off x="5581873" y="4521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1" name="object 24"/>
          <p:cNvSpPr/>
          <p:nvPr/>
        </p:nvSpPr>
        <p:spPr>
          <a:xfrm>
            <a:off x="3528670" y="35173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2" name="object 22"/>
          <p:cNvSpPr/>
          <p:nvPr/>
        </p:nvSpPr>
        <p:spPr>
          <a:xfrm>
            <a:off x="3252845" y="520650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3" name="object 20"/>
          <p:cNvSpPr/>
          <p:nvPr/>
        </p:nvSpPr>
        <p:spPr>
          <a:xfrm>
            <a:off x="3849401" y="4051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4" name="object 18"/>
          <p:cNvSpPr/>
          <p:nvPr/>
        </p:nvSpPr>
        <p:spPr>
          <a:xfrm>
            <a:off x="6713687" y="269105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5" name="object 6"/>
          <p:cNvSpPr txBox="1"/>
          <p:nvPr/>
        </p:nvSpPr>
        <p:spPr>
          <a:xfrm>
            <a:off x="1332125" y="3759280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sp>
        <p:nvSpPr>
          <p:cNvPr id="116" name="object 5"/>
          <p:cNvSpPr txBox="1"/>
          <p:nvPr/>
        </p:nvSpPr>
        <p:spPr>
          <a:xfrm>
            <a:off x="5426815" y="6116930"/>
            <a:ext cx="542241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Age</a:t>
            </a:r>
            <a:endParaRPr sz="2400">
              <a:cs typeface="Calibri"/>
            </a:endParaRPr>
          </a:p>
        </p:txBody>
      </p:sp>
      <p:grpSp>
        <p:nvGrpSpPr>
          <p:cNvPr id="117" name="Group 116"/>
          <p:cNvGrpSpPr/>
          <p:nvPr/>
        </p:nvGrpSpPr>
        <p:grpSpPr>
          <a:xfrm>
            <a:off x="2383438" y="1888930"/>
            <a:ext cx="6303362" cy="4054670"/>
            <a:chOff x="2343901" y="1923700"/>
            <a:chExt cx="6303362" cy="4054670"/>
          </a:xfrm>
        </p:grpSpPr>
        <p:sp>
          <p:nvSpPr>
            <p:cNvPr id="118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119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  <p:sp>
        <p:nvSpPr>
          <p:cNvPr id="120" name="object 10"/>
          <p:cNvSpPr txBox="1"/>
          <p:nvPr/>
        </p:nvSpPr>
        <p:spPr>
          <a:xfrm>
            <a:off x="2101916" y="369650"/>
            <a:ext cx="6737284" cy="4318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3400"/>
              </a:lnSpc>
              <a:spcBef>
                <a:spcPts val="170"/>
              </a:spcBef>
            </a:pPr>
            <a:r>
              <a:rPr lang="en-US" sz="4800" baseline="1706" dirty="0">
                <a:solidFill>
                  <a:srgbClr val="4E81BC"/>
                </a:solidFill>
                <a:latin typeface="+mj-lt"/>
                <a:cs typeface="Calibri"/>
              </a:rPr>
              <a:t>Agglomerative </a:t>
            </a:r>
            <a:r>
              <a:rPr sz="4800" spc="0" baseline="1706" dirty="0" smtClean="0">
                <a:solidFill>
                  <a:srgbClr val="4E81BC"/>
                </a:solidFill>
                <a:latin typeface="+mj-lt"/>
                <a:cs typeface="Calibri"/>
              </a:rPr>
              <a:t>Hierarchical Clustering</a:t>
            </a:r>
            <a:endParaRPr sz="3200" dirty="0">
              <a:latin typeface="+mj-lt"/>
              <a:cs typeface="Calibri"/>
            </a:endParaRPr>
          </a:p>
        </p:txBody>
      </p:sp>
      <p:sp>
        <p:nvSpPr>
          <p:cNvPr id="121" name="object 11"/>
          <p:cNvSpPr txBox="1"/>
          <p:nvPr/>
        </p:nvSpPr>
        <p:spPr>
          <a:xfrm>
            <a:off x="2101916" y="852250"/>
            <a:ext cx="6737284" cy="4318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>
            <a:defPPr>
              <a:defRPr lang="en-US"/>
            </a:defPPr>
            <a:lvl1pPr marL="12700">
              <a:lnSpc>
                <a:spcPts val="3400"/>
              </a:lnSpc>
              <a:spcBef>
                <a:spcPts val="170"/>
              </a:spcBef>
              <a:defRPr sz="4800" spc="0" baseline="1706">
                <a:solidFill>
                  <a:srgbClr val="7F7E7E"/>
                </a:solidFill>
                <a:latin typeface="Calibri"/>
                <a:cs typeface="Calibri"/>
              </a:defRPr>
            </a:lvl1pPr>
          </a:lstStyle>
          <a:p>
            <a:r>
              <a:rPr lang="en-US" dirty="0">
                <a:latin typeface="+mj-lt"/>
              </a:rPr>
              <a:t>If closest </a:t>
            </a:r>
            <a:r>
              <a:rPr lang="en-US" dirty="0" smtClean="0">
                <a:latin typeface="+mj-lt"/>
              </a:rPr>
              <a:t>pair are clusters, same: merge</a:t>
            </a:r>
            <a:endParaRPr dirty="0">
              <a:latin typeface="+mj-lt"/>
            </a:endParaRPr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4" name="object 5"/>
          <p:cNvSpPr txBox="1"/>
          <p:nvPr/>
        </p:nvSpPr>
        <p:spPr>
          <a:xfrm>
            <a:off x="5426815" y="6116930"/>
            <a:ext cx="542241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latin typeface="Calibri"/>
                <a:cs typeface="Calibri"/>
              </a:rPr>
              <a:t>Age</a:t>
            </a:r>
            <a:endParaRPr sz="2400">
              <a:latin typeface="Calibri"/>
              <a:cs typeface="Calibri"/>
            </a:endParaRPr>
          </a:p>
        </p:txBody>
      </p:sp>
      <p:sp>
        <p:nvSpPr>
          <p:cNvPr id="95" name="object 5"/>
          <p:cNvSpPr txBox="1"/>
          <p:nvPr/>
        </p:nvSpPr>
        <p:spPr>
          <a:xfrm>
            <a:off x="2101916" y="369650"/>
            <a:ext cx="6889684" cy="807913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 marR="41909">
              <a:lnSpc>
                <a:spcPts val="3454"/>
              </a:lnSpc>
              <a:spcBef>
                <a:spcPts val="172"/>
              </a:spcBef>
            </a:pPr>
            <a:r>
              <a:rPr lang="en-US" sz="4800" baseline="2560" dirty="0">
                <a:solidFill>
                  <a:srgbClr val="4E81BC"/>
                </a:solidFill>
                <a:latin typeface="+mj-lt"/>
                <a:cs typeface="Calibri"/>
              </a:rPr>
              <a:t>Mean </a:t>
            </a:r>
            <a:r>
              <a:rPr lang="en-US" sz="4800" baseline="2560" dirty="0" smtClean="0">
                <a:solidFill>
                  <a:srgbClr val="4E81BC"/>
                </a:solidFill>
                <a:latin typeface="+mj-lt"/>
                <a:cs typeface="Calibri"/>
              </a:rPr>
              <a:t>Shift</a:t>
            </a:r>
            <a:endParaRPr sz="3200" dirty="0">
              <a:latin typeface="+mj-lt"/>
              <a:cs typeface="Calibri"/>
            </a:endParaRPr>
          </a:p>
          <a:p>
            <a:pPr marL="12700">
              <a:lnSpc>
                <a:spcPts val="2770"/>
              </a:lnSpc>
            </a:pPr>
            <a:r>
              <a:rPr lang="en-US" sz="3200" baseline="1137" dirty="0">
                <a:solidFill>
                  <a:srgbClr val="7F7E7E"/>
                </a:solidFill>
                <a:cs typeface="Calibri"/>
              </a:rPr>
              <a:t>Sample local density, follow gradient towards denser direction</a:t>
            </a:r>
          </a:p>
        </p:txBody>
      </p:sp>
      <p:sp>
        <p:nvSpPr>
          <p:cNvPr id="96" name="object 82"/>
          <p:cNvSpPr/>
          <p:nvPr/>
        </p:nvSpPr>
        <p:spPr>
          <a:xfrm>
            <a:off x="4414372" y="54871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7" name="object 84"/>
          <p:cNvSpPr/>
          <p:nvPr/>
        </p:nvSpPr>
        <p:spPr>
          <a:xfrm>
            <a:off x="5399747" y="55212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8" name="object 86"/>
          <p:cNvSpPr/>
          <p:nvPr/>
        </p:nvSpPr>
        <p:spPr>
          <a:xfrm>
            <a:off x="6251551" y="55023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9" name="object 74"/>
          <p:cNvSpPr/>
          <p:nvPr/>
        </p:nvSpPr>
        <p:spPr>
          <a:xfrm>
            <a:off x="2668469" y="519520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0" name="object 72"/>
          <p:cNvSpPr/>
          <p:nvPr/>
        </p:nvSpPr>
        <p:spPr>
          <a:xfrm>
            <a:off x="5959366" y="251737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40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80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1" name="object 70"/>
          <p:cNvSpPr/>
          <p:nvPr/>
        </p:nvSpPr>
        <p:spPr>
          <a:xfrm>
            <a:off x="5560113" y="213564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2" name="object 68"/>
          <p:cNvSpPr/>
          <p:nvPr/>
        </p:nvSpPr>
        <p:spPr>
          <a:xfrm>
            <a:off x="5148028" y="1723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3" name="object 66"/>
          <p:cNvSpPr/>
          <p:nvPr/>
        </p:nvSpPr>
        <p:spPr>
          <a:xfrm>
            <a:off x="6872003" y="34121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4" name="object 63"/>
          <p:cNvSpPr/>
          <p:nvPr/>
        </p:nvSpPr>
        <p:spPr>
          <a:xfrm>
            <a:off x="5880842" y="502152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6"/>
                </a:lnTo>
                <a:lnTo>
                  <a:pt x="1583" y="198179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6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2"/>
                </a:lnTo>
                <a:lnTo>
                  <a:pt x="49876" y="299561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6"/>
                </a:lnTo>
                <a:lnTo>
                  <a:pt x="196530" y="342926"/>
                </a:lnTo>
                <a:lnTo>
                  <a:pt x="209650" y="339004"/>
                </a:lnTo>
                <a:lnTo>
                  <a:pt x="222295" y="333936"/>
                </a:lnTo>
                <a:lnTo>
                  <a:pt x="234413" y="327778"/>
                </a:lnTo>
                <a:lnTo>
                  <a:pt x="245953" y="320583"/>
                </a:lnTo>
                <a:lnTo>
                  <a:pt x="256864" y="312409"/>
                </a:lnTo>
                <a:lnTo>
                  <a:pt x="267095" y="303311"/>
                </a:lnTo>
                <a:lnTo>
                  <a:pt x="276595" y="293343"/>
                </a:lnTo>
                <a:lnTo>
                  <a:pt x="285312" y="282562"/>
                </a:lnTo>
                <a:lnTo>
                  <a:pt x="293195" y="271023"/>
                </a:lnTo>
                <a:lnTo>
                  <a:pt x="300193" y="258781"/>
                </a:lnTo>
                <a:lnTo>
                  <a:pt x="306255" y="245892"/>
                </a:lnTo>
                <a:lnTo>
                  <a:pt x="311330" y="232411"/>
                </a:lnTo>
                <a:lnTo>
                  <a:pt x="315366" y="218394"/>
                </a:lnTo>
                <a:lnTo>
                  <a:pt x="318312" y="203896"/>
                </a:lnTo>
                <a:lnTo>
                  <a:pt x="320117" y="188973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9" y="93485"/>
                </a:lnTo>
                <a:lnTo>
                  <a:pt x="296006" y="80986"/>
                </a:lnTo>
                <a:lnTo>
                  <a:pt x="288459" y="69169"/>
                </a:lnTo>
                <a:lnTo>
                  <a:pt x="280058" y="58089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4"/>
                </a:lnTo>
                <a:lnTo>
                  <a:pt x="86318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5" name="object 62"/>
          <p:cNvSpPr/>
          <p:nvPr/>
        </p:nvSpPr>
        <p:spPr>
          <a:xfrm>
            <a:off x="4326962" y="34938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6" name="object 60"/>
          <p:cNvSpPr/>
          <p:nvPr/>
        </p:nvSpPr>
        <p:spPr>
          <a:xfrm>
            <a:off x="3451263" y="457102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7" name="object 58"/>
          <p:cNvSpPr/>
          <p:nvPr/>
        </p:nvSpPr>
        <p:spPr>
          <a:xfrm>
            <a:off x="7513462" y="204543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8" name="object 56"/>
          <p:cNvSpPr/>
          <p:nvPr/>
        </p:nvSpPr>
        <p:spPr>
          <a:xfrm>
            <a:off x="6553321" y="196196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9" name="object 54"/>
          <p:cNvSpPr/>
          <p:nvPr/>
        </p:nvSpPr>
        <p:spPr>
          <a:xfrm>
            <a:off x="7353097" y="275391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0" name="object 52"/>
          <p:cNvSpPr/>
          <p:nvPr/>
        </p:nvSpPr>
        <p:spPr>
          <a:xfrm>
            <a:off x="4696124" y="412086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1" name="object 50"/>
          <p:cNvSpPr/>
          <p:nvPr/>
        </p:nvSpPr>
        <p:spPr>
          <a:xfrm>
            <a:off x="4441297" y="46123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2" name="object 48"/>
          <p:cNvSpPr/>
          <p:nvPr/>
        </p:nvSpPr>
        <p:spPr>
          <a:xfrm>
            <a:off x="3130532" y="40499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3" name="object 42"/>
          <p:cNvSpPr/>
          <p:nvPr/>
        </p:nvSpPr>
        <p:spPr>
          <a:xfrm>
            <a:off x="5748103" y="33118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4" name="object 44"/>
          <p:cNvSpPr/>
          <p:nvPr/>
        </p:nvSpPr>
        <p:spPr>
          <a:xfrm>
            <a:off x="5560113" y="25802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5" name="object 46"/>
          <p:cNvSpPr/>
          <p:nvPr/>
        </p:nvSpPr>
        <p:spPr>
          <a:xfrm>
            <a:off x="5421508" y="296447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6" name="object 40"/>
          <p:cNvSpPr/>
          <p:nvPr/>
        </p:nvSpPr>
        <p:spPr>
          <a:xfrm>
            <a:off x="5213120" y="49216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7" name="object 38"/>
          <p:cNvSpPr/>
          <p:nvPr/>
        </p:nvSpPr>
        <p:spPr>
          <a:xfrm>
            <a:off x="7032365" y="221911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8" name="object 36"/>
          <p:cNvSpPr/>
          <p:nvPr/>
        </p:nvSpPr>
        <p:spPr>
          <a:xfrm>
            <a:off x="7385165" y="340218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6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7"/>
                </a:lnTo>
                <a:lnTo>
                  <a:pt x="310251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9" name="object 34"/>
          <p:cNvSpPr/>
          <p:nvPr/>
        </p:nvSpPr>
        <p:spPr>
          <a:xfrm>
            <a:off x="5038354" y="24830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0" name="object 32"/>
          <p:cNvSpPr/>
          <p:nvPr/>
        </p:nvSpPr>
        <p:spPr>
          <a:xfrm>
            <a:off x="7192732" y="159327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1" name="object 30"/>
          <p:cNvSpPr/>
          <p:nvPr/>
        </p:nvSpPr>
        <p:spPr>
          <a:xfrm>
            <a:off x="6201572" y="316997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2" name="object 28"/>
          <p:cNvSpPr/>
          <p:nvPr/>
        </p:nvSpPr>
        <p:spPr>
          <a:xfrm>
            <a:off x="4877989" y="532865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3" name="object 26"/>
          <p:cNvSpPr/>
          <p:nvPr/>
        </p:nvSpPr>
        <p:spPr>
          <a:xfrm>
            <a:off x="5581873" y="4521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4" name="object 24"/>
          <p:cNvSpPr/>
          <p:nvPr/>
        </p:nvSpPr>
        <p:spPr>
          <a:xfrm>
            <a:off x="3528670" y="35173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5" name="object 22"/>
          <p:cNvSpPr/>
          <p:nvPr/>
        </p:nvSpPr>
        <p:spPr>
          <a:xfrm>
            <a:off x="3252845" y="520650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6" name="object 20"/>
          <p:cNvSpPr/>
          <p:nvPr/>
        </p:nvSpPr>
        <p:spPr>
          <a:xfrm>
            <a:off x="3849401" y="4051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7" name="object 18"/>
          <p:cNvSpPr/>
          <p:nvPr/>
        </p:nvSpPr>
        <p:spPr>
          <a:xfrm>
            <a:off x="6713687" y="269105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8" name="object 6"/>
          <p:cNvSpPr txBox="1"/>
          <p:nvPr/>
        </p:nvSpPr>
        <p:spPr>
          <a:xfrm>
            <a:off x="1332125" y="3759280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grpSp>
        <p:nvGrpSpPr>
          <p:cNvPr id="129" name="Group 128"/>
          <p:cNvGrpSpPr/>
          <p:nvPr/>
        </p:nvGrpSpPr>
        <p:grpSpPr>
          <a:xfrm>
            <a:off x="2383438" y="1888930"/>
            <a:ext cx="6303362" cy="4054670"/>
            <a:chOff x="2343901" y="1923700"/>
            <a:chExt cx="6303362" cy="4054670"/>
          </a:xfrm>
        </p:grpSpPr>
        <p:sp>
          <p:nvSpPr>
            <p:cNvPr id="130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131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  <p:sp>
        <p:nvSpPr>
          <p:cNvPr id="132" name="object 69"/>
          <p:cNvSpPr/>
          <p:nvPr/>
        </p:nvSpPr>
        <p:spPr>
          <a:xfrm>
            <a:off x="5482207" y="2493252"/>
            <a:ext cx="565019" cy="625840"/>
          </a:xfrm>
          <a:custGeom>
            <a:avLst/>
            <a:gdLst/>
            <a:ahLst/>
            <a:cxnLst/>
            <a:rect l="l" t="t" r="r" b="b"/>
            <a:pathLst>
              <a:path w="565019" h="625840">
                <a:moveTo>
                  <a:pt x="0" y="0"/>
                </a:moveTo>
                <a:lnTo>
                  <a:pt x="0" y="625840"/>
                </a:lnTo>
                <a:lnTo>
                  <a:pt x="565019" y="625840"/>
                </a:lnTo>
                <a:lnTo>
                  <a:pt x="565019" y="0"/>
                </a:lnTo>
                <a:lnTo>
                  <a:pt x="0" y="0"/>
                </a:lnTo>
                <a:close/>
              </a:path>
            </a:pathLst>
          </a:custGeom>
          <a:solidFill>
            <a:srgbClr val="59B9D0">
              <a:alpha val="71000"/>
            </a:srgbClr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3" name="object 69"/>
          <p:cNvSpPr/>
          <p:nvPr/>
        </p:nvSpPr>
        <p:spPr>
          <a:xfrm>
            <a:off x="6019800" y="2971800"/>
            <a:ext cx="565019" cy="625840"/>
          </a:xfrm>
          <a:custGeom>
            <a:avLst/>
            <a:gdLst/>
            <a:ahLst/>
            <a:cxnLst/>
            <a:rect l="l" t="t" r="r" b="b"/>
            <a:pathLst>
              <a:path w="565019" h="625840">
                <a:moveTo>
                  <a:pt x="0" y="0"/>
                </a:moveTo>
                <a:lnTo>
                  <a:pt x="0" y="625840"/>
                </a:lnTo>
                <a:lnTo>
                  <a:pt x="565019" y="625840"/>
                </a:lnTo>
                <a:lnTo>
                  <a:pt x="565019" y="0"/>
                </a:lnTo>
                <a:lnTo>
                  <a:pt x="0" y="0"/>
                </a:lnTo>
                <a:close/>
              </a:path>
            </a:pathLst>
          </a:custGeom>
          <a:solidFill>
            <a:srgbClr val="FAA757">
              <a:alpha val="71000"/>
            </a:srgbClr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4" name="object 5"/>
          <p:cNvSpPr txBox="1"/>
          <p:nvPr/>
        </p:nvSpPr>
        <p:spPr>
          <a:xfrm>
            <a:off x="5426815" y="6116930"/>
            <a:ext cx="542241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latin typeface="Calibri"/>
                <a:cs typeface="Calibri"/>
              </a:rPr>
              <a:t>Age</a:t>
            </a:r>
            <a:endParaRPr sz="2400">
              <a:latin typeface="Calibri"/>
              <a:cs typeface="Calibri"/>
            </a:endParaRPr>
          </a:p>
        </p:txBody>
      </p:sp>
      <p:sp>
        <p:nvSpPr>
          <p:cNvPr id="95" name="object 5"/>
          <p:cNvSpPr txBox="1"/>
          <p:nvPr/>
        </p:nvSpPr>
        <p:spPr>
          <a:xfrm>
            <a:off x="2101916" y="369650"/>
            <a:ext cx="6889684" cy="807913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 marR="41909">
              <a:lnSpc>
                <a:spcPts val="3454"/>
              </a:lnSpc>
              <a:spcBef>
                <a:spcPts val="172"/>
              </a:spcBef>
            </a:pPr>
            <a:r>
              <a:rPr lang="en-US" sz="4800" baseline="2560" dirty="0">
                <a:solidFill>
                  <a:srgbClr val="4E81BC"/>
                </a:solidFill>
                <a:latin typeface="+mj-lt"/>
                <a:cs typeface="Calibri"/>
              </a:rPr>
              <a:t>Mean </a:t>
            </a:r>
            <a:r>
              <a:rPr lang="en-US" sz="4800" baseline="2560" dirty="0" smtClean="0">
                <a:solidFill>
                  <a:srgbClr val="4E81BC"/>
                </a:solidFill>
                <a:latin typeface="+mj-lt"/>
                <a:cs typeface="Calibri"/>
              </a:rPr>
              <a:t>Shift</a:t>
            </a:r>
            <a:endParaRPr sz="3200" dirty="0">
              <a:latin typeface="+mj-lt"/>
              <a:cs typeface="Calibri"/>
            </a:endParaRPr>
          </a:p>
          <a:p>
            <a:pPr marL="12700">
              <a:lnSpc>
                <a:spcPts val="2770"/>
              </a:lnSpc>
            </a:pPr>
            <a:r>
              <a:rPr lang="en-US" sz="3200" baseline="1137" dirty="0">
                <a:solidFill>
                  <a:srgbClr val="7F7E7E"/>
                </a:solidFill>
                <a:cs typeface="Calibri"/>
              </a:rPr>
              <a:t>Sample local density, follow gradient towards denser direction</a:t>
            </a:r>
          </a:p>
        </p:txBody>
      </p:sp>
      <p:sp>
        <p:nvSpPr>
          <p:cNvPr id="96" name="object 82"/>
          <p:cNvSpPr/>
          <p:nvPr/>
        </p:nvSpPr>
        <p:spPr>
          <a:xfrm>
            <a:off x="4414372" y="54871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7" name="object 84"/>
          <p:cNvSpPr/>
          <p:nvPr/>
        </p:nvSpPr>
        <p:spPr>
          <a:xfrm>
            <a:off x="5399747" y="55212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8" name="object 86"/>
          <p:cNvSpPr/>
          <p:nvPr/>
        </p:nvSpPr>
        <p:spPr>
          <a:xfrm>
            <a:off x="6251551" y="55023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9" name="object 74"/>
          <p:cNvSpPr/>
          <p:nvPr/>
        </p:nvSpPr>
        <p:spPr>
          <a:xfrm>
            <a:off x="2668469" y="519520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0" name="object 72"/>
          <p:cNvSpPr/>
          <p:nvPr/>
        </p:nvSpPr>
        <p:spPr>
          <a:xfrm>
            <a:off x="5959366" y="251737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40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80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1" name="object 70"/>
          <p:cNvSpPr/>
          <p:nvPr/>
        </p:nvSpPr>
        <p:spPr>
          <a:xfrm>
            <a:off x="5560113" y="213564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2" name="object 68"/>
          <p:cNvSpPr/>
          <p:nvPr/>
        </p:nvSpPr>
        <p:spPr>
          <a:xfrm>
            <a:off x="5148028" y="1723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3" name="object 66"/>
          <p:cNvSpPr/>
          <p:nvPr/>
        </p:nvSpPr>
        <p:spPr>
          <a:xfrm>
            <a:off x="6872003" y="34121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4" name="object 63"/>
          <p:cNvSpPr/>
          <p:nvPr/>
        </p:nvSpPr>
        <p:spPr>
          <a:xfrm>
            <a:off x="5880842" y="502152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6"/>
                </a:lnTo>
                <a:lnTo>
                  <a:pt x="1583" y="198179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6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2"/>
                </a:lnTo>
                <a:lnTo>
                  <a:pt x="49876" y="299561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6"/>
                </a:lnTo>
                <a:lnTo>
                  <a:pt x="196530" y="342926"/>
                </a:lnTo>
                <a:lnTo>
                  <a:pt x="209650" y="339004"/>
                </a:lnTo>
                <a:lnTo>
                  <a:pt x="222295" y="333936"/>
                </a:lnTo>
                <a:lnTo>
                  <a:pt x="234413" y="327778"/>
                </a:lnTo>
                <a:lnTo>
                  <a:pt x="245953" y="320583"/>
                </a:lnTo>
                <a:lnTo>
                  <a:pt x="256864" y="312409"/>
                </a:lnTo>
                <a:lnTo>
                  <a:pt x="267095" y="303311"/>
                </a:lnTo>
                <a:lnTo>
                  <a:pt x="276595" y="293343"/>
                </a:lnTo>
                <a:lnTo>
                  <a:pt x="285312" y="282562"/>
                </a:lnTo>
                <a:lnTo>
                  <a:pt x="293195" y="271023"/>
                </a:lnTo>
                <a:lnTo>
                  <a:pt x="300193" y="258781"/>
                </a:lnTo>
                <a:lnTo>
                  <a:pt x="306255" y="245892"/>
                </a:lnTo>
                <a:lnTo>
                  <a:pt x="311330" y="232411"/>
                </a:lnTo>
                <a:lnTo>
                  <a:pt x="315366" y="218394"/>
                </a:lnTo>
                <a:lnTo>
                  <a:pt x="318312" y="203896"/>
                </a:lnTo>
                <a:lnTo>
                  <a:pt x="320117" y="188973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9" y="93485"/>
                </a:lnTo>
                <a:lnTo>
                  <a:pt x="296006" y="80986"/>
                </a:lnTo>
                <a:lnTo>
                  <a:pt x="288459" y="69169"/>
                </a:lnTo>
                <a:lnTo>
                  <a:pt x="280058" y="58089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4"/>
                </a:lnTo>
                <a:lnTo>
                  <a:pt x="86318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5" name="object 62"/>
          <p:cNvSpPr/>
          <p:nvPr/>
        </p:nvSpPr>
        <p:spPr>
          <a:xfrm>
            <a:off x="4326962" y="34938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6" name="object 60"/>
          <p:cNvSpPr/>
          <p:nvPr/>
        </p:nvSpPr>
        <p:spPr>
          <a:xfrm>
            <a:off x="3451263" y="457102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7" name="object 58"/>
          <p:cNvSpPr/>
          <p:nvPr/>
        </p:nvSpPr>
        <p:spPr>
          <a:xfrm>
            <a:off x="7513462" y="204543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8" name="object 56"/>
          <p:cNvSpPr/>
          <p:nvPr/>
        </p:nvSpPr>
        <p:spPr>
          <a:xfrm>
            <a:off x="6553321" y="196196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9" name="object 54"/>
          <p:cNvSpPr/>
          <p:nvPr/>
        </p:nvSpPr>
        <p:spPr>
          <a:xfrm>
            <a:off x="7353097" y="275391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0" name="object 52"/>
          <p:cNvSpPr/>
          <p:nvPr/>
        </p:nvSpPr>
        <p:spPr>
          <a:xfrm>
            <a:off x="4696124" y="412086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1" name="object 50"/>
          <p:cNvSpPr/>
          <p:nvPr/>
        </p:nvSpPr>
        <p:spPr>
          <a:xfrm>
            <a:off x="4441297" y="46123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2" name="object 48"/>
          <p:cNvSpPr/>
          <p:nvPr/>
        </p:nvSpPr>
        <p:spPr>
          <a:xfrm>
            <a:off x="3130532" y="40499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3" name="object 42"/>
          <p:cNvSpPr/>
          <p:nvPr/>
        </p:nvSpPr>
        <p:spPr>
          <a:xfrm>
            <a:off x="5748103" y="33118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4" name="object 44"/>
          <p:cNvSpPr/>
          <p:nvPr/>
        </p:nvSpPr>
        <p:spPr>
          <a:xfrm>
            <a:off x="5560113" y="25802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5" name="object 46"/>
          <p:cNvSpPr/>
          <p:nvPr/>
        </p:nvSpPr>
        <p:spPr>
          <a:xfrm>
            <a:off x="5421508" y="296447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6" name="object 40"/>
          <p:cNvSpPr/>
          <p:nvPr/>
        </p:nvSpPr>
        <p:spPr>
          <a:xfrm>
            <a:off x="5213120" y="49216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7" name="object 38"/>
          <p:cNvSpPr/>
          <p:nvPr/>
        </p:nvSpPr>
        <p:spPr>
          <a:xfrm>
            <a:off x="7032365" y="221911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8" name="object 36"/>
          <p:cNvSpPr/>
          <p:nvPr/>
        </p:nvSpPr>
        <p:spPr>
          <a:xfrm>
            <a:off x="7385165" y="340218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6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7"/>
                </a:lnTo>
                <a:lnTo>
                  <a:pt x="310251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9" name="object 34"/>
          <p:cNvSpPr/>
          <p:nvPr/>
        </p:nvSpPr>
        <p:spPr>
          <a:xfrm>
            <a:off x="5038354" y="24830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0" name="object 32"/>
          <p:cNvSpPr/>
          <p:nvPr/>
        </p:nvSpPr>
        <p:spPr>
          <a:xfrm>
            <a:off x="7192732" y="159327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1" name="object 30"/>
          <p:cNvSpPr/>
          <p:nvPr/>
        </p:nvSpPr>
        <p:spPr>
          <a:xfrm>
            <a:off x="6201572" y="316997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2" name="object 28"/>
          <p:cNvSpPr/>
          <p:nvPr/>
        </p:nvSpPr>
        <p:spPr>
          <a:xfrm>
            <a:off x="4877989" y="532865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3" name="object 26"/>
          <p:cNvSpPr/>
          <p:nvPr/>
        </p:nvSpPr>
        <p:spPr>
          <a:xfrm>
            <a:off x="5581873" y="4521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4" name="object 24"/>
          <p:cNvSpPr/>
          <p:nvPr/>
        </p:nvSpPr>
        <p:spPr>
          <a:xfrm>
            <a:off x="3528670" y="35173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5" name="object 22"/>
          <p:cNvSpPr/>
          <p:nvPr/>
        </p:nvSpPr>
        <p:spPr>
          <a:xfrm>
            <a:off x="3252845" y="520650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6" name="object 20"/>
          <p:cNvSpPr/>
          <p:nvPr/>
        </p:nvSpPr>
        <p:spPr>
          <a:xfrm>
            <a:off x="3849401" y="4051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7" name="object 18"/>
          <p:cNvSpPr/>
          <p:nvPr/>
        </p:nvSpPr>
        <p:spPr>
          <a:xfrm>
            <a:off x="6713687" y="269105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8" name="object 6"/>
          <p:cNvSpPr txBox="1"/>
          <p:nvPr/>
        </p:nvSpPr>
        <p:spPr>
          <a:xfrm>
            <a:off x="1332125" y="3759280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grpSp>
        <p:nvGrpSpPr>
          <p:cNvPr id="129" name="Group 128"/>
          <p:cNvGrpSpPr/>
          <p:nvPr/>
        </p:nvGrpSpPr>
        <p:grpSpPr>
          <a:xfrm>
            <a:off x="2383438" y="1888930"/>
            <a:ext cx="6303362" cy="4054670"/>
            <a:chOff x="2343901" y="1923700"/>
            <a:chExt cx="6303362" cy="4054670"/>
          </a:xfrm>
        </p:grpSpPr>
        <p:sp>
          <p:nvSpPr>
            <p:cNvPr id="130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131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  <p:sp>
        <p:nvSpPr>
          <p:cNvPr id="132" name="object 69"/>
          <p:cNvSpPr/>
          <p:nvPr/>
        </p:nvSpPr>
        <p:spPr>
          <a:xfrm>
            <a:off x="5482207" y="2493252"/>
            <a:ext cx="565019" cy="625840"/>
          </a:xfrm>
          <a:custGeom>
            <a:avLst/>
            <a:gdLst/>
            <a:ahLst/>
            <a:cxnLst/>
            <a:rect l="l" t="t" r="r" b="b"/>
            <a:pathLst>
              <a:path w="565019" h="625840">
                <a:moveTo>
                  <a:pt x="0" y="0"/>
                </a:moveTo>
                <a:lnTo>
                  <a:pt x="0" y="625840"/>
                </a:lnTo>
                <a:lnTo>
                  <a:pt x="565019" y="625840"/>
                </a:lnTo>
                <a:lnTo>
                  <a:pt x="565019" y="0"/>
                </a:lnTo>
                <a:lnTo>
                  <a:pt x="0" y="0"/>
                </a:lnTo>
                <a:close/>
              </a:path>
            </a:pathLst>
          </a:custGeom>
          <a:solidFill>
            <a:srgbClr val="59B9D0">
              <a:alpha val="71000"/>
            </a:srgbClr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3" name="object 69"/>
          <p:cNvSpPr/>
          <p:nvPr/>
        </p:nvSpPr>
        <p:spPr>
          <a:xfrm>
            <a:off x="5715638" y="2819400"/>
            <a:ext cx="565019" cy="625840"/>
          </a:xfrm>
          <a:custGeom>
            <a:avLst/>
            <a:gdLst/>
            <a:ahLst/>
            <a:cxnLst/>
            <a:rect l="l" t="t" r="r" b="b"/>
            <a:pathLst>
              <a:path w="565019" h="625840">
                <a:moveTo>
                  <a:pt x="0" y="0"/>
                </a:moveTo>
                <a:lnTo>
                  <a:pt x="0" y="625840"/>
                </a:lnTo>
                <a:lnTo>
                  <a:pt x="565019" y="625840"/>
                </a:lnTo>
                <a:lnTo>
                  <a:pt x="565019" y="0"/>
                </a:lnTo>
                <a:lnTo>
                  <a:pt x="0" y="0"/>
                </a:lnTo>
                <a:close/>
              </a:path>
            </a:pathLst>
          </a:custGeom>
          <a:solidFill>
            <a:srgbClr val="FAA757">
              <a:alpha val="71000"/>
            </a:srgbClr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5" name="object 5"/>
          <p:cNvSpPr txBox="1"/>
          <p:nvPr/>
        </p:nvSpPr>
        <p:spPr>
          <a:xfrm>
            <a:off x="5426815" y="6116930"/>
            <a:ext cx="542241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latin typeface="Calibri"/>
                <a:cs typeface="Calibri"/>
              </a:rPr>
              <a:t>Age</a:t>
            </a:r>
            <a:endParaRPr sz="2400">
              <a:latin typeface="Calibri"/>
              <a:cs typeface="Calibri"/>
            </a:endParaRPr>
          </a:p>
        </p:txBody>
      </p:sp>
      <p:sp>
        <p:nvSpPr>
          <p:cNvPr id="96" name="object 5"/>
          <p:cNvSpPr txBox="1"/>
          <p:nvPr/>
        </p:nvSpPr>
        <p:spPr>
          <a:xfrm>
            <a:off x="2101916" y="369650"/>
            <a:ext cx="6889684" cy="807913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 marR="41909">
              <a:lnSpc>
                <a:spcPts val="3454"/>
              </a:lnSpc>
              <a:spcBef>
                <a:spcPts val="172"/>
              </a:spcBef>
            </a:pPr>
            <a:r>
              <a:rPr lang="en-US" sz="4800" baseline="2560" dirty="0">
                <a:solidFill>
                  <a:srgbClr val="4E81BC"/>
                </a:solidFill>
                <a:latin typeface="+mj-lt"/>
                <a:cs typeface="Calibri"/>
              </a:rPr>
              <a:t>Mean </a:t>
            </a:r>
            <a:r>
              <a:rPr lang="en-US" sz="4800" baseline="2560" dirty="0" smtClean="0">
                <a:solidFill>
                  <a:srgbClr val="4E81BC"/>
                </a:solidFill>
                <a:latin typeface="+mj-lt"/>
                <a:cs typeface="Calibri"/>
              </a:rPr>
              <a:t>Shift</a:t>
            </a:r>
            <a:endParaRPr sz="3200" dirty="0">
              <a:latin typeface="+mj-lt"/>
              <a:cs typeface="Calibri"/>
            </a:endParaRPr>
          </a:p>
          <a:p>
            <a:pPr marL="12700">
              <a:lnSpc>
                <a:spcPts val="2770"/>
              </a:lnSpc>
            </a:pPr>
            <a:r>
              <a:rPr lang="en-US" sz="3200" baseline="1137" dirty="0">
                <a:solidFill>
                  <a:srgbClr val="7F7E7E"/>
                </a:solidFill>
                <a:cs typeface="Calibri"/>
              </a:rPr>
              <a:t>Sample local density, follow gradient towards denser direction</a:t>
            </a:r>
          </a:p>
        </p:txBody>
      </p:sp>
      <p:sp>
        <p:nvSpPr>
          <p:cNvPr id="97" name="object 82"/>
          <p:cNvSpPr/>
          <p:nvPr/>
        </p:nvSpPr>
        <p:spPr>
          <a:xfrm>
            <a:off x="4414372" y="54871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8" name="object 84"/>
          <p:cNvSpPr/>
          <p:nvPr/>
        </p:nvSpPr>
        <p:spPr>
          <a:xfrm>
            <a:off x="5399747" y="55212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9" name="object 86"/>
          <p:cNvSpPr/>
          <p:nvPr/>
        </p:nvSpPr>
        <p:spPr>
          <a:xfrm>
            <a:off x="6251551" y="55023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0" name="object 74"/>
          <p:cNvSpPr/>
          <p:nvPr/>
        </p:nvSpPr>
        <p:spPr>
          <a:xfrm>
            <a:off x="2668469" y="519520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1" name="object 72"/>
          <p:cNvSpPr/>
          <p:nvPr/>
        </p:nvSpPr>
        <p:spPr>
          <a:xfrm>
            <a:off x="5959366" y="251737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40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80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2" name="object 70"/>
          <p:cNvSpPr/>
          <p:nvPr/>
        </p:nvSpPr>
        <p:spPr>
          <a:xfrm>
            <a:off x="5560113" y="213564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3" name="object 68"/>
          <p:cNvSpPr/>
          <p:nvPr/>
        </p:nvSpPr>
        <p:spPr>
          <a:xfrm>
            <a:off x="5148028" y="1723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4" name="object 66"/>
          <p:cNvSpPr/>
          <p:nvPr/>
        </p:nvSpPr>
        <p:spPr>
          <a:xfrm>
            <a:off x="6872003" y="34121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5" name="object 63"/>
          <p:cNvSpPr/>
          <p:nvPr/>
        </p:nvSpPr>
        <p:spPr>
          <a:xfrm>
            <a:off x="5880842" y="502152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6"/>
                </a:lnTo>
                <a:lnTo>
                  <a:pt x="1583" y="198179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6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2"/>
                </a:lnTo>
                <a:lnTo>
                  <a:pt x="49876" y="299561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6"/>
                </a:lnTo>
                <a:lnTo>
                  <a:pt x="196530" y="342926"/>
                </a:lnTo>
                <a:lnTo>
                  <a:pt x="209650" y="339004"/>
                </a:lnTo>
                <a:lnTo>
                  <a:pt x="222295" y="333936"/>
                </a:lnTo>
                <a:lnTo>
                  <a:pt x="234413" y="327778"/>
                </a:lnTo>
                <a:lnTo>
                  <a:pt x="245953" y="320583"/>
                </a:lnTo>
                <a:lnTo>
                  <a:pt x="256864" y="312409"/>
                </a:lnTo>
                <a:lnTo>
                  <a:pt x="267095" y="303311"/>
                </a:lnTo>
                <a:lnTo>
                  <a:pt x="276595" y="293343"/>
                </a:lnTo>
                <a:lnTo>
                  <a:pt x="285312" y="282562"/>
                </a:lnTo>
                <a:lnTo>
                  <a:pt x="293195" y="271023"/>
                </a:lnTo>
                <a:lnTo>
                  <a:pt x="300193" y="258781"/>
                </a:lnTo>
                <a:lnTo>
                  <a:pt x="306255" y="245892"/>
                </a:lnTo>
                <a:lnTo>
                  <a:pt x="311330" y="232411"/>
                </a:lnTo>
                <a:lnTo>
                  <a:pt x="315366" y="218394"/>
                </a:lnTo>
                <a:lnTo>
                  <a:pt x="318312" y="203896"/>
                </a:lnTo>
                <a:lnTo>
                  <a:pt x="320117" y="188973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9" y="93485"/>
                </a:lnTo>
                <a:lnTo>
                  <a:pt x="296006" y="80986"/>
                </a:lnTo>
                <a:lnTo>
                  <a:pt x="288459" y="69169"/>
                </a:lnTo>
                <a:lnTo>
                  <a:pt x="280058" y="58089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4"/>
                </a:lnTo>
                <a:lnTo>
                  <a:pt x="86318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6" name="object 62"/>
          <p:cNvSpPr/>
          <p:nvPr/>
        </p:nvSpPr>
        <p:spPr>
          <a:xfrm>
            <a:off x="4326962" y="34938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7" name="object 60"/>
          <p:cNvSpPr/>
          <p:nvPr/>
        </p:nvSpPr>
        <p:spPr>
          <a:xfrm>
            <a:off x="3451263" y="457102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8" name="object 58"/>
          <p:cNvSpPr/>
          <p:nvPr/>
        </p:nvSpPr>
        <p:spPr>
          <a:xfrm>
            <a:off x="7513462" y="204543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9" name="object 56"/>
          <p:cNvSpPr/>
          <p:nvPr/>
        </p:nvSpPr>
        <p:spPr>
          <a:xfrm>
            <a:off x="6553321" y="196196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0" name="object 54"/>
          <p:cNvSpPr/>
          <p:nvPr/>
        </p:nvSpPr>
        <p:spPr>
          <a:xfrm>
            <a:off x="7353097" y="275391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1" name="object 52"/>
          <p:cNvSpPr/>
          <p:nvPr/>
        </p:nvSpPr>
        <p:spPr>
          <a:xfrm>
            <a:off x="4696124" y="412086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2" name="object 50"/>
          <p:cNvSpPr/>
          <p:nvPr/>
        </p:nvSpPr>
        <p:spPr>
          <a:xfrm>
            <a:off x="4441297" y="46123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3" name="object 48"/>
          <p:cNvSpPr/>
          <p:nvPr/>
        </p:nvSpPr>
        <p:spPr>
          <a:xfrm>
            <a:off x="3130532" y="40499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4" name="object 42"/>
          <p:cNvSpPr/>
          <p:nvPr/>
        </p:nvSpPr>
        <p:spPr>
          <a:xfrm>
            <a:off x="5748103" y="33118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5" name="object 44"/>
          <p:cNvSpPr/>
          <p:nvPr/>
        </p:nvSpPr>
        <p:spPr>
          <a:xfrm>
            <a:off x="5560113" y="25802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6" name="object 46"/>
          <p:cNvSpPr/>
          <p:nvPr/>
        </p:nvSpPr>
        <p:spPr>
          <a:xfrm>
            <a:off x="5421508" y="296447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7" name="object 40"/>
          <p:cNvSpPr/>
          <p:nvPr/>
        </p:nvSpPr>
        <p:spPr>
          <a:xfrm>
            <a:off x="5213120" y="49216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8" name="object 38"/>
          <p:cNvSpPr/>
          <p:nvPr/>
        </p:nvSpPr>
        <p:spPr>
          <a:xfrm>
            <a:off x="7032365" y="221911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9" name="object 36"/>
          <p:cNvSpPr/>
          <p:nvPr/>
        </p:nvSpPr>
        <p:spPr>
          <a:xfrm>
            <a:off x="7385165" y="340218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6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7"/>
                </a:lnTo>
                <a:lnTo>
                  <a:pt x="310251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0" name="object 34"/>
          <p:cNvSpPr/>
          <p:nvPr/>
        </p:nvSpPr>
        <p:spPr>
          <a:xfrm>
            <a:off x="5038354" y="24830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1" name="object 32"/>
          <p:cNvSpPr/>
          <p:nvPr/>
        </p:nvSpPr>
        <p:spPr>
          <a:xfrm>
            <a:off x="7192732" y="159327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2" name="object 30"/>
          <p:cNvSpPr/>
          <p:nvPr/>
        </p:nvSpPr>
        <p:spPr>
          <a:xfrm>
            <a:off x="6201572" y="316997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3" name="object 28"/>
          <p:cNvSpPr/>
          <p:nvPr/>
        </p:nvSpPr>
        <p:spPr>
          <a:xfrm>
            <a:off x="4877989" y="532865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4" name="object 26"/>
          <p:cNvSpPr/>
          <p:nvPr/>
        </p:nvSpPr>
        <p:spPr>
          <a:xfrm>
            <a:off x="5581873" y="4521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5" name="object 24"/>
          <p:cNvSpPr/>
          <p:nvPr/>
        </p:nvSpPr>
        <p:spPr>
          <a:xfrm>
            <a:off x="3528670" y="35173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6" name="object 22"/>
          <p:cNvSpPr/>
          <p:nvPr/>
        </p:nvSpPr>
        <p:spPr>
          <a:xfrm>
            <a:off x="3252845" y="520650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7" name="object 20"/>
          <p:cNvSpPr/>
          <p:nvPr/>
        </p:nvSpPr>
        <p:spPr>
          <a:xfrm>
            <a:off x="3849401" y="4051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8" name="object 18"/>
          <p:cNvSpPr/>
          <p:nvPr/>
        </p:nvSpPr>
        <p:spPr>
          <a:xfrm>
            <a:off x="6713687" y="269105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9" name="object 6"/>
          <p:cNvSpPr txBox="1"/>
          <p:nvPr/>
        </p:nvSpPr>
        <p:spPr>
          <a:xfrm>
            <a:off x="1332125" y="3759280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grpSp>
        <p:nvGrpSpPr>
          <p:cNvPr id="130" name="Group 129"/>
          <p:cNvGrpSpPr/>
          <p:nvPr/>
        </p:nvGrpSpPr>
        <p:grpSpPr>
          <a:xfrm>
            <a:off x="2383438" y="1888930"/>
            <a:ext cx="6303362" cy="4054670"/>
            <a:chOff x="2343901" y="1923700"/>
            <a:chExt cx="6303362" cy="4054670"/>
          </a:xfrm>
        </p:grpSpPr>
        <p:sp>
          <p:nvSpPr>
            <p:cNvPr id="131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132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  <p:sp>
        <p:nvSpPr>
          <p:cNvPr id="133" name="object 69"/>
          <p:cNvSpPr/>
          <p:nvPr/>
        </p:nvSpPr>
        <p:spPr>
          <a:xfrm>
            <a:off x="5482207" y="2493252"/>
            <a:ext cx="565019" cy="625840"/>
          </a:xfrm>
          <a:custGeom>
            <a:avLst/>
            <a:gdLst/>
            <a:ahLst/>
            <a:cxnLst/>
            <a:rect l="l" t="t" r="r" b="b"/>
            <a:pathLst>
              <a:path w="565019" h="625840">
                <a:moveTo>
                  <a:pt x="0" y="0"/>
                </a:moveTo>
                <a:lnTo>
                  <a:pt x="0" y="625840"/>
                </a:lnTo>
                <a:lnTo>
                  <a:pt x="565019" y="625840"/>
                </a:lnTo>
                <a:lnTo>
                  <a:pt x="565019" y="0"/>
                </a:lnTo>
                <a:lnTo>
                  <a:pt x="0" y="0"/>
                </a:lnTo>
                <a:close/>
              </a:path>
            </a:pathLst>
          </a:custGeom>
          <a:solidFill>
            <a:srgbClr val="59B9D0">
              <a:alpha val="71000"/>
            </a:srgbClr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4" name="object 69"/>
          <p:cNvSpPr/>
          <p:nvPr/>
        </p:nvSpPr>
        <p:spPr>
          <a:xfrm>
            <a:off x="5535908" y="2639922"/>
            <a:ext cx="565019" cy="625840"/>
          </a:xfrm>
          <a:custGeom>
            <a:avLst/>
            <a:gdLst/>
            <a:ahLst/>
            <a:cxnLst/>
            <a:rect l="l" t="t" r="r" b="b"/>
            <a:pathLst>
              <a:path w="565019" h="625840">
                <a:moveTo>
                  <a:pt x="0" y="0"/>
                </a:moveTo>
                <a:lnTo>
                  <a:pt x="0" y="625840"/>
                </a:lnTo>
                <a:lnTo>
                  <a:pt x="565019" y="625840"/>
                </a:lnTo>
                <a:lnTo>
                  <a:pt x="565019" y="0"/>
                </a:lnTo>
                <a:lnTo>
                  <a:pt x="0" y="0"/>
                </a:lnTo>
                <a:close/>
              </a:path>
            </a:pathLst>
          </a:custGeom>
          <a:solidFill>
            <a:srgbClr val="FAA757">
              <a:alpha val="71000"/>
            </a:srgbClr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8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5" name="object 5"/>
          <p:cNvSpPr txBox="1"/>
          <p:nvPr/>
        </p:nvSpPr>
        <p:spPr>
          <a:xfrm>
            <a:off x="5426815" y="6116930"/>
            <a:ext cx="542241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latin typeface="Calibri"/>
                <a:cs typeface="Calibri"/>
              </a:rPr>
              <a:t>Age</a:t>
            </a:r>
            <a:endParaRPr sz="2400">
              <a:latin typeface="Calibri"/>
              <a:cs typeface="Calibri"/>
            </a:endParaRPr>
          </a:p>
        </p:txBody>
      </p:sp>
      <p:sp>
        <p:nvSpPr>
          <p:cNvPr id="96" name="object 5"/>
          <p:cNvSpPr txBox="1"/>
          <p:nvPr/>
        </p:nvSpPr>
        <p:spPr>
          <a:xfrm>
            <a:off x="2101916" y="369650"/>
            <a:ext cx="6889684" cy="807913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 marR="41909">
              <a:lnSpc>
                <a:spcPts val="3454"/>
              </a:lnSpc>
              <a:spcBef>
                <a:spcPts val="172"/>
              </a:spcBef>
            </a:pPr>
            <a:r>
              <a:rPr lang="en-US" sz="4800" baseline="2560" dirty="0">
                <a:solidFill>
                  <a:srgbClr val="4E81BC"/>
                </a:solidFill>
                <a:latin typeface="+mj-lt"/>
                <a:cs typeface="Calibri"/>
              </a:rPr>
              <a:t>Mean </a:t>
            </a:r>
            <a:r>
              <a:rPr lang="en-US" sz="4800" baseline="2560" dirty="0" smtClean="0">
                <a:solidFill>
                  <a:srgbClr val="4E81BC"/>
                </a:solidFill>
                <a:latin typeface="+mj-lt"/>
                <a:cs typeface="Calibri"/>
              </a:rPr>
              <a:t>Shift</a:t>
            </a:r>
            <a:endParaRPr sz="3200" dirty="0">
              <a:latin typeface="+mj-lt"/>
              <a:cs typeface="Calibri"/>
            </a:endParaRPr>
          </a:p>
          <a:p>
            <a:pPr marL="12700">
              <a:lnSpc>
                <a:spcPts val="2770"/>
              </a:lnSpc>
            </a:pPr>
            <a:r>
              <a:rPr lang="en-US" sz="3200" baseline="1137" dirty="0">
                <a:solidFill>
                  <a:srgbClr val="7F7E7E"/>
                </a:solidFill>
                <a:cs typeface="Calibri"/>
              </a:rPr>
              <a:t>Sample local density, follow gradient towards denser direction</a:t>
            </a:r>
          </a:p>
        </p:txBody>
      </p:sp>
      <p:sp>
        <p:nvSpPr>
          <p:cNvPr id="97" name="object 82"/>
          <p:cNvSpPr/>
          <p:nvPr/>
        </p:nvSpPr>
        <p:spPr>
          <a:xfrm>
            <a:off x="4414372" y="54871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8" name="object 84"/>
          <p:cNvSpPr/>
          <p:nvPr/>
        </p:nvSpPr>
        <p:spPr>
          <a:xfrm>
            <a:off x="5399747" y="55212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9" name="object 86"/>
          <p:cNvSpPr/>
          <p:nvPr/>
        </p:nvSpPr>
        <p:spPr>
          <a:xfrm>
            <a:off x="6251551" y="55023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0" name="object 74"/>
          <p:cNvSpPr/>
          <p:nvPr/>
        </p:nvSpPr>
        <p:spPr>
          <a:xfrm>
            <a:off x="2668469" y="519520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1" name="object 72"/>
          <p:cNvSpPr/>
          <p:nvPr/>
        </p:nvSpPr>
        <p:spPr>
          <a:xfrm>
            <a:off x="5959366" y="251737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40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80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2" name="object 70"/>
          <p:cNvSpPr/>
          <p:nvPr/>
        </p:nvSpPr>
        <p:spPr>
          <a:xfrm>
            <a:off x="5560113" y="213564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3" name="object 68"/>
          <p:cNvSpPr/>
          <p:nvPr/>
        </p:nvSpPr>
        <p:spPr>
          <a:xfrm>
            <a:off x="5148028" y="1723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4" name="object 66"/>
          <p:cNvSpPr/>
          <p:nvPr/>
        </p:nvSpPr>
        <p:spPr>
          <a:xfrm>
            <a:off x="6872003" y="34121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5" name="object 63"/>
          <p:cNvSpPr/>
          <p:nvPr/>
        </p:nvSpPr>
        <p:spPr>
          <a:xfrm>
            <a:off x="5880842" y="502152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6"/>
                </a:lnTo>
                <a:lnTo>
                  <a:pt x="1583" y="198179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6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2"/>
                </a:lnTo>
                <a:lnTo>
                  <a:pt x="49876" y="299561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6"/>
                </a:lnTo>
                <a:lnTo>
                  <a:pt x="196530" y="342926"/>
                </a:lnTo>
                <a:lnTo>
                  <a:pt x="209650" y="339004"/>
                </a:lnTo>
                <a:lnTo>
                  <a:pt x="222295" y="333936"/>
                </a:lnTo>
                <a:lnTo>
                  <a:pt x="234413" y="327778"/>
                </a:lnTo>
                <a:lnTo>
                  <a:pt x="245953" y="320583"/>
                </a:lnTo>
                <a:lnTo>
                  <a:pt x="256864" y="312409"/>
                </a:lnTo>
                <a:lnTo>
                  <a:pt x="267095" y="303311"/>
                </a:lnTo>
                <a:lnTo>
                  <a:pt x="276595" y="293343"/>
                </a:lnTo>
                <a:lnTo>
                  <a:pt x="285312" y="282562"/>
                </a:lnTo>
                <a:lnTo>
                  <a:pt x="293195" y="271023"/>
                </a:lnTo>
                <a:lnTo>
                  <a:pt x="300193" y="258781"/>
                </a:lnTo>
                <a:lnTo>
                  <a:pt x="306255" y="245892"/>
                </a:lnTo>
                <a:lnTo>
                  <a:pt x="311330" y="232411"/>
                </a:lnTo>
                <a:lnTo>
                  <a:pt x="315366" y="218394"/>
                </a:lnTo>
                <a:lnTo>
                  <a:pt x="318312" y="203896"/>
                </a:lnTo>
                <a:lnTo>
                  <a:pt x="320117" y="188973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9" y="93485"/>
                </a:lnTo>
                <a:lnTo>
                  <a:pt x="296006" y="80986"/>
                </a:lnTo>
                <a:lnTo>
                  <a:pt x="288459" y="69169"/>
                </a:lnTo>
                <a:lnTo>
                  <a:pt x="280058" y="58089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4"/>
                </a:lnTo>
                <a:lnTo>
                  <a:pt x="86318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6" name="object 62"/>
          <p:cNvSpPr/>
          <p:nvPr/>
        </p:nvSpPr>
        <p:spPr>
          <a:xfrm>
            <a:off x="4326962" y="34938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7" name="object 60"/>
          <p:cNvSpPr/>
          <p:nvPr/>
        </p:nvSpPr>
        <p:spPr>
          <a:xfrm>
            <a:off x="3451263" y="457102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8" name="object 58"/>
          <p:cNvSpPr/>
          <p:nvPr/>
        </p:nvSpPr>
        <p:spPr>
          <a:xfrm>
            <a:off x="7513462" y="204543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9" name="object 56"/>
          <p:cNvSpPr/>
          <p:nvPr/>
        </p:nvSpPr>
        <p:spPr>
          <a:xfrm>
            <a:off x="6553321" y="196196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0" name="object 54"/>
          <p:cNvSpPr/>
          <p:nvPr/>
        </p:nvSpPr>
        <p:spPr>
          <a:xfrm>
            <a:off x="7353097" y="275391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1" name="object 52"/>
          <p:cNvSpPr/>
          <p:nvPr/>
        </p:nvSpPr>
        <p:spPr>
          <a:xfrm>
            <a:off x="4696124" y="412086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2" name="object 50"/>
          <p:cNvSpPr/>
          <p:nvPr/>
        </p:nvSpPr>
        <p:spPr>
          <a:xfrm>
            <a:off x="4441297" y="46123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3" name="object 48"/>
          <p:cNvSpPr/>
          <p:nvPr/>
        </p:nvSpPr>
        <p:spPr>
          <a:xfrm>
            <a:off x="3130532" y="40499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4" name="object 42"/>
          <p:cNvSpPr/>
          <p:nvPr/>
        </p:nvSpPr>
        <p:spPr>
          <a:xfrm>
            <a:off x="5748103" y="33118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5" name="object 44"/>
          <p:cNvSpPr/>
          <p:nvPr/>
        </p:nvSpPr>
        <p:spPr>
          <a:xfrm>
            <a:off x="5560113" y="25802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6" name="object 46"/>
          <p:cNvSpPr/>
          <p:nvPr/>
        </p:nvSpPr>
        <p:spPr>
          <a:xfrm>
            <a:off x="5421508" y="296447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7" name="object 40"/>
          <p:cNvSpPr/>
          <p:nvPr/>
        </p:nvSpPr>
        <p:spPr>
          <a:xfrm>
            <a:off x="5213120" y="49216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8" name="object 38"/>
          <p:cNvSpPr/>
          <p:nvPr/>
        </p:nvSpPr>
        <p:spPr>
          <a:xfrm>
            <a:off x="7032365" y="221911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9" name="object 36"/>
          <p:cNvSpPr/>
          <p:nvPr/>
        </p:nvSpPr>
        <p:spPr>
          <a:xfrm>
            <a:off x="7385165" y="340218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6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7"/>
                </a:lnTo>
                <a:lnTo>
                  <a:pt x="310251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0" name="object 34"/>
          <p:cNvSpPr/>
          <p:nvPr/>
        </p:nvSpPr>
        <p:spPr>
          <a:xfrm>
            <a:off x="5038354" y="24830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1" name="object 32"/>
          <p:cNvSpPr/>
          <p:nvPr/>
        </p:nvSpPr>
        <p:spPr>
          <a:xfrm>
            <a:off x="7192732" y="159327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2" name="object 30"/>
          <p:cNvSpPr/>
          <p:nvPr/>
        </p:nvSpPr>
        <p:spPr>
          <a:xfrm>
            <a:off x="6201572" y="316997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3" name="object 28"/>
          <p:cNvSpPr/>
          <p:nvPr/>
        </p:nvSpPr>
        <p:spPr>
          <a:xfrm>
            <a:off x="4877989" y="532865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4" name="object 26"/>
          <p:cNvSpPr/>
          <p:nvPr/>
        </p:nvSpPr>
        <p:spPr>
          <a:xfrm>
            <a:off x="5581873" y="4521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5" name="object 24"/>
          <p:cNvSpPr/>
          <p:nvPr/>
        </p:nvSpPr>
        <p:spPr>
          <a:xfrm>
            <a:off x="3528670" y="35173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6" name="object 22"/>
          <p:cNvSpPr/>
          <p:nvPr/>
        </p:nvSpPr>
        <p:spPr>
          <a:xfrm>
            <a:off x="3252845" y="520650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7" name="object 20"/>
          <p:cNvSpPr/>
          <p:nvPr/>
        </p:nvSpPr>
        <p:spPr>
          <a:xfrm>
            <a:off x="3849401" y="4051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8" name="object 18"/>
          <p:cNvSpPr/>
          <p:nvPr/>
        </p:nvSpPr>
        <p:spPr>
          <a:xfrm>
            <a:off x="6713687" y="269105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9" name="object 6"/>
          <p:cNvSpPr txBox="1"/>
          <p:nvPr/>
        </p:nvSpPr>
        <p:spPr>
          <a:xfrm>
            <a:off x="1332125" y="3759280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grpSp>
        <p:nvGrpSpPr>
          <p:cNvPr id="130" name="Group 129"/>
          <p:cNvGrpSpPr/>
          <p:nvPr/>
        </p:nvGrpSpPr>
        <p:grpSpPr>
          <a:xfrm>
            <a:off x="2383438" y="1888930"/>
            <a:ext cx="6303362" cy="4054670"/>
            <a:chOff x="2343901" y="1923700"/>
            <a:chExt cx="6303362" cy="4054670"/>
          </a:xfrm>
        </p:grpSpPr>
        <p:sp>
          <p:nvSpPr>
            <p:cNvPr id="131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132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  <p:sp>
        <p:nvSpPr>
          <p:cNvPr id="133" name="object 69"/>
          <p:cNvSpPr/>
          <p:nvPr/>
        </p:nvSpPr>
        <p:spPr>
          <a:xfrm>
            <a:off x="5482207" y="2493252"/>
            <a:ext cx="565019" cy="625840"/>
          </a:xfrm>
          <a:custGeom>
            <a:avLst/>
            <a:gdLst/>
            <a:ahLst/>
            <a:cxnLst/>
            <a:rect l="l" t="t" r="r" b="b"/>
            <a:pathLst>
              <a:path w="565019" h="625840">
                <a:moveTo>
                  <a:pt x="0" y="0"/>
                </a:moveTo>
                <a:lnTo>
                  <a:pt x="0" y="625840"/>
                </a:lnTo>
                <a:lnTo>
                  <a:pt x="565019" y="625840"/>
                </a:lnTo>
                <a:lnTo>
                  <a:pt x="565019" y="0"/>
                </a:lnTo>
                <a:lnTo>
                  <a:pt x="0" y="0"/>
                </a:lnTo>
                <a:close/>
              </a:path>
            </a:pathLst>
          </a:custGeom>
          <a:solidFill>
            <a:srgbClr val="59B9D0">
              <a:alpha val="71000"/>
            </a:srgbClr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4" name="object 69"/>
          <p:cNvSpPr/>
          <p:nvPr/>
        </p:nvSpPr>
        <p:spPr>
          <a:xfrm>
            <a:off x="5530888" y="2530671"/>
            <a:ext cx="565019" cy="625840"/>
          </a:xfrm>
          <a:custGeom>
            <a:avLst/>
            <a:gdLst/>
            <a:ahLst/>
            <a:cxnLst/>
            <a:rect l="l" t="t" r="r" b="b"/>
            <a:pathLst>
              <a:path w="565019" h="625840">
                <a:moveTo>
                  <a:pt x="0" y="0"/>
                </a:moveTo>
                <a:lnTo>
                  <a:pt x="0" y="625840"/>
                </a:lnTo>
                <a:lnTo>
                  <a:pt x="565019" y="625840"/>
                </a:lnTo>
                <a:lnTo>
                  <a:pt x="565019" y="0"/>
                </a:lnTo>
                <a:lnTo>
                  <a:pt x="0" y="0"/>
                </a:lnTo>
                <a:close/>
              </a:path>
            </a:pathLst>
          </a:custGeom>
          <a:solidFill>
            <a:srgbClr val="FAA757">
              <a:alpha val="71000"/>
            </a:srgbClr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798983784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8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5" name="object 5"/>
          <p:cNvSpPr txBox="1"/>
          <p:nvPr/>
        </p:nvSpPr>
        <p:spPr>
          <a:xfrm>
            <a:off x="5426815" y="6116930"/>
            <a:ext cx="542241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latin typeface="Calibri"/>
                <a:cs typeface="Calibri"/>
              </a:rPr>
              <a:t>Age</a:t>
            </a:r>
            <a:endParaRPr sz="2400">
              <a:latin typeface="Calibri"/>
              <a:cs typeface="Calibri"/>
            </a:endParaRPr>
          </a:p>
        </p:txBody>
      </p:sp>
      <p:sp>
        <p:nvSpPr>
          <p:cNvPr id="96" name="object 5"/>
          <p:cNvSpPr txBox="1"/>
          <p:nvPr/>
        </p:nvSpPr>
        <p:spPr>
          <a:xfrm>
            <a:off x="2101916" y="369650"/>
            <a:ext cx="6889684" cy="807913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 marR="41909">
              <a:lnSpc>
                <a:spcPts val="3454"/>
              </a:lnSpc>
              <a:spcBef>
                <a:spcPts val="172"/>
              </a:spcBef>
            </a:pPr>
            <a:r>
              <a:rPr lang="en-US" sz="4800" baseline="2560" dirty="0">
                <a:solidFill>
                  <a:srgbClr val="4E81BC"/>
                </a:solidFill>
                <a:latin typeface="+mj-lt"/>
                <a:cs typeface="Calibri"/>
              </a:rPr>
              <a:t>Mean </a:t>
            </a:r>
            <a:r>
              <a:rPr lang="en-US" sz="4800" baseline="2560" dirty="0" smtClean="0">
                <a:solidFill>
                  <a:srgbClr val="4E81BC"/>
                </a:solidFill>
                <a:latin typeface="+mj-lt"/>
                <a:cs typeface="Calibri"/>
              </a:rPr>
              <a:t>Shift</a:t>
            </a:r>
            <a:endParaRPr sz="3200" dirty="0">
              <a:latin typeface="+mj-lt"/>
              <a:cs typeface="Calibri"/>
            </a:endParaRPr>
          </a:p>
          <a:p>
            <a:pPr marL="12700">
              <a:lnSpc>
                <a:spcPts val="2770"/>
              </a:lnSpc>
            </a:pPr>
            <a:r>
              <a:rPr lang="en-US" sz="3200" baseline="1137" dirty="0" smtClean="0">
                <a:solidFill>
                  <a:srgbClr val="7F7E7E"/>
                </a:solidFill>
                <a:cs typeface="Calibri"/>
              </a:rPr>
              <a:t>Found the same (close) local maximum, same cluster</a:t>
            </a:r>
            <a:endParaRPr lang="en-US" sz="3200" baseline="1137" dirty="0">
              <a:solidFill>
                <a:srgbClr val="7F7E7E"/>
              </a:solidFill>
              <a:cs typeface="Calibri"/>
            </a:endParaRPr>
          </a:p>
        </p:txBody>
      </p:sp>
      <p:sp>
        <p:nvSpPr>
          <p:cNvPr id="97" name="object 82"/>
          <p:cNvSpPr/>
          <p:nvPr/>
        </p:nvSpPr>
        <p:spPr>
          <a:xfrm>
            <a:off x="4414372" y="54871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8" name="object 84"/>
          <p:cNvSpPr/>
          <p:nvPr/>
        </p:nvSpPr>
        <p:spPr>
          <a:xfrm>
            <a:off x="5399747" y="55212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9" name="object 86"/>
          <p:cNvSpPr/>
          <p:nvPr/>
        </p:nvSpPr>
        <p:spPr>
          <a:xfrm>
            <a:off x="6251551" y="55023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0" name="object 74"/>
          <p:cNvSpPr/>
          <p:nvPr/>
        </p:nvSpPr>
        <p:spPr>
          <a:xfrm>
            <a:off x="2668469" y="519520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1" name="object 72"/>
          <p:cNvSpPr/>
          <p:nvPr/>
        </p:nvSpPr>
        <p:spPr>
          <a:xfrm>
            <a:off x="5959366" y="251737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40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80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2" name="object 70"/>
          <p:cNvSpPr/>
          <p:nvPr/>
        </p:nvSpPr>
        <p:spPr>
          <a:xfrm>
            <a:off x="5560113" y="213564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3" name="object 68"/>
          <p:cNvSpPr/>
          <p:nvPr/>
        </p:nvSpPr>
        <p:spPr>
          <a:xfrm>
            <a:off x="5148028" y="1723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4" name="object 66"/>
          <p:cNvSpPr/>
          <p:nvPr/>
        </p:nvSpPr>
        <p:spPr>
          <a:xfrm>
            <a:off x="6872003" y="34121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5" name="object 63"/>
          <p:cNvSpPr/>
          <p:nvPr/>
        </p:nvSpPr>
        <p:spPr>
          <a:xfrm>
            <a:off x="5880842" y="502152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6"/>
                </a:lnTo>
                <a:lnTo>
                  <a:pt x="1583" y="198179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6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2"/>
                </a:lnTo>
                <a:lnTo>
                  <a:pt x="49876" y="299561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6"/>
                </a:lnTo>
                <a:lnTo>
                  <a:pt x="196530" y="342926"/>
                </a:lnTo>
                <a:lnTo>
                  <a:pt x="209650" y="339004"/>
                </a:lnTo>
                <a:lnTo>
                  <a:pt x="222295" y="333936"/>
                </a:lnTo>
                <a:lnTo>
                  <a:pt x="234413" y="327778"/>
                </a:lnTo>
                <a:lnTo>
                  <a:pt x="245953" y="320583"/>
                </a:lnTo>
                <a:lnTo>
                  <a:pt x="256864" y="312409"/>
                </a:lnTo>
                <a:lnTo>
                  <a:pt x="267095" y="303311"/>
                </a:lnTo>
                <a:lnTo>
                  <a:pt x="276595" y="293343"/>
                </a:lnTo>
                <a:lnTo>
                  <a:pt x="285312" y="282562"/>
                </a:lnTo>
                <a:lnTo>
                  <a:pt x="293195" y="271023"/>
                </a:lnTo>
                <a:lnTo>
                  <a:pt x="300193" y="258781"/>
                </a:lnTo>
                <a:lnTo>
                  <a:pt x="306255" y="245892"/>
                </a:lnTo>
                <a:lnTo>
                  <a:pt x="311330" y="232411"/>
                </a:lnTo>
                <a:lnTo>
                  <a:pt x="315366" y="218394"/>
                </a:lnTo>
                <a:lnTo>
                  <a:pt x="318312" y="203896"/>
                </a:lnTo>
                <a:lnTo>
                  <a:pt x="320117" y="188973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9" y="93485"/>
                </a:lnTo>
                <a:lnTo>
                  <a:pt x="296006" y="80986"/>
                </a:lnTo>
                <a:lnTo>
                  <a:pt x="288459" y="69169"/>
                </a:lnTo>
                <a:lnTo>
                  <a:pt x="280058" y="58089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4"/>
                </a:lnTo>
                <a:lnTo>
                  <a:pt x="86318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6" name="object 62"/>
          <p:cNvSpPr/>
          <p:nvPr/>
        </p:nvSpPr>
        <p:spPr>
          <a:xfrm>
            <a:off x="4326962" y="34938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7" name="object 60"/>
          <p:cNvSpPr/>
          <p:nvPr/>
        </p:nvSpPr>
        <p:spPr>
          <a:xfrm>
            <a:off x="3451263" y="457102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8" name="object 58"/>
          <p:cNvSpPr/>
          <p:nvPr/>
        </p:nvSpPr>
        <p:spPr>
          <a:xfrm>
            <a:off x="7513462" y="204543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9" name="object 56"/>
          <p:cNvSpPr/>
          <p:nvPr/>
        </p:nvSpPr>
        <p:spPr>
          <a:xfrm>
            <a:off x="6553321" y="196196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0" name="object 54"/>
          <p:cNvSpPr/>
          <p:nvPr/>
        </p:nvSpPr>
        <p:spPr>
          <a:xfrm>
            <a:off x="7353097" y="275391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1" name="object 52"/>
          <p:cNvSpPr/>
          <p:nvPr/>
        </p:nvSpPr>
        <p:spPr>
          <a:xfrm>
            <a:off x="4696124" y="412086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2" name="object 50"/>
          <p:cNvSpPr/>
          <p:nvPr/>
        </p:nvSpPr>
        <p:spPr>
          <a:xfrm>
            <a:off x="4441297" y="46123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3" name="object 48"/>
          <p:cNvSpPr/>
          <p:nvPr/>
        </p:nvSpPr>
        <p:spPr>
          <a:xfrm>
            <a:off x="3130532" y="40499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4" name="object 42"/>
          <p:cNvSpPr/>
          <p:nvPr/>
        </p:nvSpPr>
        <p:spPr>
          <a:xfrm>
            <a:off x="5748103" y="33118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5" name="object 44"/>
          <p:cNvSpPr/>
          <p:nvPr/>
        </p:nvSpPr>
        <p:spPr>
          <a:xfrm>
            <a:off x="5560113" y="25802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6" name="object 46"/>
          <p:cNvSpPr/>
          <p:nvPr/>
        </p:nvSpPr>
        <p:spPr>
          <a:xfrm>
            <a:off x="5421508" y="296447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7" name="object 40"/>
          <p:cNvSpPr/>
          <p:nvPr/>
        </p:nvSpPr>
        <p:spPr>
          <a:xfrm>
            <a:off x="5213120" y="49216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8" name="object 38"/>
          <p:cNvSpPr/>
          <p:nvPr/>
        </p:nvSpPr>
        <p:spPr>
          <a:xfrm>
            <a:off x="7032365" y="221911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9" name="object 36"/>
          <p:cNvSpPr/>
          <p:nvPr/>
        </p:nvSpPr>
        <p:spPr>
          <a:xfrm>
            <a:off x="7385165" y="340218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6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7"/>
                </a:lnTo>
                <a:lnTo>
                  <a:pt x="310251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0" name="object 34"/>
          <p:cNvSpPr/>
          <p:nvPr/>
        </p:nvSpPr>
        <p:spPr>
          <a:xfrm>
            <a:off x="5038354" y="24830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1" name="object 32"/>
          <p:cNvSpPr/>
          <p:nvPr/>
        </p:nvSpPr>
        <p:spPr>
          <a:xfrm>
            <a:off x="7192732" y="159327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2" name="object 30"/>
          <p:cNvSpPr/>
          <p:nvPr/>
        </p:nvSpPr>
        <p:spPr>
          <a:xfrm>
            <a:off x="6201572" y="316997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3" name="object 28"/>
          <p:cNvSpPr/>
          <p:nvPr/>
        </p:nvSpPr>
        <p:spPr>
          <a:xfrm>
            <a:off x="4877989" y="532865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4" name="object 26"/>
          <p:cNvSpPr/>
          <p:nvPr/>
        </p:nvSpPr>
        <p:spPr>
          <a:xfrm>
            <a:off x="5581873" y="4521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5" name="object 24"/>
          <p:cNvSpPr/>
          <p:nvPr/>
        </p:nvSpPr>
        <p:spPr>
          <a:xfrm>
            <a:off x="3528670" y="35173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6" name="object 22"/>
          <p:cNvSpPr/>
          <p:nvPr/>
        </p:nvSpPr>
        <p:spPr>
          <a:xfrm>
            <a:off x="3252845" y="520650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7" name="object 20"/>
          <p:cNvSpPr/>
          <p:nvPr/>
        </p:nvSpPr>
        <p:spPr>
          <a:xfrm>
            <a:off x="3849401" y="4051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8" name="object 18"/>
          <p:cNvSpPr/>
          <p:nvPr/>
        </p:nvSpPr>
        <p:spPr>
          <a:xfrm>
            <a:off x="6713687" y="269105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9" name="object 6"/>
          <p:cNvSpPr txBox="1"/>
          <p:nvPr/>
        </p:nvSpPr>
        <p:spPr>
          <a:xfrm>
            <a:off x="1332125" y="3759280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grpSp>
        <p:nvGrpSpPr>
          <p:cNvPr id="130" name="Group 129"/>
          <p:cNvGrpSpPr/>
          <p:nvPr/>
        </p:nvGrpSpPr>
        <p:grpSpPr>
          <a:xfrm>
            <a:off x="2383438" y="1888930"/>
            <a:ext cx="6303362" cy="4054670"/>
            <a:chOff x="2343901" y="1923700"/>
            <a:chExt cx="6303362" cy="4054670"/>
          </a:xfrm>
        </p:grpSpPr>
        <p:sp>
          <p:nvSpPr>
            <p:cNvPr id="131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132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  <p:sp>
        <p:nvSpPr>
          <p:cNvPr id="133" name="object 69"/>
          <p:cNvSpPr/>
          <p:nvPr/>
        </p:nvSpPr>
        <p:spPr>
          <a:xfrm>
            <a:off x="5482207" y="2493252"/>
            <a:ext cx="565019" cy="625840"/>
          </a:xfrm>
          <a:custGeom>
            <a:avLst/>
            <a:gdLst/>
            <a:ahLst/>
            <a:cxnLst/>
            <a:rect l="l" t="t" r="r" b="b"/>
            <a:pathLst>
              <a:path w="565019" h="625840">
                <a:moveTo>
                  <a:pt x="0" y="0"/>
                </a:moveTo>
                <a:lnTo>
                  <a:pt x="0" y="625840"/>
                </a:lnTo>
                <a:lnTo>
                  <a:pt x="565019" y="625840"/>
                </a:lnTo>
                <a:lnTo>
                  <a:pt x="565019" y="0"/>
                </a:lnTo>
                <a:lnTo>
                  <a:pt x="0" y="0"/>
                </a:lnTo>
                <a:close/>
              </a:path>
            </a:pathLst>
          </a:custGeom>
          <a:solidFill>
            <a:srgbClr val="59B9D0">
              <a:alpha val="71000"/>
            </a:srgbClr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542993719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8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8" name="object 5"/>
          <p:cNvSpPr txBox="1"/>
          <p:nvPr/>
        </p:nvSpPr>
        <p:spPr>
          <a:xfrm>
            <a:off x="5426815" y="6116930"/>
            <a:ext cx="542241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latin typeface="Calibri"/>
                <a:cs typeface="Calibri"/>
              </a:rPr>
              <a:t>Age</a:t>
            </a:r>
            <a:endParaRPr sz="2400">
              <a:latin typeface="Calibri"/>
              <a:cs typeface="Calibri"/>
            </a:endParaRPr>
          </a:p>
        </p:txBody>
      </p:sp>
      <p:sp>
        <p:nvSpPr>
          <p:cNvPr id="89" name="object 5"/>
          <p:cNvSpPr txBox="1"/>
          <p:nvPr/>
        </p:nvSpPr>
        <p:spPr>
          <a:xfrm>
            <a:off x="2101916" y="369650"/>
            <a:ext cx="6889684" cy="807913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 marR="41909">
              <a:lnSpc>
                <a:spcPts val="3454"/>
              </a:lnSpc>
              <a:spcBef>
                <a:spcPts val="172"/>
              </a:spcBef>
            </a:pPr>
            <a:r>
              <a:rPr lang="en-US" sz="4800" baseline="2560" dirty="0">
                <a:solidFill>
                  <a:srgbClr val="4E81BC"/>
                </a:solidFill>
                <a:latin typeface="+mj-lt"/>
                <a:cs typeface="Calibri"/>
              </a:rPr>
              <a:t>Mean </a:t>
            </a:r>
            <a:r>
              <a:rPr lang="en-US" sz="4800" baseline="2560" dirty="0" smtClean="0">
                <a:solidFill>
                  <a:srgbClr val="4E81BC"/>
                </a:solidFill>
                <a:latin typeface="+mj-lt"/>
                <a:cs typeface="Calibri"/>
              </a:rPr>
              <a:t>Shift</a:t>
            </a:r>
            <a:endParaRPr sz="3200" dirty="0">
              <a:latin typeface="+mj-lt"/>
              <a:cs typeface="Calibri"/>
            </a:endParaRPr>
          </a:p>
          <a:p>
            <a:pPr marL="12700">
              <a:lnSpc>
                <a:spcPts val="2770"/>
              </a:lnSpc>
            </a:pPr>
            <a:r>
              <a:rPr lang="en-US" sz="3200" baseline="1137" dirty="0" smtClean="0">
                <a:solidFill>
                  <a:srgbClr val="7F7E7E"/>
                </a:solidFill>
                <a:cs typeface="Calibri"/>
              </a:rPr>
              <a:t>Start at another point</a:t>
            </a:r>
            <a:endParaRPr lang="en-US" sz="3200" baseline="1137" dirty="0">
              <a:solidFill>
                <a:srgbClr val="7F7E7E"/>
              </a:solidFill>
              <a:cs typeface="Calibri"/>
            </a:endParaRPr>
          </a:p>
        </p:txBody>
      </p:sp>
      <p:sp>
        <p:nvSpPr>
          <p:cNvPr id="90" name="object 82"/>
          <p:cNvSpPr/>
          <p:nvPr/>
        </p:nvSpPr>
        <p:spPr>
          <a:xfrm>
            <a:off x="4414372" y="54871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1" name="object 84"/>
          <p:cNvSpPr/>
          <p:nvPr/>
        </p:nvSpPr>
        <p:spPr>
          <a:xfrm>
            <a:off x="5399747" y="55212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2" name="object 86"/>
          <p:cNvSpPr/>
          <p:nvPr/>
        </p:nvSpPr>
        <p:spPr>
          <a:xfrm>
            <a:off x="6251551" y="55023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3" name="object 74"/>
          <p:cNvSpPr/>
          <p:nvPr/>
        </p:nvSpPr>
        <p:spPr>
          <a:xfrm>
            <a:off x="2668469" y="519520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4" name="object 72"/>
          <p:cNvSpPr/>
          <p:nvPr/>
        </p:nvSpPr>
        <p:spPr>
          <a:xfrm>
            <a:off x="5959366" y="251737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40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80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5" name="object 70"/>
          <p:cNvSpPr/>
          <p:nvPr/>
        </p:nvSpPr>
        <p:spPr>
          <a:xfrm>
            <a:off x="5560113" y="213564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6" name="object 68"/>
          <p:cNvSpPr/>
          <p:nvPr/>
        </p:nvSpPr>
        <p:spPr>
          <a:xfrm>
            <a:off x="5148028" y="1723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7" name="object 66"/>
          <p:cNvSpPr/>
          <p:nvPr/>
        </p:nvSpPr>
        <p:spPr>
          <a:xfrm>
            <a:off x="6872003" y="34121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8" name="object 63"/>
          <p:cNvSpPr/>
          <p:nvPr/>
        </p:nvSpPr>
        <p:spPr>
          <a:xfrm>
            <a:off x="5880842" y="502152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6"/>
                </a:lnTo>
                <a:lnTo>
                  <a:pt x="1583" y="198179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6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2"/>
                </a:lnTo>
                <a:lnTo>
                  <a:pt x="49876" y="299561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6"/>
                </a:lnTo>
                <a:lnTo>
                  <a:pt x="196530" y="342926"/>
                </a:lnTo>
                <a:lnTo>
                  <a:pt x="209650" y="339004"/>
                </a:lnTo>
                <a:lnTo>
                  <a:pt x="222295" y="333936"/>
                </a:lnTo>
                <a:lnTo>
                  <a:pt x="234413" y="327778"/>
                </a:lnTo>
                <a:lnTo>
                  <a:pt x="245953" y="320583"/>
                </a:lnTo>
                <a:lnTo>
                  <a:pt x="256864" y="312409"/>
                </a:lnTo>
                <a:lnTo>
                  <a:pt x="267095" y="303311"/>
                </a:lnTo>
                <a:lnTo>
                  <a:pt x="276595" y="293343"/>
                </a:lnTo>
                <a:lnTo>
                  <a:pt x="285312" y="282562"/>
                </a:lnTo>
                <a:lnTo>
                  <a:pt x="293195" y="271023"/>
                </a:lnTo>
                <a:lnTo>
                  <a:pt x="300193" y="258781"/>
                </a:lnTo>
                <a:lnTo>
                  <a:pt x="306255" y="245892"/>
                </a:lnTo>
                <a:lnTo>
                  <a:pt x="311330" y="232411"/>
                </a:lnTo>
                <a:lnTo>
                  <a:pt x="315366" y="218394"/>
                </a:lnTo>
                <a:lnTo>
                  <a:pt x="318312" y="203896"/>
                </a:lnTo>
                <a:lnTo>
                  <a:pt x="320117" y="188973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9" y="93485"/>
                </a:lnTo>
                <a:lnTo>
                  <a:pt x="296006" y="80986"/>
                </a:lnTo>
                <a:lnTo>
                  <a:pt x="288459" y="69169"/>
                </a:lnTo>
                <a:lnTo>
                  <a:pt x="280058" y="58089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4"/>
                </a:lnTo>
                <a:lnTo>
                  <a:pt x="86318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9" name="object 62"/>
          <p:cNvSpPr/>
          <p:nvPr/>
        </p:nvSpPr>
        <p:spPr>
          <a:xfrm>
            <a:off x="4326962" y="34938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0" name="object 60"/>
          <p:cNvSpPr/>
          <p:nvPr/>
        </p:nvSpPr>
        <p:spPr>
          <a:xfrm>
            <a:off x="3451263" y="457102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1" name="object 58"/>
          <p:cNvSpPr/>
          <p:nvPr/>
        </p:nvSpPr>
        <p:spPr>
          <a:xfrm>
            <a:off x="7513462" y="204543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2" name="object 56"/>
          <p:cNvSpPr/>
          <p:nvPr/>
        </p:nvSpPr>
        <p:spPr>
          <a:xfrm>
            <a:off x="6553321" y="196196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3" name="object 54"/>
          <p:cNvSpPr/>
          <p:nvPr/>
        </p:nvSpPr>
        <p:spPr>
          <a:xfrm>
            <a:off x="7353097" y="275391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4" name="object 52"/>
          <p:cNvSpPr/>
          <p:nvPr/>
        </p:nvSpPr>
        <p:spPr>
          <a:xfrm>
            <a:off x="4696124" y="412086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5" name="object 50"/>
          <p:cNvSpPr/>
          <p:nvPr/>
        </p:nvSpPr>
        <p:spPr>
          <a:xfrm>
            <a:off x="4441297" y="46123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6" name="object 48"/>
          <p:cNvSpPr/>
          <p:nvPr/>
        </p:nvSpPr>
        <p:spPr>
          <a:xfrm>
            <a:off x="3130532" y="40499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7" name="object 42"/>
          <p:cNvSpPr/>
          <p:nvPr/>
        </p:nvSpPr>
        <p:spPr>
          <a:xfrm>
            <a:off x="5748103" y="33118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8" name="object 44"/>
          <p:cNvSpPr/>
          <p:nvPr/>
        </p:nvSpPr>
        <p:spPr>
          <a:xfrm>
            <a:off x="5560113" y="25802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9" name="object 46"/>
          <p:cNvSpPr/>
          <p:nvPr/>
        </p:nvSpPr>
        <p:spPr>
          <a:xfrm>
            <a:off x="5421508" y="296447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0" name="object 40"/>
          <p:cNvSpPr/>
          <p:nvPr/>
        </p:nvSpPr>
        <p:spPr>
          <a:xfrm>
            <a:off x="5213120" y="49216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1" name="object 38"/>
          <p:cNvSpPr/>
          <p:nvPr/>
        </p:nvSpPr>
        <p:spPr>
          <a:xfrm>
            <a:off x="7032365" y="221911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2" name="object 36"/>
          <p:cNvSpPr/>
          <p:nvPr/>
        </p:nvSpPr>
        <p:spPr>
          <a:xfrm>
            <a:off x="7385165" y="340218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6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7"/>
                </a:lnTo>
                <a:lnTo>
                  <a:pt x="310251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3" name="object 34"/>
          <p:cNvSpPr/>
          <p:nvPr/>
        </p:nvSpPr>
        <p:spPr>
          <a:xfrm>
            <a:off x="5038354" y="24830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4" name="object 32"/>
          <p:cNvSpPr/>
          <p:nvPr/>
        </p:nvSpPr>
        <p:spPr>
          <a:xfrm>
            <a:off x="7192732" y="159327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5" name="object 30"/>
          <p:cNvSpPr/>
          <p:nvPr/>
        </p:nvSpPr>
        <p:spPr>
          <a:xfrm>
            <a:off x="6201572" y="316997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6" name="object 28"/>
          <p:cNvSpPr/>
          <p:nvPr/>
        </p:nvSpPr>
        <p:spPr>
          <a:xfrm>
            <a:off x="4877989" y="532865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7" name="object 26"/>
          <p:cNvSpPr/>
          <p:nvPr/>
        </p:nvSpPr>
        <p:spPr>
          <a:xfrm>
            <a:off x="5581873" y="4521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8" name="object 24"/>
          <p:cNvSpPr/>
          <p:nvPr/>
        </p:nvSpPr>
        <p:spPr>
          <a:xfrm>
            <a:off x="3528670" y="35173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9" name="object 22"/>
          <p:cNvSpPr/>
          <p:nvPr/>
        </p:nvSpPr>
        <p:spPr>
          <a:xfrm>
            <a:off x="3252845" y="520650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0" name="object 20"/>
          <p:cNvSpPr/>
          <p:nvPr/>
        </p:nvSpPr>
        <p:spPr>
          <a:xfrm>
            <a:off x="3849401" y="4051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1" name="object 18"/>
          <p:cNvSpPr/>
          <p:nvPr/>
        </p:nvSpPr>
        <p:spPr>
          <a:xfrm>
            <a:off x="6713687" y="269105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2" name="object 6"/>
          <p:cNvSpPr txBox="1"/>
          <p:nvPr/>
        </p:nvSpPr>
        <p:spPr>
          <a:xfrm>
            <a:off x="1332125" y="3759280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grpSp>
        <p:nvGrpSpPr>
          <p:cNvPr id="123" name="Group 122"/>
          <p:cNvGrpSpPr/>
          <p:nvPr/>
        </p:nvGrpSpPr>
        <p:grpSpPr>
          <a:xfrm>
            <a:off x="2383438" y="1888930"/>
            <a:ext cx="6303362" cy="4054670"/>
            <a:chOff x="2343901" y="1923700"/>
            <a:chExt cx="6303362" cy="4054670"/>
          </a:xfrm>
        </p:grpSpPr>
        <p:sp>
          <p:nvSpPr>
            <p:cNvPr id="124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125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  <p:sp>
        <p:nvSpPr>
          <p:cNvPr id="126" name="object 69"/>
          <p:cNvSpPr/>
          <p:nvPr/>
        </p:nvSpPr>
        <p:spPr>
          <a:xfrm>
            <a:off x="5482207" y="2493252"/>
            <a:ext cx="565019" cy="625840"/>
          </a:xfrm>
          <a:custGeom>
            <a:avLst/>
            <a:gdLst/>
            <a:ahLst/>
            <a:cxnLst/>
            <a:rect l="l" t="t" r="r" b="b"/>
            <a:pathLst>
              <a:path w="565019" h="625840">
                <a:moveTo>
                  <a:pt x="0" y="0"/>
                </a:moveTo>
                <a:lnTo>
                  <a:pt x="0" y="625840"/>
                </a:lnTo>
                <a:lnTo>
                  <a:pt x="565019" y="625840"/>
                </a:lnTo>
                <a:lnTo>
                  <a:pt x="565019" y="0"/>
                </a:lnTo>
                <a:lnTo>
                  <a:pt x="0" y="0"/>
                </a:lnTo>
                <a:close/>
              </a:path>
            </a:pathLst>
          </a:custGeom>
          <a:solidFill>
            <a:srgbClr val="59B9D0">
              <a:alpha val="71000"/>
            </a:srgbClr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7" name="object 69"/>
          <p:cNvSpPr/>
          <p:nvPr/>
        </p:nvSpPr>
        <p:spPr>
          <a:xfrm>
            <a:off x="2569374" y="5050233"/>
            <a:ext cx="565019" cy="625840"/>
          </a:xfrm>
          <a:custGeom>
            <a:avLst/>
            <a:gdLst/>
            <a:ahLst/>
            <a:cxnLst/>
            <a:rect l="l" t="t" r="r" b="b"/>
            <a:pathLst>
              <a:path w="565019" h="625840">
                <a:moveTo>
                  <a:pt x="0" y="0"/>
                </a:moveTo>
                <a:lnTo>
                  <a:pt x="0" y="625840"/>
                </a:lnTo>
                <a:lnTo>
                  <a:pt x="565019" y="625840"/>
                </a:lnTo>
                <a:lnTo>
                  <a:pt x="565019" y="0"/>
                </a:lnTo>
                <a:lnTo>
                  <a:pt x="0" y="0"/>
                </a:lnTo>
                <a:close/>
              </a:path>
            </a:pathLst>
          </a:custGeom>
          <a:solidFill>
            <a:srgbClr val="59B9D0">
              <a:alpha val="71000"/>
            </a:srgbClr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8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9" name="object 5"/>
          <p:cNvSpPr txBox="1"/>
          <p:nvPr/>
        </p:nvSpPr>
        <p:spPr>
          <a:xfrm>
            <a:off x="5426815" y="6116930"/>
            <a:ext cx="542241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latin typeface="Calibri"/>
                <a:cs typeface="Calibri"/>
              </a:rPr>
              <a:t>Age</a:t>
            </a:r>
            <a:endParaRPr sz="2400">
              <a:latin typeface="Calibri"/>
              <a:cs typeface="Calibri"/>
            </a:endParaRPr>
          </a:p>
        </p:txBody>
      </p:sp>
      <p:sp>
        <p:nvSpPr>
          <p:cNvPr id="90" name="object 5"/>
          <p:cNvSpPr txBox="1"/>
          <p:nvPr/>
        </p:nvSpPr>
        <p:spPr>
          <a:xfrm>
            <a:off x="2101916" y="369650"/>
            <a:ext cx="6889684" cy="807913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 marR="41909">
              <a:lnSpc>
                <a:spcPts val="3454"/>
              </a:lnSpc>
              <a:spcBef>
                <a:spcPts val="172"/>
              </a:spcBef>
            </a:pPr>
            <a:r>
              <a:rPr lang="en-US" sz="4800" baseline="2560" dirty="0">
                <a:solidFill>
                  <a:srgbClr val="4E81BC"/>
                </a:solidFill>
                <a:latin typeface="+mj-lt"/>
                <a:cs typeface="Calibri"/>
              </a:rPr>
              <a:t>Mean </a:t>
            </a:r>
            <a:r>
              <a:rPr lang="en-US" sz="4800" baseline="2560" dirty="0" smtClean="0">
                <a:solidFill>
                  <a:srgbClr val="4E81BC"/>
                </a:solidFill>
                <a:latin typeface="+mj-lt"/>
                <a:cs typeface="Calibri"/>
              </a:rPr>
              <a:t>Shift</a:t>
            </a:r>
            <a:endParaRPr sz="3200" dirty="0">
              <a:latin typeface="+mj-lt"/>
              <a:cs typeface="Calibri"/>
            </a:endParaRPr>
          </a:p>
          <a:p>
            <a:pPr marL="12700">
              <a:lnSpc>
                <a:spcPts val="2770"/>
              </a:lnSpc>
            </a:pPr>
            <a:r>
              <a:rPr lang="en-US" sz="3200" baseline="1137" dirty="0">
                <a:solidFill>
                  <a:srgbClr val="7F7E7E"/>
                </a:solidFill>
                <a:cs typeface="Calibri"/>
              </a:rPr>
              <a:t>Sample local density, follow gradient towards denser direction</a:t>
            </a:r>
          </a:p>
        </p:txBody>
      </p:sp>
      <p:sp>
        <p:nvSpPr>
          <p:cNvPr id="91" name="object 82"/>
          <p:cNvSpPr/>
          <p:nvPr/>
        </p:nvSpPr>
        <p:spPr>
          <a:xfrm>
            <a:off x="4414372" y="54871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2" name="object 84"/>
          <p:cNvSpPr/>
          <p:nvPr/>
        </p:nvSpPr>
        <p:spPr>
          <a:xfrm>
            <a:off x="5399747" y="55212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3" name="object 86"/>
          <p:cNvSpPr/>
          <p:nvPr/>
        </p:nvSpPr>
        <p:spPr>
          <a:xfrm>
            <a:off x="6251551" y="55023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4" name="object 74"/>
          <p:cNvSpPr/>
          <p:nvPr/>
        </p:nvSpPr>
        <p:spPr>
          <a:xfrm>
            <a:off x="2668469" y="519520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5" name="object 72"/>
          <p:cNvSpPr/>
          <p:nvPr/>
        </p:nvSpPr>
        <p:spPr>
          <a:xfrm>
            <a:off x="5959366" y="251737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40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80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6" name="object 70"/>
          <p:cNvSpPr/>
          <p:nvPr/>
        </p:nvSpPr>
        <p:spPr>
          <a:xfrm>
            <a:off x="5560113" y="213564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7" name="object 68"/>
          <p:cNvSpPr/>
          <p:nvPr/>
        </p:nvSpPr>
        <p:spPr>
          <a:xfrm>
            <a:off x="5148028" y="1723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8" name="object 66"/>
          <p:cNvSpPr/>
          <p:nvPr/>
        </p:nvSpPr>
        <p:spPr>
          <a:xfrm>
            <a:off x="6872003" y="34121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9" name="object 63"/>
          <p:cNvSpPr/>
          <p:nvPr/>
        </p:nvSpPr>
        <p:spPr>
          <a:xfrm>
            <a:off x="5880842" y="502152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6"/>
                </a:lnTo>
                <a:lnTo>
                  <a:pt x="1583" y="198179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6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2"/>
                </a:lnTo>
                <a:lnTo>
                  <a:pt x="49876" y="299561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6"/>
                </a:lnTo>
                <a:lnTo>
                  <a:pt x="196530" y="342926"/>
                </a:lnTo>
                <a:lnTo>
                  <a:pt x="209650" y="339004"/>
                </a:lnTo>
                <a:lnTo>
                  <a:pt x="222295" y="333936"/>
                </a:lnTo>
                <a:lnTo>
                  <a:pt x="234413" y="327778"/>
                </a:lnTo>
                <a:lnTo>
                  <a:pt x="245953" y="320583"/>
                </a:lnTo>
                <a:lnTo>
                  <a:pt x="256864" y="312409"/>
                </a:lnTo>
                <a:lnTo>
                  <a:pt x="267095" y="303311"/>
                </a:lnTo>
                <a:lnTo>
                  <a:pt x="276595" y="293343"/>
                </a:lnTo>
                <a:lnTo>
                  <a:pt x="285312" y="282562"/>
                </a:lnTo>
                <a:lnTo>
                  <a:pt x="293195" y="271023"/>
                </a:lnTo>
                <a:lnTo>
                  <a:pt x="300193" y="258781"/>
                </a:lnTo>
                <a:lnTo>
                  <a:pt x="306255" y="245892"/>
                </a:lnTo>
                <a:lnTo>
                  <a:pt x="311330" y="232411"/>
                </a:lnTo>
                <a:lnTo>
                  <a:pt x="315366" y="218394"/>
                </a:lnTo>
                <a:lnTo>
                  <a:pt x="318312" y="203896"/>
                </a:lnTo>
                <a:lnTo>
                  <a:pt x="320117" y="188973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9" y="93485"/>
                </a:lnTo>
                <a:lnTo>
                  <a:pt x="296006" y="80986"/>
                </a:lnTo>
                <a:lnTo>
                  <a:pt x="288459" y="69169"/>
                </a:lnTo>
                <a:lnTo>
                  <a:pt x="280058" y="58089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4"/>
                </a:lnTo>
                <a:lnTo>
                  <a:pt x="86318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0" name="object 62"/>
          <p:cNvSpPr/>
          <p:nvPr/>
        </p:nvSpPr>
        <p:spPr>
          <a:xfrm>
            <a:off x="4326962" y="34938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1" name="object 60"/>
          <p:cNvSpPr/>
          <p:nvPr/>
        </p:nvSpPr>
        <p:spPr>
          <a:xfrm>
            <a:off x="3451263" y="457102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2" name="object 58"/>
          <p:cNvSpPr/>
          <p:nvPr/>
        </p:nvSpPr>
        <p:spPr>
          <a:xfrm>
            <a:off x="7513462" y="204543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3" name="object 56"/>
          <p:cNvSpPr/>
          <p:nvPr/>
        </p:nvSpPr>
        <p:spPr>
          <a:xfrm>
            <a:off x="6553321" y="196196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4" name="object 54"/>
          <p:cNvSpPr/>
          <p:nvPr/>
        </p:nvSpPr>
        <p:spPr>
          <a:xfrm>
            <a:off x="7353097" y="275391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5" name="object 52"/>
          <p:cNvSpPr/>
          <p:nvPr/>
        </p:nvSpPr>
        <p:spPr>
          <a:xfrm>
            <a:off x="4696124" y="412086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6" name="object 50"/>
          <p:cNvSpPr/>
          <p:nvPr/>
        </p:nvSpPr>
        <p:spPr>
          <a:xfrm>
            <a:off x="4441297" y="46123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7" name="object 48"/>
          <p:cNvSpPr/>
          <p:nvPr/>
        </p:nvSpPr>
        <p:spPr>
          <a:xfrm>
            <a:off x="3130532" y="40499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8" name="object 42"/>
          <p:cNvSpPr/>
          <p:nvPr/>
        </p:nvSpPr>
        <p:spPr>
          <a:xfrm>
            <a:off x="5748103" y="33118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9" name="object 44"/>
          <p:cNvSpPr/>
          <p:nvPr/>
        </p:nvSpPr>
        <p:spPr>
          <a:xfrm>
            <a:off x="5560113" y="25802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0" name="object 46"/>
          <p:cNvSpPr/>
          <p:nvPr/>
        </p:nvSpPr>
        <p:spPr>
          <a:xfrm>
            <a:off x="5421508" y="296447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1" name="object 40"/>
          <p:cNvSpPr/>
          <p:nvPr/>
        </p:nvSpPr>
        <p:spPr>
          <a:xfrm>
            <a:off x="5213120" y="49216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2" name="object 38"/>
          <p:cNvSpPr/>
          <p:nvPr/>
        </p:nvSpPr>
        <p:spPr>
          <a:xfrm>
            <a:off x="7032365" y="221911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3" name="object 36"/>
          <p:cNvSpPr/>
          <p:nvPr/>
        </p:nvSpPr>
        <p:spPr>
          <a:xfrm>
            <a:off x="7385165" y="340218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6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7"/>
                </a:lnTo>
                <a:lnTo>
                  <a:pt x="310251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4" name="object 34"/>
          <p:cNvSpPr/>
          <p:nvPr/>
        </p:nvSpPr>
        <p:spPr>
          <a:xfrm>
            <a:off x="5038354" y="24830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5" name="object 32"/>
          <p:cNvSpPr/>
          <p:nvPr/>
        </p:nvSpPr>
        <p:spPr>
          <a:xfrm>
            <a:off x="7192732" y="159327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6" name="object 30"/>
          <p:cNvSpPr/>
          <p:nvPr/>
        </p:nvSpPr>
        <p:spPr>
          <a:xfrm>
            <a:off x="6201572" y="316997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7" name="object 28"/>
          <p:cNvSpPr/>
          <p:nvPr/>
        </p:nvSpPr>
        <p:spPr>
          <a:xfrm>
            <a:off x="4877989" y="532865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8" name="object 26"/>
          <p:cNvSpPr/>
          <p:nvPr/>
        </p:nvSpPr>
        <p:spPr>
          <a:xfrm>
            <a:off x="5581873" y="4521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9" name="object 24"/>
          <p:cNvSpPr/>
          <p:nvPr/>
        </p:nvSpPr>
        <p:spPr>
          <a:xfrm>
            <a:off x="3528670" y="35173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0" name="object 22"/>
          <p:cNvSpPr/>
          <p:nvPr/>
        </p:nvSpPr>
        <p:spPr>
          <a:xfrm>
            <a:off x="3252845" y="520650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1" name="object 20"/>
          <p:cNvSpPr/>
          <p:nvPr/>
        </p:nvSpPr>
        <p:spPr>
          <a:xfrm>
            <a:off x="3849401" y="4051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2" name="object 18"/>
          <p:cNvSpPr/>
          <p:nvPr/>
        </p:nvSpPr>
        <p:spPr>
          <a:xfrm>
            <a:off x="6713687" y="269105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3" name="object 6"/>
          <p:cNvSpPr txBox="1"/>
          <p:nvPr/>
        </p:nvSpPr>
        <p:spPr>
          <a:xfrm>
            <a:off x="1332125" y="3759280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grpSp>
        <p:nvGrpSpPr>
          <p:cNvPr id="124" name="Group 123"/>
          <p:cNvGrpSpPr/>
          <p:nvPr/>
        </p:nvGrpSpPr>
        <p:grpSpPr>
          <a:xfrm>
            <a:off x="2383438" y="1888930"/>
            <a:ext cx="6303362" cy="4054670"/>
            <a:chOff x="2343901" y="1923700"/>
            <a:chExt cx="6303362" cy="4054670"/>
          </a:xfrm>
        </p:grpSpPr>
        <p:sp>
          <p:nvSpPr>
            <p:cNvPr id="125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126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  <p:sp>
        <p:nvSpPr>
          <p:cNvPr id="127" name="object 69"/>
          <p:cNvSpPr/>
          <p:nvPr/>
        </p:nvSpPr>
        <p:spPr>
          <a:xfrm>
            <a:off x="5482207" y="2493252"/>
            <a:ext cx="565019" cy="625840"/>
          </a:xfrm>
          <a:custGeom>
            <a:avLst/>
            <a:gdLst/>
            <a:ahLst/>
            <a:cxnLst/>
            <a:rect l="l" t="t" r="r" b="b"/>
            <a:pathLst>
              <a:path w="565019" h="625840">
                <a:moveTo>
                  <a:pt x="0" y="0"/>
                </a:moveTo>
                <a:lnTo>
                  <a:pt x="0" y="625840"/>
                </a:lnTo>
                <a:lnTo>
                  <a:pt x="565019" y="625840"/>
                </a:lnTo>
                <a:lnTo>
                  <a:pt x="565019" y="0"/>
                </a:lnTo>
                <a:lnTo>
                  <a:pt x="0" y="0"/>
                </a:lnTo>
                <a:close/>
              </a:path>
            </a:pathLst>
          </a:custGeom>
          <a:solidFill>
            <a:srgbClr val="59B9D0">
              <a:alpha val="71000"/>
            </a:srgbClr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8" name="object 69"/>
          <p:cNvSpPr/>
          <p:nvPr/>
        </p:nvSpPr>
        <p:spPr>
          <a:xfrm>
            <a:off x="2790181" y="5050233"/>
            <a:ext cx="565019" cy="625840"/>
          </a:xfrm>
          <a:custGeom>
            <a:avLst/>
            <a:gdLst/>
            <a:ahLst/>
            <a:cxnLst/>
            <a:rect l="l" t="t" r="r" b="b"/>
            <a:pathLst>
              <a:path w="565019" h="625840">
                <a:moveTo>
                  <a:pt x="0" y="0"/>
                </a:moveTo>
                <a:lnTo>
                  <a:pt x="0" y="625840"/>
                </a:lnTo>
                <a:lnTo>
                  <a:pt x="565019" y="625840"/>
                </a:lnTo>
                <a:lnTo>
                  <a:pt x="565019" y="0"/>
                </a:lnTo>
                <a:lnTo>
                  <a:pt x="0" y="0"/>
                </a:lnTo>
                <a:close/>
              </a:path>
            </a:pathLst>
          </a:custGeom>
          <a:solidFill>
            <a:srgbClr val="CD665F">
              <a:alpha val="71000"/>
            </a:srgbClr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8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9" name="object 5"/>
          <p:cNvSpPr txBox="1"/>
          <p:nvPr/>
        </p:nvSpPr>
        <p:spPr>
          <a:xfrm>
            <a:off x="5426815" y="6116930"/>
            <a:ext cx="542241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latin typeface="Calibri"/>
                <a:cs typeface="Calibri"/>
              </a:rPr>
              <a:t>Age</a:t>
            </a:r>
            <a:endParaRPr sz="2400">
              <a:latin typeface="Calibri"/>
              <a:cs typeface="Calibri"/>
            </a:endParaRPr>
          </a:p>
        </p:txBody>
      </p:sp>
      <p:sp>
        <p:nvSpPr>
          <p:cNvPr id="90" name="object 5"/>
          <p:cNvSpPr txBox="1"/>
          <p:nvPr/>
        </p:nvSpPr>
        <p:spPr>
          <a:xfrm>
            <a:off x="2101916" y="369650"/>
            <a:ext cx="6889684" cy="807913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 marR="41909">
              <a:lnSpc>
                <a:spcPts val="3454"/>
              </a:lnSpc>
              <a:spcBef>
                <a:spcPts val="172"/>
              </a:spcBef>
            </a:pPr>
            <a:r>
              <a:rPr lang="en-US" sz="4800" baseline="2560" dirty="0">
                <a:solidFill>
                  <a:srgbClr val="4E81BC"/>
                </a:solidFill>
                <a:latin typeface="+mj-lt"/>
                <a:cs typeface="Calibri"/>
              </a:rPr>
              <a:t>Mean </a:t>
            </a:r>
            <a:r>
              <a:rPr lang="en-US" sz="4800" baseline="2560" dirty="0" smtClean="0">
                <a:solidFill>
                  <a:srgbClr val="4E81BC"/>
                </a:solidFill>
                <a:latin typeface="+mj-lt"/>
                <a:cs typeface="Calibri"/>
              </a:rPr>
              <a:t>Shift</a:t>
            </a:r>
            <a:endParaRPr sz="3200" dirty="0">
              <a:latin typeface="+mj-lt"/>
              <a:cs typeface="Calibri"/>
            </a:endParaRPr>
          </a:p>
          <a:p>
            <a:pPr marL="12700">
              <a:lnSpc>
                <a:spcPts val="2770"/>
              </a:lnSpc>
            </a:pPr>
            <a:r>
              <a:rPr lang="en-US" sz="3200" baseline="1137" dirty="0">
                <a:solidFill>
                  <a:srgbClr val="7F7E7E"/>
                </a:solidFill>
                <a:cs typeface="Calibri"/>
              </a:rPr>
              <a:t>Sample local density, follow gradient towards denser direction</a:t>
            </a:r>
          </a:p>
        </p:txBody>
      </p:sp>
      <p:sp>
        <p:nvSpPr>
          <p:cNvPr id="91" name="object 82"/>
          <p:cNvSpPr/>
          <p:nvPr/>
        </p:nvSpPr>
        <p:spPr>
          <a:xfrm>
            <a:off x="4414372" y="54871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2" name="object 84"/>
          <p:cNvSpPr/>
          <p:nvPr/>
        </p:nvSpPr>
        <p:spPr>
          <a:xfrm>
            <a:off x="5399747" y="55212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3" name="object 86"/>
          <p:cNvSpPr/>
          <p:nvPr/>
        </p:nvSpPr>
        <p:spPr>
          <a:xfrm>
            <a:off x="6251551" y="55023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4" name="object 74"/>
          <p:cNvSpPr/>
          <p:nvPr/>
        </p:nvSpPr>
        <p:spPr>
          <a:xfrm>
            <a:off x="2668469" y="519520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5" name="object 72"/>
          <p:cNvSpPr/>
          <p:nvPr/>
        </p:nvSpPr>
        <p:spPr>
          <a:xfrm>
            <a:off x="5959366" y="251737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40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80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6" name="object 70"/>
          <p:cNvSpPr/>
          <p:nvPr/>
        </p:nvSpPr>
        <p:spPr>
          <a:xfrm>
            <a:off x="5560113" y="213564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7" name="object 68"/>
          <p:cNvSpPr/>
          <p:nvPr/>
        </p:nvSpPr>
        <p:spPr>
          <a:xfrm>
            <a:off x="5148028" y="1723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8" name="object 66"/>
          <p:cNvSpPr/>
          <p:nvPr/>
        </p:nvSpPr>
        <p:spPr>
          <a:xfrm>
            <a:off x="6872003" y="34121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9" name="object 63"/>
          <p:cNvSpPr/>
          <p:nvPr/>
        </p:nvSpPr>
        <p:spPr>
          <a:xfrm>
            <a:off x="5880842" y="502152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6"/>
                </a:lnTo>
                <a:lnTo>
                  <a:pt x="1583" y="198179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6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2"/>
                </a:lnTo>
                <a:lnTo>
                  <a:pt x="49876" y="299561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6"/>
                </a:lnTo>
                <a:lnTo>
                  <a:pt x="196530" y="342926"/>
                </a:lnTo>
                <a:lnTo>
                  <a:pt x="209650" y="339004"/>
                </a:lnTo>
                <a:lnTo>
                  <a:pt x="222295" y="333936"/>
                </a:lnTo>
                <a:lnTo>
                  <a:pt x="234413" y="327778"/>
                </a:lnTo>
                <a:lnTo>
                  <a:pt x="245953" y="320583"/>
                </a:lnTo>
                <a:lnTo>
                  <a:pt x="256864" y="312409"/>
                </a:lnTo>
                <a:lnTo>
                  <a:pt x="267095" y="303311"/>
                </a:lnTo>
                <a:lnTo>
                  <a:pt x="276595" y="293343"/>
                </a:lnTo>
                <a:lnTo>
                  <a:pt x="285312" y="282562"/>
                </a:lnTo>
                <a:lnTo>
                  <a:pt x="293195" y="271023"/>
                </a:lnTo>
                <a:lnTo>
                  <a:pt x="300193" y="258781"/>
                </a:lnTo>
                <a:lnTo>
                  <a:pt x="306255" y="245892"/>
                </a:lnTo>
                <a:lnTo>
                  <a:pt x="311330" y="232411"/>
                </a:lnTo>
                <a:lnTo>
                  <a:pt x="315366" y="218394"/>
                </a:lnTo>
                <a:lnTo>
                  <a:pt x="318312" y="203896"/>
                </a:lnTo>
                <a:lnTo>
                  <a:pt x="320117" y="188973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9" y="93485"/>
                </a:lnTo>
                <a:lnTo>
                  <a:pt x="296006" y="80986"/>
                </a:lnTo>
                <a:lnTo>
                  <a:pt x="288459" y="69169"/>
                </a:lnTo>
                <a:lnTo>
                  <a:pt x="280058" y="58089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4"/>
                </a:lnTo>
                <a:lnTo>
                  <a:pt x="86318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0" name="object 62"/>
          <p:cNvSpPr/>
          <p:nvPr/>
        </p:nvSpPr>
        <p:spPr>
          <a:xfrm>
            <a:off x="4326962" y="34938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1" name="object 60"/>
          <p:cNvSpPr/>
          <p:nvPr/>
        </p:nvSpPr>
        <p:spPr>
          <a:xfrm>
            <a:off x="3451263" y="457102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2" name="object 58"/>
          <p:cNvSpPr/>
          <p:nvPr/>
        </p:nvSpPr>
        <p:spPr>
          <a:xfrm>
            <a:off x="7513462" y="204543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3" name="object 56"/>
          <p:cNvSpPr/>
          <p:nvPr/>
        </p:nvSpPr>
        <p:spPr>
          <a:xfrm>
            <a:off x="6553321" y="196196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4" name="object 54"/>
          <p:cNvSpPr/>
          <p:nvPr/>
        </p:nvSpPr>
        <p:spPr>
          <a:xfrm>
            <a:off x="7353097" y="275391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5" name="object 52"/>
          <p:cNvSpPr/>
          <p:nvPr/>
        </p:nvSpPr>
        <p:spPr>
          <a:xfrm>
            <a:off x="4696124" y="412086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6" name="object 50"/>
          <p:cNvSpPr/>
          <p:nvPr/>
        </p:nvSpPr>
        <p:spPr>
          <a:xfrm>
            <a:off x="4441297" y="46123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7" name="object 48"/>
          <p:cNvSpPr/>
          <p:nvPr/>
        </p:nvSpPr>
        <p:spPr>
          <a:xfrm>
            <a:off x="3130532" y="40499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8" name="object 42"/>
          <p:cNvSpPr/>
          <p:nvPr/>
        </p:nvSpPr>
        <p:spPr>
          <a:xfrm>
            <a:off x="5748103" y="33118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9" name="object 44"/>
          <p:cNvSpPr/>
          <p:nvPr/>
        </p:nvSpPr>
        <p:spPr>
          <a:xfrm>
            <a:off x="5560113" y="25802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0" name="object 46"/>
          <p:cNvSpPr/>
          <p:nvPr/>
        </p:nvSpPr>
        <p:spPr>
          <a:xfrm>
            <a:off x="5421508" y="296447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1" name="object 40"/>
          <p:cNvSpPr/>
          <p:nvPr/>
        </p:nvSpPr>
        <p:spPr>
          <a:xfrm>
            <a:off x="5213120" y="49216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2" name="object 38"/>
          <p:cNvSpPr/>
          <p:nvPr/>
        </p:nvSpPr>
        <p:spPr>
          <a:xfrm>
            <a:off x="7032365" y="221911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3" name="object 36"/>
          <p:cNvSpPr/>
          <p:nvPr/>
        </p:nvSpPr>
        <p:spPr>
          <a:xfrm>
            <a:off x="7385165" y="340218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6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7"/>
                </a:lnTo>
                <a:lnTo>
                  <a:pt x="310251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4" name="object 34"/>
          <p:cNvSpPr/>
          <p:nvPr/>
        </p:nvSpPr>
        <p:spPr>
          <a:xfrm>
            <a:off x="5038354" y="24830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5" name="object 32"/>
          <p:cNvSpPr/>
          <p:nvPr/>
        </p:nvSpPr>
        <p:spPr>
          <a:xfrm>
            <a:off x="7192732" y="159327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6" name="object 30"/>
          <p:cNvSpPr/>
          <p:nvPr/>
        </p:nvSpPr>
        <p:spPr>
          <a:xfrm>
            <a:off x="6201572" y="316997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7" name="object 28"/>
          <p:cNvSpPr/>
          <p:nvPr/>
        </p:nvSpPr>
        <p:spPr>
          <a:xfrm>
            <a:off x="4877989" y="532865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8" name="object 26"/>
          <p:cNvSpPr/>
          <p:nvPr/>
        </p:nvSpPr>
        <p:spPr>
          <a:xfrm>
            <a:off x="5581873" y="4521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9" name="object 24"/>
          <p:cNvSpPr/>
          <p:nvPr/>
        </p:nvSpPr>
        <p:spPr>
          <a:xfrm>
            <a:off x="3528670" y="35173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0" name="object 22"/>
          <p:cNvSpPr/>
          <p:nvPr/>
        </p:nvSpPr>
        <p:spPr>
          <a:xfrm>
            <a:off x="3252845" y="520650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1" name="object 20"/>
          <p:cNvSpPr/>
          <p:nvPr/>
        </p:nvSpPr>
        <p:spPr>
          <a:xfrm>
            <a:off x="3849401" y="4051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2" name="object 18"/>
          <p:cNvSpPr/>
          <p:nvPr/>
        </p:nvSpPr>
        <p:spPr>
          <a:xfrm>
            <a:off x="6713687" y="269105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3" name="object 6"/>
          <p:cNvSpPr txBox="1"/>
          <p:nvPr/>
        </p:nvSpPr>
        <p:spPr>
          <a:xfrm>
            <a:off x="1332125" y="3759280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grpSp>
        <p:nvGrpSpPr>
          <p:cNvPr id="124" name="Group 123"/>
          <p:cNvGrpSpPr/>
          <p:nvPr/>
        </p:nvGrpSpPr>
        <p:grpSpPr>
          <a:xfrm>
            <a:off x="2383438" y="1888930"/>
            <a:ext cx="6303362" cy="4054670"/>
            <a:chOff x="2343901" y="1923700"/>
            <a:chExt cx="6303362" cy="4054670"/>
          </a:xfrm>
        </p:grpSpPr>
        <p:sp>
          <p:nvSpPr>
            <p:cNvPr id="125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126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  <p:sp>
        <p:nvSpPr>
          <p:cNvPr id="127" name="object 69"/>
          <p:cNvSpPr/>
          <p:nvPr/>
        </p:nvSpPr>
        <p:spPr>
          <a:xfrm>
            <a:off x="5482207" y="2493252"/>
            <a:ext cx="565019" cy="625840"/>
          </a:xfrm>
          <a:custGeom>
            <a:avLst/>
            <a:gdLst/>
            <a:ahLst/>
            <a:cxnLst/>
            <a:rect l="l" t="t" r="r" b="b"/>
            <a:pathLst>
              <a:path w="565019" h="625840">
                <a:moveTo>
                  <a:pt x="0" y="0"/>
                </a:moveTo>
                <a:lnTo>
                  <a:pt x="0" y="625840"/>
                </a:lnTo>
                <a:lnTo>
                  <a:pt x="565019" y="625840"/>
                </a:lnTo>
                <a:lnTo>
                  <a:pt x="565019" y="0"/>
                </a:lnTo>
                <a:lnTo>
                  <a:pt x="0" y="0"/>
                </a:lnTo>
                <a:close/>
              </a:path>
            </a:pathLst>
          </a:custGeom>
          <a:solidFill>
            <a:srgbClr val="59B9D0">
              <a:alpha val="71000"/>
            </a:srgbClr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8" name="object 69"/>
          <p:cNvSpPr/>
          <p:nvPr/>
        </p:nvSpPr>
        <p:spPr>
          <a:xfrm>
            <a:off x="3035298" y="4960298"/>
            <a:ext cx="565019" cy="625840"/>
          </a:xfrm>
          <a:custGeom>
            <a:avLst/>
            <a:gdLst/>
            <a:ahLst/>
            <a:cxnLst/>
            <a:rect l="l" t="t" r="r" b="b"/>
            <a:pathLst>
              <a:path w="565019" h="625840">
                <a:moveTo>
                  <a:pt x="0" y="0"/>
                </a:moveTo>
                <a:lnTo>
                  <a:pt x="0" y="625840"/>
                </a:lnTo>
                <a:lnTo>
                  <a:pt x="565019" y="625840"/>
                </a:lnTo>
                <a:lnTo>
                  <a:pt x="565019" y="0"/>
                </a:lnTo>
                <a:lnTo>
                  <a:pt x="0" y="0"/>
                </a:lnTo>
                <a:close/>
              </a:path>
            </a:pathLst>
          </a:custGeom>
          <a:solidFill>
            <a:srgbClr val="CD665F">
              <a:alpha val="71000"/>
            </a:srgbClr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8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9" name="object 5"/>
          <p:cNvSpPr txBox="1"/>
          <p:nvPr/>
        </p:nvSpPr>
        <p:spPr>
          <a:xfrm>
            <a:off x="5426815" y="6116930"/>
            <a:ext cx="542241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latin typeface="Calibri"/>
                <a:cs typeface="Calibri"/>
              </a:rPr>
              <a:t>Age</a:t>
            </a:r>
            <a:endParaRPr sz="2400">
              <a:latin typeface="Calibri"/>
              <a:cs typeface="Calibri"/>
            </a:endParaRPr>
          </a:p>
        </p:txBody>
      </p:sp>
      <p:sp>
        <p:nvSpPr>
          <p:cNvPr id="90" name="object 5"/>
          <p:cNvSpPr txBox="1"/>
          <p:nvPr/>
        </p:nvSpPr>
        <p:spPr>
          <a:xfrm>
            <a:off x="2101916" y="369650"/>
            <a:ext cx="6889684" cy="807913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 marR="41909">
              <a:lnSpc>
                <a:spcPts val="3454"/>
              </a:lnSpc>
              <a:spcBef>
                <a:spcPts val="172"/>
              </a:spcBef>
            </a:pPr>
            <a:r>
              <a:rPr lang="en-US" sz="4800" baseline="2560" dirty="0">
                <a:solidFill>
                  <a:srgbClr val="4E81BC"/>
                </a:solidFill>
                <a:latin typeface="+mj-lt"/>
                <a:cs typeface="Calibri"/>
              </a:rPr>
              <a:t>Mean </a:t>
            </a:r>
            <a:r>
              <a:rPr lang="en-US" sz="4800" baseline="2560" dirty="0" smtClean="0">
                <a:solidFill>
                  <a:srgbClr val="4E81BC"/>
                </a:solidFill>
                <a:latin typeface="+mj-lt"/>
                <a:cs typeface="Calibri"/>
              </a:rPr>
              <a:t>Shift</a:t>
            </a:r>
            <a:endParaRPr sz="3200" dirty="0">
              <a:latin typeface="+mj-lt"/>
              <a:cs typeface="Calibri"/>
            </a:endParaRPr>
          </a:p>
          <a:p>
            <a:pPr marL="12700">
              <a:lnSpc>
                <a:spcPts val="2770"/>
              </a:lnSpc>
            </a:pPr>
            <a:r>
              <a:rPr lang="en-US" sz="3200" baseline="1137" dirty="0">
                <a:solidFill>
                  <a:srgbClr val="7F7E7E"/>
                </a:solidFill>
                <a:cs typeface="Calibri"/>
              </a:rPr>
              <a:t>Sample local density, follow gradient towards denser direction</a:t>
            </a:r>
          </a:p>
        </p:txBody>
      </p:sp>
      <p:sp>
        <p:nvSpPr>
          <p:cNvPr id="91" name="object 82"/>
          <p:cNvSpPr/>
          <p:nvPr/>
        </p:nvSpPr>
        <p:spPr>
          <a:xfrm>
            <a:off x="4414372" y="54871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2" name="object 84"/>
          <p:cNvSpPr/>
          <p:nvPr/>
        </p:nvSpPr>
        <p:spPr>
          <a:xfrm>
            <a:off x="5399747" y="55212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3" name="object 86"/>
          <p:cNvSpPr/>
          <p:nvPr/>
        </p:nvSpPr>
        <p:spPr>
          <a:xfrm>
            <a:off x="6251551" y="55023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4" name="object 74"/>
          <p:cNvSpPr/>
          <p:nvPr/>
        </p:nvSpPr>
        <p:spPr>
          <a:xfrm>
            <a:off x="2668469" y="519520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5" name="object 72"/>
          <p:cNvSpPr/>
          <p:nvPr/>
        </p:nvSpPr>
        <p:spPr>
          <a:xfrm>
            <a:off x="5959366" y="251737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40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80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6" name="object 70"/>
          <p:cNvSpPr/>
          <p:nvPr/>
        </p:nvSpPr>
        <p:spPr>
          <a:xfrm>
            <a:off x="5560113" y="213564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7" name="object 68"/>
          <p:cNvSpPr/>
          <p:nvPr/>
        </p:nvSpPr>
        <p:spPr>
          <a:xfrm>
            <a:off x="5148028" y="1723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8" name="object 66"/>
          <p:cNvSpPr/>
          <p:nvPr/>
        </p:nvSpPr>
        <p:spPr>
          <a:xfrm>
            <a:off x="6872003" y="34121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9" name="object 63"/>
          <p:cNvSpPr/>
          <p:nvPr/>
        </p:nvSpPr>
        <p:spPr>
          <a:xfrm>
            <a:off x="5880842" y="502152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6"/>
                </a:lnTo>
                <a:lnTo>
                  <a:pt x="1583" y="198179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6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2"/>
                </a:lnTo>
                <a:lnTo>
                  <a:pt x="49876" y="299561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6"/>
                </a:lnTo>
                <a:lnTo>
                  <a:pt x="196530" y="342926"/>
                </a:lnTo>
                <a:lnTo>
                  <a:pt x="209650" y="339004"/>
                </a:lnTo>
                <a:lnTo>
                  <a:pt x="222295" y="333936"/>
                </a:lnTo>
                <a:lnTo>
                  <a:pt x="234413" y="327778"/>
                </a:lnTo>
                <a:lnTo>
                  <a:pt x="245953" y="320583"/>
                </a:lnTo>
                <a:lnTo>
                  <a:pt x="256864" y="312409"/>
                </a:lnTo>
                <a:lnTo>
                  <a:pt x="267095" y="303311"/>
                </a:lnTo>
                <a:lnTo>
                  <a:pt x="276595" y="293343"/>
                </a:lnTo>
                <a:lnTo>
                  <a:pt x="285312" y="282562"/>
                </a:lnTo>
                <a:lnTo>
                  <a:pt x="293195" y="271023"/>
                </a:lnTo>
                <a:lnTo>
                  <a:pt x="300193" y="258781"/>
                </a:lnTo>
                <a:lnTo>
                  <a:pt x="306255" y="245892"/>
                </a:lnTo>
                <a:lnTo>
                  <a:pt x="311330" y="232411"/>
                </a:lnTo>
                <a:lnTo>
                  <a:pt x="315366" y="218394"/>
                </a:lnTo>
                <a:lnTo>
                  <a:pt x="318312" y="203896"/>
                </a:lnTo>
                <a:lnTo>
                  <a:pt x="320117" y="188973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9" y="93485"/>
                </a:lnTo>
                <a:lnTo>
                  <a:pt x="296006" y="80986"/>
                </a:lnTo>
                <a:lnTo>
                  <a:pt x="288459" y="69169"/>
                </a:lnTo>
                <a:lnTo>
                  <a:pt x="280058" y="58089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4"/>
                </a:lnTo>
                <a:lnTo>
                  <a:pt x="86318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0" name="object 62"/>
          <p:cNvSpPr/>
          <p:nvPr/>
        </p:nvSpPr>
        <p:spPr>
          <a:xfrm>
            <a:off x="4326962" y="34938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1" name="object 60"/>
          <p:cNvSpPr/>
          <p:nvPr/>
        </p:nvSpPr>
        <p:spPr>
          <a:xfrm>
            <a:off x="3451263" y="457102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2" name="object 58"/>
          <p:cNvSpPr/>
          <p:nvPr/>
        </p:nvSpPr>
        <p:spPr>
          <a:xfrm>
            <a:off x="7513462" y="204543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3" name="object 56"/>
          <p:cNvSpPr/>
          <p:nvPr/>
        </p:nvSpPr>
        <p:spPr>
          <a:xfrm>
            <a:off x="6553321" y="196196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4" name="object 54"/>
          <p:cNvSpPr/>
          <p:nvPr/>
        </p:nvSpPr>
        <p:spPr>
          <a:xfrm>
            <a:off x="7353097" y="275391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5" name="object 52"/>
          <p:cNvSpPr/>
          <p:nvPr/>
        </p:nvSpPr>
        <p:spPr>
          <a:xfrm>
            <a:off x="4696124" y="412086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6" name="object 50"/>
          <p:cNvSpPr/>
          <p:nvPr/>
        </p:nvSpPr>
        <p:spPr>
          <a:xfrm>
            <a:off x="4441297" y="46123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7" name="object 48"/>
          <p:cNvSpPr/>
          <p:nvPr/>
        </p:nvSpPr>
        <p:spPr>
          <a:xfrm>
            <a:off x="3130532" y="40499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8" name="object 42"/>
          <p:cNvSpPr/>
          <p:nvPr/>
        </p:nvSpPr>
        <p:spPr>
          <a:xfrm>
            <a:off x="5748103" y="33118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9" name="object 44"/>
          <p:cNvSpPr/>
          <p:nvPr/>
        </p:nvSpPr>
        <p:spPr>
          <a:xfrm>
            <a:off x="5560113" y="25802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0" name="object 46"/>
          <p:cNvSpPr/>
          <p:nvPr/>
        </p:nvSpPr>
        <p:spPr>
          <a:xfrm>
            <a:off x="5421508" y="296447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1" name="object 40"/>
          <p:cNvSpPr/>
          <p:nvPr/>
        </p:nvSpPr>
        <p:spPr>
          <a:xfrm>
            <a:off x="5213120" y="49216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2" name="object 38"/>
          <p:cNvSpPr/>
          <p:nvPr/>
        </p:nvSpPr>
        <p:spPr>
          <a:xfrm>
            <a:off x="7032365" y="221911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3" name="object 36"/>
          <p:cNvSpPr/>
          <p:nvPr/>
        </p:nvSpPr>
        <p:spPr>
          <a:xfrm>
            <a:off x="7385165" y="340218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6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7"/>
                </a:lnTo>
                <a:lnTo>
                  <a:pt x="310251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4" name="object 34"/>
          <p:cNvSpPr/>
          <p:nvPr/>
        </p:nvSpPr>
        <p:spPr>
          <a:xfrm>
            <a:off x="5038354" y="24830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5" name="object 32"/>
          <p:cNvSpPr/>
          <p:nvPr/>
        </p:nvSpPr>
        <p:spPr>
          <a:xfrm>
            <a:off x="7192732" y="159327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6" name="object 30"/>
          <p:cNvSpPr/>
          <p:nvPr/>
        </p:nvSpPr>
        <p:spPr>
          <a:xfrm>
            <a:off x="6201572" y="316997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7" name="object 28"/>
          <p:cNvSpPr/>
          <p:nvPr/>
        </p:nvSpPr>
        <p:spPr>
          <a:xfrm>
            <a:off x="4877989" y="532865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8" name="object 26"/>
          <p:cNvSpPr/>
          <p:nvPr/>
        </p:nvSpPr>
        <p:spPr>
          <a:xfrm>
            <a:off x="5581873" y="4521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9" name="object 24"/>
          <p:cNvSpPr/>
          <p:nvPr/>
        </p:nvSpPr>
        <p:spPr>
          <a:xfrm>
            <a:off x="3528670" y="35173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0" name="object 22"/>
          <p:cNvSpPr/>
          <p:nvPr/>
        </p:nvSpPr>
        <p:spPr>
          <a:xfrm>
            <a:off x="3252845" y="520650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1" name="object 20"/>
          <p:cNvSpPr/>
          <p:nvPr/>
        </p:nvSpPr>
        <p:spPr>
          <a:xfrm>
            <a:off x="3849401" y="4051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2" name="object 18"/>
          <p:cNvSpPr/>
          <p:nvPr/>
        </p:nvSpPr>
        <p:spPr>
          <a:xfrm>
            <a:off x="6713687" y="269105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3" name="object 6"/>
          <p:cNvSpPr txBox="1"/>
          <p:nvPr/>
        </p:nvSpPr>
        <p:spPr>
          <a:xfrm>
            <a:off x="1332125" y="3759280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grpSp>
        <p:nvGrpSpPr>
          <p:cNvPr id="124" name="Group 123"/>
          <p:cNvGrpSpPr/>
          <p:nvPr/>
        </p:nvGrpSpPr>
        <p:grpSpPr>
          <a:xfrm>
            <a:off x="2383438" y="1888930"/>
            <a:ext cx="6303362" cy="4054670"/>
            <a:chOff x="2343901" y="1923700"/>
            <a:chExt cx="6303362" cy="4054670"/>
          </a:xfrm>
        </p:grpSpPr>
        <p:sp>
          <p:nvSpPr>
            <p:cNvPr id="125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126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  <p:sp>
        <p:nvSpPr>
          <p:cNvPr id="127" name="object 69"/>
          <p:cNvSpPr/>
          <p:nvPr/>
        </p:nvSpPr>
        <p:spPr>
          <a:xfrm>
            <a:off x="5482207" y="2493252"/>
            <a:ext cx="565019" cy="625840"/>
          </a:xfrm>
          <a:custGeom>
            <a:avLst/>
            <a:gdLst/>
            <a:ahLst/>
            <a:cxnLst/>
            <a:rect l="l" t="t" r="r" b="b"/>
            <a:pathLst>
              <a:path w="565019" h="625840">
                <a:moveTo>
                  <a:pt x="0" y="0"/>
                </a:moveTo>
                <a:lnTo>
                  <a:pt x="0" y="625840"/>
                </a:lnTo>
                <a:lnTo>
                  <a:pt x="565019" y="625840"/>
                </a:lnTo>
                <a:lnTo>
                  <a:pt x="565019" y="0"/>
                </a:lnTo>
                <a:lnTo>
                  <a:pt x="0" y="0"/>
                </a:lnTo>
                <a:close/>
              </a:path>
            </a:pathLst>
          </a:custGeom>
          <a:solidFill>
            <a:srgbClr val="59B9D0">
              <a:alpha val="71000"/>
            </a:srgbClr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8" name="object 69"/>
          <p:cNvSpPr/>
          <p:nvPr/>
        </p:nvSpPr>
        <p:spPr>
          <a:xfrm>
            <a:off x="3295546" y="4626400"/>
            <a:ext cx="565019" cy="625840"/>
          </a:xfrm>
          <a:custGeom>
            <a:avLst/>
            <a:gdLst/>
            <a:ahLst/>
            <a:cxnLst/>
            <a:rect l="l" t="t" r="r" b="b"/>
            <a:pathLst>
              <a:path w="565019" h="625840">
                <a:moveTo>
                  <a:pt x="0" y="0"/>
                </a:moveTo>
                <a:lnTo>
                  <a:pt x="0" y="625840"/>
                </a:lnTo>
                <a:lnTo>
                  <a:pt x="565019" y="625840"/>
                </a:lnTo>
                <a:lnTo>
                  <a:pt x="565019" y="0"/>
                </a:lnTo>
                <a:lnTo>
                  <a:pt x="0" y="0"/>
                </a:lnTo>
                <a:close/>
              </a:path>
            </a:pathLst>
          </a:custGeom>
          <a:solidFill>
            <a:srgbClr val="CD665F">
              <a:alpha val="71000"/>
            </a:srgbClr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8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9" name="object 5"/>
          <p:cNvSpPr txBox="1"/>
          <p:nvPr/>
        </p:nvSpPr>
        <p:spPr>
          <a:xfrm>
            <a:off x="5426815" y="6116930"/>
            <a:ext cx="542241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latin typeface="Calibri"/>
                <a:cs typeface="Calibri"/>
              </a:rPr>
              <a:t>Age</a:t>
            </a:r>
            <a:endParaRPr sz="2400">
              <a:latin typeface="Calibri"/>
              <a:cs typeface="Calibri"/>
            </a:endParaRPr>
          </a:p>
        </p:txBody>
      </p:sp>
      <p:sp>
        <p:nvSpPr>
          <p:cNvPr id="90" name="object 5"/>
          <p:cNvSpPr txBox="1"/>
          <p:nvPr/>
        </p:nvSpPr>
        <p:spPr>
          <a:xfrm>
            <a:off x="2101916" y="369650"/>
            <a:ext cx="6889684" cy="807913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 marR="41909">
              <a:lnSpc>
                <a:spcPts val="3454"/>
              </a:lnSpc>
              <a:spcBef>
                <a:spcPts val="172"/>
              </a:spcBef>
            </a:pPr>
            <a:r>
              <a:rPr lang="en-US" sz="4800" baseline="2560" dirty="0">
                <a:solidFill>
                  <a:srgbClr val="4E81BC"/>
                </a:solidFill>
                <a:latin typeface="+mj-lt"/>
                <a:cs typeface="Calibri"/>
              </a:rPr>
              <a:t>Mean </a:t>
            </a:r>
            <a:r>
              <a:rPr lang="en-US" sz="4800" baseline="2560" dirty="0" smtClean="0">
                <a:solidFill>
                  <a:srgbClr val="4E81BC"/>
                </a:solidFill>
                <a:latin typeface="+mj-lt"/>
                <a:cs typeface="Calibri"/>
              </a:rPr>
              <a:t>Shift</a:t>
            </a:r>
            <a:endParaRPr sz="3200" dirty="0">
              <a:latin typeface="+mj-lt"/>
              <a:cs typeface="Calibri"/>
            </a:endParaRPr>
          </a:p>
          <a:p>
            <a:pPr marL="12700">
              <a:lnSpc>
                <a:spcPts val="2770"/>
              </a:lnSpc>
            </a:pPr>
            <a:r>
              <a:rPr lang="en-US" sz="3200" baseline="1137" dirty="0">
                <a:solidFill>
                  <a:srgbClr val="7F7E7E"/>
                </a:solidFill>
                <a:cs typeface="Calibri"/>
              </a:rPr>
              <a:t>Sample local density, follow gradient towards denser direction</a:t>
            </a:r>
          </a:p>
        </p:txBody>
      </p:sp>
      <p:sp>
        <p:nvSpPr>
          <p:cNvPr id="91" name="object 82"/>
          <p:cNvSpPr/>
          <p:nvPr/>
        </p:nvSpPr>
        <p:spPr>
          <a:xfrm>
            <a:off x="4414372" y="54871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2" name="object 84"/>
          <p:cNvSpPr/>
          <p:nvPr/>
        </p:nvSpPr>
        <p:spPr>
          <a:xfrm>
            <a:off x="5399747" y="55212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3" name="object 86"/>
          <p:cNvSpPr/>
          <p:nvPr/>
        </p:nvSpPr>
        <p:spPr>
          <a:xfrm>
            <a:off x="6251551" y="55023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4" name="object 74"/>
          <p:cNvSpPr/>
          <p:nvPr/>
        </p:nvSpPr>
        <p:spPr>
          <a:xfrm>
            <a:off x="2668469" y="519520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5" name="object 72"/>
          <p:cNvSpPr/>
          <p:nvPr/>
        </p:nvSpPr>
        <p:spPr>
          <a:xfrm>
            <a:off x="5959366" y="251737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40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80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6" name="object 70"/>
          <p:cNvSpPr/>
          <p:nvPr/>
        </p:nvSpPr>
        <p:spPr>
          <a:xfrm>
            <a:off x="5560113" y="213564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7" name="object 68"/>
          <p:cNvSpPr/>
          <p:nvPr/>
        </p:nvSpPr>
        <p:spPr>
          <a:xfrm>
            <a:off x="5148028" y="1723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8" name="object 66"/>
          <p:cNvSpPr/>
          <p:nvPr/>
        </p:nvSpPr>
        <p:spPr>
          <a:xfrm>
            <a:off x="6872003" y="34121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9" name="object 63"/>
          <p:cNvSpPr/>
          <p:nvPr/>
        </p:nvSpPr>
        <p:spPr>
          <a:xfrm>
            <a:off x="5880842" y="502152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6"/>
                </a:lnTo>
                <a:lnTo>
                  <a:pt x="1583" y="198179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6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2"/>
                </a:lnTo>
                <a:lnTo>
                  <a:pt x="49876" y="299561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6"/>
                </a:lnTo>
                <a:lnTo>
                  <a:pt x="196530" y="342926"/>
                </a:lnTo>
                <a:lnTo>
                  <a:pt x="209650" y="339004"/>
                </a:lnTo>
                <a:lnTo>
                  <a:pt x="222295" y="333936"/>
                </a:lnTo>
                <a:lnTo>
                  <a:pt x="234413" y="327778"/>
                </a:lnTo>
                <a:lnTo>
                  <a:pt x="245953" y="320583"/>
                </a:lnTo>
                <a:lnTo>
                  <a:pt x="256864" y="312409"/>
                </a:lnTo>
                <a:lnTo>
                  <a:pt x="267095" y="303311"/>
                </a:lnTo>
                <a:lnTo>
                  <a:pt x="276595" y="293343"/>
                </a:lnTo>
                <a:lnTo>
                  <a:pt x="285312" y="282562"/>
                </a:lnTo>
                <a:lnTo>
                  <a:pt x="293195" y="271023"/>
                </a:lnTo>
                <a:lnTo>
                  <a:pt x="300193" y="258781"/>
                </a:lnTo>
                <a:lnTo>
                  <a:pt x="306255" y="245892"/>
                </a:lnTo>
                <a:lnTo>
                  <a:pt x="311330" y="232411"/>
                </a:lnTo>
                <a:lnTo>
                  <a:pt x="315366" y="218394"/>
                </a:lnTo>
                <a:lnTo>
                  <a:pt x="318312" y="203896"/>
                </a:lnTo>
                <a:lnTo>
                  <a:pt x="320117" y="188973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9" y="93485"/>
                </a:lnTo>
                <a:lnTo>
                  <a:pt x="296006" y="80986"/>
                </a:lnTo>
                <a:lnTo>
                  <a:pt x="288459" y="69169"/>
                </a:lnTo>
                <a:lnTo>
                  <a:pt x="280058" y="58089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4"/>
                </a:lnTo>
                <a:lnTo>
                  <a:pt x="86318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0" name="object 62"/>
          <p:cNvSpPr/>
          <p:nvPr/>
        </p:nvSpPr>
        <p:spPr>
          <a:xfrm>
            <a:off x="4326962" y="34938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1" name="object 60"/>
          <p:cNvSpPr/>
          <p:nvPr/>
        </p:nvSpPr>
        <p:spPr>
          <a:xfrm>
            <a:off x="3451263" y="457102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2" name="object 58"/>
          <p:cNvSpPr/>
          <p:nvPr/>
        </p:nvSpPr>
        <p:spPr>
          <a:xfrm>
            <a:off x="7513462" y="204543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3" name="object 56"/>
          <p:cNvSpPr/>
          <p:nvPr/>
        </p:nvSpPr>
        <p:spPr>
          <a:xfrm>
            <a:off x="6553321" y="196196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4" name="object 54"/>
          <p:cNvSpPr/>
          <p:nvPr/>
        </p:nvSpPr>
        <p:spPr>
          <a:xfrm>
            <a:off x="7353097" y="275391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5" name="object 52"/>
          <p:cNvSpPr/>
          <p:nvPr/>
        </p:nvSpPr>
        <p:spPr>
          <a:xfrm>
            <a:off x="4696124" y="412086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6" name="object 50"/>
          <p:cNvSpPr/>
          <p:nvPr/>
        </p:nvSpPr>
        <p:spPr>
          <a:xfrm>
            <a:off x="4441297" y="46123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7" name="object 48"/>
          <p:cNvSpPr/>
          <p:nvPr/>
        </p:nvSpPr>
        <p:spPr>
          <a:xfrm>
            <a:off x="3130532" y="40499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8" name="object 42"/>
          <p:cNvSpPr/>
          <p:nvPr/>
        </p:nvSpPr>
        <p:spPr>
          <a:xfrm>
            <a:off x="5748103" y="33118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9" name="object 44"/>
          <p:cNvSpPr/>
          <p:nvPr/>
        </p:nvSpPr>
        <p:spPr>
          <a:xfrm>
            <a:off x="5560113" y="25802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0" name="object 46"/>
          <p:cNvSpPr/>
          <p:nvPr/>
        </p:nvSpPr>
        <p:spPr>
          <a:xfrm>
            <a:off x="5421508" y="296447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1" name="object 40"/>
          <p:cNvSpPr/>
          <p:nvPr/>
        </p:nvSpPr>
        <p:spPr>
          <a:xfrm>
            <a:off x="5213120" y="49216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2" name="object 38"/>
          <p:cNvSpPr/>
          <p:nvPr/>
        </p:nvSpPr>
        <p:spPr>
          <a:xfrm>
            <a:off x="7032365" y="221911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3" name="object 36"/>
          <p:cNvSpPr/>
          <p:nvPr/>
        </p:nvSpPr>
        <p:spPr>
          <a:xfrm>
            <a:off x="7385165" y="340218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6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7"/>
                </a:lnTo>
                <a:lnTo>
                  <a:pt x="310251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4" name="object 34"/>
          <p:cNvSpPr/>
          <p:nvPr/>
        </p:nvSpPr>
        <p:spPr>
          <a:xfrm>
            <a:off x="5038354" y="24830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5" name="object 32"/>
          <p:cNvSpPr/>
          <p:nvPr/>
        </p:nvSpPr>
        <p:spPr>
          <a:xfrm>
            <a:off x="7192732" y="159327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6" name="object 30"/>
          <p:cNvSpPr/>
          <p:nvPr/>
        </p:nvSpPr>
        <p:spPr>
          <a:xfrm>
            <a:off x="6201572" y="316997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7" name="object 28"/>
          <p:cNvSpPr/>
          <p:nvPr/>
        </p:nvSpPr>
        <p:spPr>
          <a:xfrm>
            <a:off x="4877989" y="532865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8" name="object 26"/>
          <p:cNvSpPr/>
          <p:nvPr/>
        </p:nvSpPr>
        <p:spPr>
          <a:xfrm>
            <a:off x="5581873" y="4521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9" name="object 24"/>
          <p:cNvSpPr/>
          <p:nvPr/>
        </p:nvSpPr>
        <p:spPr>
          <a:xfrm>
            <a:off x="3528670" y="35173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0" name="object 22"/>
          <p:cNvSpPr/>
          <p:nvPr/>
        </p:nvSpPr>
        <p:spPr>
          <a:xfrm>
            <a:off x="3252845" y="520650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1" name="object 20"/>
          <p:cNvSpPr/>
          <p:nvPr/>
        </p:nvSpPr>
        <p:spPr>
          <a:xfrm>
            <a:off x="3849401" y="4051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2" name="object 18"/>
          <p:cNvSpPr/>
          <p:nvPr/>
        </p:nvSpPr>
        <p:spPr>
          <a:xfrm>
            <a:off x="6713687" y="269105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3" name="object 6"/>
          <p:cNvSpPr txBox="1"/>
          <p:nvPr/>
        </p:nvSpPr>
        <p:spPr>
          <a:xfrm>
            <a:off x="1332125" y="3759280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grpSp>
        <p:nvGrpSpPr>
          <p:cNvPr id="124" name="Group 123"/>
          <p:cNvGrpSpPr/>
          <p:nvPr/>
        </p:nvGrpSpPr>
        <p:grpSpPr>
          <a:xfrm>
            <a:off x="2383438" y="1888930"/>
            <a:ext cx="6303362" cy="4054670"/>
            <a:chOff x="2343901" y="1923700"/>
            <a:chExt cx="6303362" cy="4054670"/>
          </a:xfrm>
        </p:grpSpPr>
        <p:sp>
          <p:nvSpPr>
            <p:cNvPr id="125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126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  <p:sp>
        <p:nvSpPr>
          <p:cNvPr id="127" name="object 69"/>
          <p:cNvSpPr/>
          <p:nvPr/>
        </p:nvSpPr>
        <p:spPr>
          <a:xfrm>
            <a:off x="5482207" y="2493252"/>
            <a:ext cx="565019" cy="625840"/>
          </a:xfrm>
          <a:custGeom>
            <a:avLst/>
            <a:gdLst/>
            <a:ahLst/>
            <a:cxnLst/>
            <a:rect l="l" t="t" r="r" b="b"/>
            <a:pathLst>
              <a:path w="565019" h="625840">
                <a:moveTo>
                  <a:pt x="0" y="0"/>
                </a:moveTo>
                <a:lnTo>
                  <a:pt x="0" y="625840"/>
                </a:lnTo>
                <a:lnTo>
                  <a:pt x="565019" y="625840"/>
                </a:lnTo>
                <a:lnTo>
                  <a:pt x="565019" y="0"/>
                </a:lnTo>
                <a:lnTo>
                  <a:pt x="0" y="0"/>
                </a:lnTo>
                <a:close/>
              </a:path>
            </a:pathLst>
          </a:custGeom>
          <a:solidFill>
            <a:srgbClr val="59B9D0">
              <a:alpha val="71000"/>
            </a:srgbClr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8" name="object 69"/>
          <p:cNvSpPr/>
          <p:nvPr/>
        </p:nvSpPr>
        <p:spPr>
          <a:xfrm>
            <a:off x="3381593" y="4324298"/>
            <a:ext cx="565019" cy="625840"/>
          </a:xfrm>
          <a:custGeom>
            <a:avLst/>
            <a:gdLst/>
            <a:ahLst/>
            <a:cxnLst/>
            <a:rect l="l" t="t" r="r" b="b"/>
            <a:pathLst>
              <a:path w="565019" h="625840">
                <a:moveTo>
                  <a:pt x="0" y="0"/>
                </a:moveTo>
                <a:lnTo>
                  <a:pt x="0" y="625840"/>
                </a:lnTo>
                <a:lnTo>
                  <a:pt x="565019" y="625840"/>
                </a:lnTo>
                <a:lnTo>
                  <a:pt x="565019" y="0"/>
                </a:lnTo>
                <a:lnTo>
                  <a:pt x="0" y="0"/>
                </a:lnTo>
                <a:close/>
              </a:path>
            </a:pathLst>
          </a:custGeom>
          <a:solidFill>
            <a:srgbClr val="CD665F">
              <a:alpha val="71000"/>
            </a:srgbClr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" name="object 10"/>
          <p:cNvSpPr txBox="1"/>
          <p:nvPr/>
        </p:nvSpPr>
        <p:spPr>
          <a:xfrm>
            <a:off x="2101916" y="369650"/>
            <a:ext cx="6296519" cy="4318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3400"/>
              </a:lnSpc>
              <a:spcBef>
                <a:spcPts val="170"/>
              </a:spcBef>
            </a:pPr>
            <a:r>
              <a:rPr lang="en-US" sz="4800" baseline="1706" dirty="0">
                <a:solidFill>
                  <a:srgbClr val="4E81BC"/>
                </a:solidFill>
                <a:latin typeface="+mj-lt"/>
                <a:cs typeface="Calibri"/>
              </a:rPr>
              <a:t>Agglomerative </a:t>
            </a:r>
            <a:r>
              <a:rPr sz="4800" spc="0" baseline="1706" dirty="0" smtClean="0">
                <a:solidFill>
                  <a:srgbClr val="4E81BC"/>
                </a:solidFill>
                <a:latin typeface="+mj-lt"/>
                <a:cs typeface="Calibri"/>
              </a:rPr>
              <a:t>Hierarchical Clustering</a:t>
            </a:r>
            <a:endParaRPr sz="3200" dirty="0">
              <a:latin typeface="+mj-lt"/>
              <a:cs typeface="Calibri"/>
            </a:endParaRPr>
          </a:p>
        </p:txBody>
      </p:sp>
      <p:sp>
        <p:nvSpPr>
          <p:cNvPr id="85" name="object 11"/>
          <p:cNvSpPr txBox="1"/>
          <p:nvPr/>
        </p:nvSpPr>
        <p:spPr>
          <a:xfrm>
            <a:off x="2101916" y="852250"/>
            <a:ext cx="6584884" cy="4318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>
            <a:defPPr>
              <a:defRPr lang="en-US"/>
            </a:defPPr>
            <a:lvl1pPr marL="12700">
              <a:lnSpc>
                <a:spcPts val="3400"/>
              </a:lnSpc>
              <a:spcBef>
                <a:spcPts val="170"/>
              </a:spcBef>
              <a:defRPr sz="4800" spc="0" baseline="1706">
                <a:solidFill>
                  <a:srgbClr val="7F7E7E"/>
                </a:solidFill>
                <a:latin typeface="Calibri"/>
                <a:cs typeface="Calibri"/>
              </a:defRPr>
            </a:lvl1pPr>
          </a:lstStyle>
          <a:p>
            <a:r>
              <a:rPr lang="en-US" dirty="0">
                <a:latin typeface="+mj-lt"/>
              </a:rPr>
              <a:t>If closest </a:t>
            </a:r>
            <a:r>
              <a:rPr lang="en-US" dirty="0" smtClean="0">
                <a:latin typeface="+mj-lt"/>
              </a:rPr>
              <a:t>pair are clusters, same: merge</a:t>
            </a:r>
            <a:endParaRPr dirty="0">
              <a:latin typeface="+mj-lt"/>
            </a:endParaRPr>
          </a:p>
        </p:txBody>
      </p:sp>
      <p:sp>
        <p:nvSpPr>
          <p:cNvPr id="86" name="object 82"/>
          <p:cNvSpPr/>
          <p:nvPr/>
        </p:nvSpPr>
        <p:spPr>
          <a:xfrm>
            <a:off x="4414372" y="54871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7" name="object 84"/>
          <p:cNvSpPr/>
          <p:nvPr/>
        </p:nvSpPr>
        <p:spPr>
          <a:xfrm>
            <a:off x="5399747" y="55212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8" name="object 86"/>
          <p:cNvSpPr/>
          <p:nvPr/>
        </p:nvSpPr>
        <p:spPr>
          <a:xfrm>
            <a:off x="6251551" y="55023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9" name="object 74"/>
          <p:cNvSpPr/>
          <p:nvPr/>
        </p:nvSpPr>
        <p:spPr>
          <a:xfrm>
            <a:off x="2668469" y="519520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0" name="object 72"/>
          <p:cNvSpPr/>
          <p:nvPr/>
        </p:nvSpPr>
        <p:spPr>
          <a:xfrm>
            <a:off x="5959366" y="251737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40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80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1" name="object 70"/>
          <p:cNvSpPr/>
          <p:nvPr/>
        </p:nvSpPr>
        <p:spPr>
          <a:xfrm>
            <a:off x="5560113" y="213564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2" name="object 68"/>
          <p:cNvSpPr/>
          <p:nvPr/>
        </p:nvSpPr>
        <p:spPr>
          <a:xfrm>
            <a:off x="5148028" y="1723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3" name="object 66"/>
          <p:cNvSpPr/>
          <p:nvPr/>
        </p:nvSpPr>
        <p:spPr>
          <a:xfrm>
            <a:off x="6872003" y="34121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6094C9"/>
          </a:solidFill>
          <a:ln w="28575">
            <a:solidFill>
              <a:srgbClr val="46719B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4" name="object 63"/>
          <p:cNvSpPr/>
          <p:nvPr/>
        </p:nvSpPr>
        <p:spPr>
          <a:xfrm>
            <a:off x="5880842" y="502152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6"/>
                </a:lnTo>
                <a:lnTo>
                  <a:pt x="1583" y="198179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6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2"/>
                </a:lnTo>
                <a:lnTo>
                  <a:pt x="49876" y="299561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6"/>
                </a:lnTo>
                <a:lnTo>
                  <a:pt x="196530" y="342926"/>
                </a:lnTo>
                <a:lnTo>
                  <a:pt x="209650" y="339004"/>
                </a:lnTo>
                <a:lnTo>
                  <a:pt x="222295" y="333936"/>
                </a:lnTo>
                <a:lnTo>
                  <a:pt x="234413" y="327778"/>
                </a:lnTo>
                <a:lnTo>
                  <a:pt x="245953" y="320583"/>
                </a:lnTo>
                <a:lnTo>
                  <a:pt x="256864" y="312409"/>
                </a:lnTo>
                <a:lnTo>
                  <a:pt x="267095" y="303311"/>
                </a:lnTo>
                <a:lnTo>
                  <a:pt x="276595" y="293343"/>
                </a:lnTo>
                <a:lnTo>
                  <a:pt x="285312" y="282562"/>
                </a:lnTo>
                <a:lnTo>
                  <a:pt x="293195" y="271023"/>
                </a:lnTo>
                <a:lnTo>
                  <a:pt x="300193" y="258781"/>
                </a:lnTo>
                <a:lnTo>
                  <a:pt x="306255" y="245892"/>
                </a:lnTo>
                <a:lnTo>
                  <a:pt x="311330" y="232411"/>
                </a:lnTo>
                <a:lnTo>
                  <a:pt x="315366" y="218394"/>
                </a:lnTo>
                <a:lnTo>
                  <a:pt x="318312" y="203896"/>
                </a:lnTo>
                <a:lnTo>
                  <a:pt x="320117" y="188973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9" y="93485"/>
                </a:lnTo>
                <a:lnTo>
                  <a:pt x="296006" y="80986"/>
                </a:lnTo>
                <a:lnTo>
                  <a:pt x="288459" y="69169"/>
                </a:lnTo>
                <a:lnTo>
                  <a:pt x="280058" y="58089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4"/>
                </a:lnTo>
                <a:lnTo>
                  <a:pt x="86318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5" name="object 62"/>
          <p:cNvSpPr/>
          <p:nvPr/>
        </p:nvSpPr>
        <p:spPr>
          <a:xfrm>
            <a:off x="4326962" y="34938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6" name="object 60"/>
          <p:cNvSpPr/>
          <p:nvPr/>
        </p:nvSpPr>
        <p:spPr>
          <a:xfrm>
            <a:off x="3451263" y="457102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7" name="object 58"/>
          <p:cNvSpPr/>
          <p:nvPr/>
        </p:nvSpPr>
        <p:spPr>
          <a:xfrm>
            <a:off x="7513462" y="204543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4BAF39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8" name="object 56"/>
          <p:cNvSpPr/>
          <p:nvPr/>
        </p:nvSpPr>
        <p:spPr>
          <a:xfrm>
            <a:off x="6553321" y="196196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9" name="object 54"/>
          <p:cNvSpPr/>
          <p:nvPr/>
        </p:nvSpPr>
        <p:spPr>
          <a:xfrm>
            <a:off x="7353097" y="275391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0" name="object 52"/>
          <p:cNvSpPr/>
          <p:nvPr/>
        </p:nvSpPr>
        <p:spPr>
          <a:xfrm>
            <a:off x="4696124" y="412086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1" name="object 50"/>
          <p:cNvSpPr/>
          <p:nvPr/>
        </p:nvSpPr>
        <p:spPr>
          <a:xfrm>
            <a:off x="4441297" y="46123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2" name="object 48"/>
          <p:cNvSpPr/>
          <p:nvPr/>
        </p:nvSpPr>
        <p:spPr>
          <a:xfrm>
            <a:off x="3130532" y="40499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3" name="object 42"/>
          <p:cNvSpPr/>
          <p:nvPr/>
        </p:nvSpPr>
        <p:spPr>
          <a:xfrm>
            <a:off x="5748103" y="33118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4" name="object 44"/>
          <p:cNvSpPr/>
          <p:nvPr/>
        </p:nvSpPr>
        <p:spPr>
          <a:xfrm>
            <a:off x="5560113" y="25802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5" name="object 46"/>
          <p:cNvSpPr/>
          <p:nvPr/>
        </p:nvSpPr>
        <p:spPr>
          <a:xfrm>
            <a:off x="5421508" y="296447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6" name="object 40"/>
          <p:cNvSpPr/>
          <p:nvPr/>
        </p:nvSpPr>
        <p:spPr>
          <a:xfrm>
            <a:off x="5213120" y="49216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7" name="object 38"/>
          <p:cNvSpPr/>
          <p:nvPr/>
        </p:nvSpPr>
        <p:spPr>
          <a:xfrm>
            <a:off x="7032365" y="221911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8" name="object 36"/>
          <p:cNvSpPr/>
          <p:nvPr/>
        </p:nvSpPr>
        <p:spPr>
          <a:xfrm>
            <a:off x="7385165" y="340218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6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7"/>
                </a:lnTo>
                <a:lnTo>
                  <a:pt x="310251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6094C9"/>
          </a:solidFill>
          <a:ln w="28575">
            <a:solidFill>
              <a:srgbClr val="46719B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9" name="object 34"/>
          <p:cNvSpPr/>
          <p:nvPr/>
        </p:nvSpPr>
        <p:spPr>
          <a:xfrm>
            <a:off x="5038354" y="24830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0" name="object 32"/>
          <p:cNvSpPr/>
          <p:nvPr/>
        </p:nvSpPr>
        <p:spPr>
          <a:xfrm>
            <a:off x="7192732" y="159327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4BAF39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1" name="object 30"/>
          <p:cNvSpPr/>
          <p:nvPr/>
        </p:nvSpPr>
        <p:spPr>
          <a:xfrm>
            <a:off x="6201572" y="316997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2" name="object 28"/>
          <p:cNvSpPr/>
          <p:nvPr/>
        </p:nvSpPr>
        <p:spPr>
          <a:xfrm>
            <a:off x="4877989" y="532865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3" name="object 26"/>
          <p:cNvSpPr/>
          <p:nvPr/>
        </p:nvSpPr>
        <p:spPr>
          <a:xfrm>
            <a:off x="5581873" y="4521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4" name="object 24"/>
          <p:cNvSpPr/>
          <p:nvPr/>
        </p:nvSpPr>
        <p:spPr>
          <a:xfrm>
            <a:off x="3528670" y="35173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5" name="object 22"/>
          <p:cNvSpPr/>
          <p:nvPr/>
        </p:nvSpPr>
        <p:spPr>
          <a:xfrm>
            <a:off x="3252845" y="520650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6" name="object 20"/>
          <p:cNvSpPr/>
          <p:nvPr/>
        </p:nvSpPr>
        <p:spPr>
          <a:xfrm>
            <a:off x="3849401" y="4051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7" name="object 18"/>
          <p:cNvSpPr/>
          <p:nvPr/>
        </p:nvSpPr>
        <p:spPr>
          <a:xfrm>
            <a:off x="6713687" y="269105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8" name="object 6"/>
          <p:cNvSpPr txBox="1"/>
          <p:nvPr/>
        </p:nvSpPr>
        <p:spPr>
          <a:xfrm>
            <a:off x="1332125" y="3759280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sp>
        <p:nvSpPr>
          <p:cNvPr id="119" name="object 5"/>
          <p:cNvSpPr txBox="1"/>
          <p:nvPr/>
        </p:nvSpPr>
        <p:spPr>
          <a:xfrm>
            <a:off x="5426815" y="6116930"/>
            <a:ext cx="542241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Age</a:t>
            </a:r>
            <a:endParaRPr sz="2400">
              <a:cs typeface="Calibri"/>
            </a:endParaRPr>
          </a:p>
        </p:txBody>
      </p:sp>
      <p:grpSp>
        <p:nvGrpSpPr>
          <p:cNvPr id="120" name="Group 119"/>
          <p:cNvGrpSpPr/>
          <p:nvPr/>
        </p:nvGrpSpPr>
        <p:grpSpPr>
          <a:xfrm>
            <a:off x="2383438" y="1888930"/>
            <a:ext cx="6303362" cy="4054670"/>
            <a:chOff x="2343901" y="1923700"/>
            <a:chExt cx="6303362" cy="4054670"/>
          </a:xfrm>
        </p:grpSpPr>
        <p:sp>
          <p:nvSpPr>
            <p:cNvPr id="121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122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</p:spTree>
    <p:extLst>
      <p:ext uri="{BB962C8B-B14F-4D97-AF65-F5344CB8AC3E}">
        <p14:creationId xmlns:p14="http://schemas.microsoft.com/office/powerpoint/2010/main" val="4050637275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9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9" name="object 5"/>
          <p:cNvSpPr txBox="1"/>
          <p:nvPr/>
        </p:nvSpPr>
        <p:spPr>
          <a:xfrm>
            <a:off x="5426815" y="6116930"/>
            <a:ext cx="542241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latin typeface="Calibri"/>
                <a:cs typeface="Calibri"/>
              </a:rPr>
              <a:t>Age</a:t>
            </a:r>
            <a:endParaRPr sz="2400">
              <a:latin typeface="Calibri"/>
              <a:cs typeface="Calibri"/>
            </a:endParaRPr>
          </a:p>
        </p:txBody>
      </p:sp>
      <p:sp>
        <p:nvSpPr>
          <p:cNvPr id="90" name="object 5"/>
          <p:cNvSpPr txBox="1"/>
          <p:nvPr/>
        </p:nvSpPr>
        <p:spPr>
          <a:xfrm>
            <a:off x="2101916" y="369650"/>
            <a:ext cx="6889684" cy="807913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 marR="41909">
              <a:lnSpc>
                <a:spcPts val="3454"/>
              </a:lnSpc>
              <a:spcBef>
                <a:spcPts val="172"/>
              </a:spcBef>
            </a:pPr>
            <a:r>
              <a:rPr lang="en-US" sz="4800" baseline="2560" dirty="0">
                <a:solidFill>
                  <a:srgbClr val="4E81BC"/>
                </a:solidFill>
                <a:latin typeface="+mj-lt"/>
                <a:cs typeface="Calibri"/>
              </a:rPr>
              <a:t>Mean </a:t>
            </a:r>
            <a:r>
              <a:rPr lang="en-US" sz="4800" baseline="2560" dirty="0" smtClean="0">
                <a:solidFill>
                  <a:srgbClr val="4E81BC"/>
                </a:solidFill>
                <a:latin typeface="+mj-lt"/>
                <a:cs typeface="Calibri"/>
              </a:rPr>
              <a:t>Shift</a:t>
            </a:r>
            <a:endParaRPr sz="3200" dirty="0">
              <a:latin typeface="+mj-lt"/>
              <a:cs typeface="Calibri"/>
            </a:endParaRPr>
          </a:p>
          <a:p>
            <a:pPr marL="12700">
              <a:lnSpc>
                <a:spcPts val="2770"/>
              </a:lnSpc>
            </a:pPr>
            <a:r>
              <a:rPr lang="en-US" sz="3200" baseline="1137" dirty="0">
                <a:solidFill>
                  <a:srgbClr val="7F7E7E"/>
                </a:solidFill>
                <a:cs typeface="Calibri"/>
              </a:rPr>
              <a:t>Sample local density, follow gradient towards denser direction</a:t>
            </a:r>
          </a:p>
        </p:txBody>
      </p:sp>
      <p:sp>
        <p:nvSpPr>
          <p:cNvPr id="91" name="object 82"/>
          <p:cNvSpPr/>
          <p:nvPr/>
        </p:nvSpPr>
        <p:spPr>
          <a:xfrm>
            <a:off x="4414372" y="54871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2" name="object 84"/>
          <p:cNvSpPr/>
          <p:nvPr/>
        </p:nvSpPr>
        <p:spPr>
          <a:xfrm>
            <a:off x="5399747" y="55212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3" name="object 86"/>
          <p:cNvSpPr/>
          <p:nvPr/>
        </p:nvSpPr>
        <p:spPr>
          <a:xfrm>
            <a:off x="6251551" y="55023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4" name="object 74"/>
          <p:cNvSpPr/>
          <p:nvPr/>
        </p:nvSpPr>
        <p:spPr>
          <a:xfrm>
            <a:off x="2668469" y="519520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5" name="object 72"/>
          <p:cNvSpPr/>
          <p:nvPr/>
        </p:nvSpPr>
        <p:spPr>
          <a:xfrm>
            <a:off x="5959366" y="251737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40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80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6" name="object 70"/>
          <p:cNvSpPr/>
          <p:nvPr/>
        </p:nvSpPr>
        <p:spPr>
          <a:xfrm>
            <a:off x="5560113" y="213564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7" name="object 68"/>
          <p:cNvSpPr/>
          <p:nvPr/>
        </p:nvSpPr>
        <p:spPr>
          <a:xfrm>
            <a:off x="5148028" y="1723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8" name="object 66"/>
          <p:cNvSpPr/>
          <p:nvPr/>
        </p:nvSpPr>
        <p:spPr>
          <a:xfrm>
            <a:off x="6872003" y="34121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9" name="object 63"/>
          <p:cNvSpPr/>
          <p:nvPr/>
        </p:nvSpPr>
        <p:spPr>
          <a:xfrm>
            <a:off x="5880842" y="502152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6"/>
                </a:lnTo>
                <a:lnTo>
                  <a:pt x="1583" y="198179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6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2"/>
                </a:lnTo>
                <a:lnTo>
                  <a:pt x="49876" y="299561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6"/>
                </a:lnTo>
                <a:lnTo>
                  <a:pt x="196530" y="342926"/>
                </a:lnTo>
                <a:lnTo>
                  <a:pt x="209650" y="339004"/>
                </a:lnTo>
                <a:lnTo>
                  <a:pt x="222295" y="333936"/>
                </a:lnTo>
                <a:lnTo>
                  <a:pt x="234413" y="327778"/>
                </a:lnTo>
                <a:lnTo>
                  <a:pt x="245953" y="320583"/>
                </a:lnTo>
                <a:lnTo>
                  <a:pt x="256864" y="312409"/>
                </a:lnTo>
                <a:lnTo>
                  <a:pt x="267095" y="303311"/>
                </a:lnTo>
                <a:lnTo>
                  <a:pt x="276595" y="293343"/>
                </a:lnTo>
                <a:lnTo>
                  <a:pt x="285312" y="282562"/>
                </a:lnTo>
                <a:lnTo>
                  <a:pt x="293195" y="271023"/>
                </a:lnTo>
                <a:lnTo>
                  <a:pt x="300193" y="258781"/>
                </a:lnTo>
                <a:lnTo>
                  <a:pt x="306255" y="245892"/>
                </a:lnTo>
                <a:lnTo>
                  <a:pt x="311330" y="232411"/>
                </a:lnTo>
                <a:lnTo>
                  <a:pt x="315366" y="218394"/>
                </a:lnTo>
                <a:lnTo>
                  <a:pt x="318312" y="203896"/>
                </a:lnTo>
                <a:lnTo>
                  <a:pt x="320117" y="188973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9" y="93485"/>
                </a:lnTo>
                <a:lnTo>
                  <a:pt x="296006" y="80986"/>
                </a:lnTo>
                <a:lnTo>
                  <a:pt x="288459" y="69169"/>
                </a:lnTo>
                <a:lnTo>
                  <a:pt x="280058" y="58089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4"/>
                </a:lnTo>
                <a:lnTo>
                  <a:pt x="86318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0" name="object 62"/>
          <p:cNvSpPr/>
          <p:nvPr/>
        </p:nvSpPr>
        <p:spPr>
          <a:xfrm>
            <a:off x="4326962" y="34938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1" name="object 60"/>
          <p:cNvSpPr/>
          <p:nvPr/>
        </p:nvSpPr>
        <p:spPr>
          <a:xfrm>
            <a:off x="3451263" y="457102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2" name="object 58"/>
          <p:cNvSpPr/>
          <p:nvPr/>
        </p:nvSpPr>
        <p:spPr>
          <a:xfrm>
            <a:off x="7513462" y="204543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3" name="object 56"/>
          <p:cNvSpPr/>
          <p:nvPr/>
        </p:nvSpPr>
        <p:spPr>
          <a:xfrm>
            <a:off x="6553321" y="196196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4" name="object 54"/>
          <p:cNvSpPr/>
          <p:nvPr/>
        </p:nvSpPr>
        <p:spPr>
          <a:xfrm>
            <a:off x="7353097" y="275391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5" name="object 52"/>
          <p:cNvSpPr/>
          <p:nvPr/>
        </p:nvSpPr>
        <p:spPr>
          <a:xfrm>
            <a:off x="4696124" y="412086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6" name="object 50"/>
          <p:cNvSpPr/>
          <p:nvPr/>
        </p:nvSpPr>
        <p:spPr>
          <a:xfrm>
            <a:off x="4441297" y="46123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7" name="object 48"/>
          <p:cNvSpPr/>
          <p:nvPr/>
        </p:nvSpPr>
        <p:spPr>
          <a:xfrm>
            <a:off x="3130532" y="40499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8" name="object 42"/>
          <p:cNvSpPr/>
          <p:nvPr/>
        </p:nvSpPr>
        <p:spPr>
          <a:xfrm>
            <a:off x="5748103" y="33118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9" name="object 44"/>
          <p:cNvSpPr/>
          <p:nvPr/>
        </p:nvSpPr>
        <p:spPr>
          <a:xfrm>
            <a:off x="5560113" y="25802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0" name="object 46"/>
          <p:cNvSpPr/>
          <p:nvPr/>
        </p:nvSpPr>
        <p:spPr>
          <a:xfrm>
            <a:off x="5421508" y="296447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1" name="object 40"/>
          <p:cNvSpPr/>
          <p:nvPr/>
        </p:nvSpPr>
        <p:spPr>
          <a:xfrm>
            <a:off x="5213120" y="49216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2" name="object 38"/>
          <p:cNvSpPr/>
          <p:nvPr/>
        </p:nvSpPr>
        <p:spPr>
          <a:xfrm>
            <a:off x="7032365" y="221911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3" name="object 36"/>
          <p:cNvSpPr/>
          <p:nvPr/>
        </p:nvSpPr>
        <p:spPr>
          <a:xfrm>
            <a:off x="7385165" y="340218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6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7"/>
                </a:lnTo>
                <a:lnTo>
                  <a:pt x="310251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4" name="object 34"/>
          <p:cNvSpPr/>
          <p:nvPr/>
        </p:nvSpPr>
        <p:spPr>
          <a:xfrm>
            <a:off x="5038354" y="24830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5" name="object 32"/>
          <p:cNvSpPr/>
          <p:nvPr/>
        </p:nvSpPr>
        <p:spPr>
          <a:xfrm>
            <a:off x="7192732" y="159327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6" name="object 30"/>
          <p:cNvSpPr/>
          <p:nvPr/>
        </p:nvSpPr>
        <p:spPr>
          <a:xfrm>
            <a:off x="6201572" y="316997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7" name="object 28"/>
          <p:cNvSpPr/>
          <p:nvPr/>
        </p:nvSpPr>
        <p:spPr>
          <a:xfrm>
            <a:off x="4877989" y="532865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8" name="object 26"/>
          <p:cNvSpPr/>
          <p:nvPr/>
        </p:nvSpPr>
        <p:spPr>
          <a:xfrm>
            <a:off x="5581873" y="4521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9" name="object 24"/>
          <p:cNvSpPr/>
          <p:nvPr/>
        </p:nvSpPr>
        <p:spPr>
          <a:xfrm>
            <a:off x="3528670" y="35173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0" name="object 22"/>
          <p:cNvSpPr/>
          <p:nvPr/>
        </p:nvSpPr>
        <p:spPr>
          <a:xfrm>
            <a:off x="3252845" y="520650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1" name="object 20"/>
          <p:cNvSpPr/>
          <p:nvPr/>
        </p:nvSpPr>
        <p:spPr>
          <a:xfrm>
            <a:off x="3849401" y="4051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2" name="object 18"/>
          <p:cNvSpPr/>
          <p:nvPr/>
        </p:nvSpPr>
        <p:spPr>
          <a:xfrm>
            <a:off x="6713687" y="269105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3" name="object 6"/>
          <p:cNvSpPr txBox="1"/>
          <p:nvPr/>
        </p:nvSpPr>
        <p:spPr>
          <a:xfrm>
            <a:off x="1332125" y="3759280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grpSp>
        <p:nvGrpSpPr>
          <p:cNvPr id="124" name="Group 123"/>
          <p:cNvGrpSpPr/>
          <p:nvPr/>
        </p:nvGrpSpPr>
        <p:grpSpPr>
          <a:xfrm>
            <a:off x="2383438" y="1888930"/>
            <a:ext cx="6303362" cy="4054670"/>
            <a:chOff x="2343901" y="1923700"/>
            <a:chExt cx="6303362" cy="4054670"/>
          </a:xfrm>
        </p:grpSpPr>
        <p:sp>
          <p:nvSpPr>
            <p:cNvPr id="125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126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  <p:sp>
        <p:nvSpPr>
          <p:cNvPr id="127" name="object 69"/>
          <p:cNvSpPr/>
          <p:nvPr/>
        </p:nvSpPr>
        <p:spPr>
          <a:xfrm>
            <a:off x="5482207" y="2493252"/>
            <a:ext cx="565019" cy="625840"/>
          </a:xfrm>
          <a:custGeom>
            <a:avLst/>
            <a:gdLst/>
            <a:ahLst/>
            <a:cxnLst/>
            <a:rect l="l" t="t" r="r" b="b"/>
            <a:pathLst>
              <a:path w="565019" h="625840">
                <a:moveTo>
                  <a:pt x="0" y="0"/>
                </a:moveTo>
                <a:lnTo>
                  <a:pt x="0" y="625840"/>
                </a:lnTo>
                <a:lnTo>
                  <a:pt x="565019" y="625840"/>
                </a:lnTo>
                <a:lnTo>
                  <a:pt x="565019" y="0"/>
                </a:lnTo>
                <a:lnTo>
                  <a:pt x="0" y="0"/>
                </a:lnTo>
                <a:close/>
              </a:path>
            </a:pathLst>
          </a:custGeom>
          <a:solidFill>
            <a:srgbClr val="59B9D0">
              <a:alpha val="71000"/>
            </a:srgbClr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8" name="object 69"/>
          <p:cNvSpPr/>
          <p:nvPr/>
        </p:nvSpPr>
        <p:spPr>
          <a:xfrm>
            <a:off x="3598970" y="3989584"/>
            <a:ext cx="565019" cy="625840"/>
          </a:xfrm>
          <a:custGeom>
            <a:avLst/>
            <a:gdLst/>
            <a:ahLst/>
            <a:cxnLst/>
            <a:rect l="l" t="t" r="r" b="b"/>
            <a:pathLst>
              <a:path w="565019" h="625840">
                <a:moveTo>
                  <a:pt x="0" y="0"/>
                </a:moveTo>
                <a:lnTo>
                  <a:pt x="0" y="625840"/>
                </a:lnTo>
                <a:lnTo>
                  <a:pt x="565019" y="625840"/>
                </a:lnTo>
                <a:lnTo>
                  <a:pt x="565019" y="0"/>
                </a:lnTo>
                <a:lnTo>
                  <a:pt x="0" y="0"/>
                </a:lnTo>
                <a:close/>
              </a:path>
            </a:pathLst>
          </a:custGeom>
          <a:solidFill>
            <a:srgbClr val="CD665F">
              <a:alpha val="71000"/>
            </a:srgbClr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9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8" name="object 5"/>
          <p:cNvSpPr txBox="1"/>
          <p:nvPr/>
        </p:nvSpPr>
        <p:spPr>
          <a:xfrm>
            <a:off x="5426815" y="6116930"/>
            <a:ext cx="542241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latin typeface="Calibri"/>
                <a:cs typeface="Calibri"/>
              </a:rPr>
              <a:t>Age</a:t>
            </a:r>
            <a:endParaRPr sz="2400">
              <a:latin typeface="Calibri"/>
              <a:cs typeface="Calibri"/>
            </a:endParaRPr>
          </a:p>
        </p:txBody>
      </p:sp>
      <p:sp>
        <p:nvSpPr>
          <p:cNvPr id="89" name="object 5"/>
          <p:cNvSpPr txBox="1"/>
          <p:nvPr/>
        </p:nvSpPr>
        <p:spPr>
          <a:xfrm>
            <a:off x="2101916" y="369650"/>
            <a:ext cx="6889684" cy="807913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 marR="41909">
              <a:lnSpc>
                <a:spcPts val="3454"/>
              </a:lnSpc>
              <a:spcBef>
                <a:spcPts val="172"/>
              </a:spcBef>
            </a:pPr>
            <a:r>
              <a:rPr lang="en-US" sz="4800" baseline="2560" dirty="0">
                <a:solidFill>
                  <a:srgbClr val="4E81BC"/>
                </a:solidFill>
                <a:latin typeface="+mj-lt"/>
                <a:cs typeface="Calibri"/>
              </a:rPr>
              <a:t>Mean </a:t>
            </a:r>
            <a:r>
              <a:rPr lang="en-US" sz="4800" baseline="2560" dirty="0" smtClean="0">
                <a:solidFill>
                  <a:srgbClr val="4E81BC"/>
                </a:solidFill>
                <a:latin typeface="+mj-lt"/>
                <a:cs typeface="Calibri"/>
              </a:rPr>
              <a:t>Shift</a:t>
            </a:r>
            <a:endParaRPr sz="3200" dirty="0">
              <a:latin typeface="+mj-lt"/>
              <a:cs typeface="Calibri"/>
            </a:endParaRPr>
          </a:p>
          <a:p>
            <a:pPr marL="12700">
              <a:lnSpc>
                <a:spcPts val="2770"/>
              </a:lnSpc>
            </a:pPr>
            <a:r>
              <a:rPr lang="en-US" sz="3200" baseline="1137" dirty="0" smtClean="0">
                <a:solidFill>
                  <a:srgbClr val="7F7E7E"/>
                </a:solidFill>
                <a:cs typeface="Calibri"/>
              </a:rPr>
              <a:t>Found local maximum. Stop</a:t>
            </a:r>
            <a:r>
              <a:rPr lang="en-US" sz="3200" baseline="1137" dirty="0">
                <a:solidFill>
                  <a:srgbClr val="7F7E7E"/>
                </a:solidFill>
                <a:cs typeface="Calibri"/>
              </a:rPr>
              <a:t>.</a:t>
            </a:r>
          </a:p>
        </p:txBody>
      </p:sp>
      <p:sp>
        <p:nvSpPr>
          <p:cNvPr id="90" name="object 82"/>
          <p:cNvSpPr/>
          <p:nvPr/>
        </p:nvSpPr>
        <p:spPr>
          <a:xfrm>
            <a:off x="4414372" y="54871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1" name="object 84"/>
          <p:cNvSpPr/>
          <p:nvPr/>
        </p:nvSpPr>
        <p:spPr>
          <a:xfrm>
            <a:off x="5399747" y="55212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2" name="object 86"/>
          <p:cNvSpPr/>
          <p:nvPr/>
        </p:nvSpPr>
        <p:spPr>
          <a:xfrm>
            <a:off x="6251551" y="55023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3" name="object 74"/>
          <p:cNvSpPr/>
          <p:nvPr/>
        </p:nvSpPr>
        <p:spPr>
          <a:xfrm>
            <a:off x="2668469" y="519520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4" name="object 72"/>
          <p:cNvSpPr/>
          <p:nvPr/>
        </p:nvSpPr>
        <p:spPr>
          <a:xfrm>
            <a:off x="5959366" y="251737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40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80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5" name="object 70"/>
          <p:cNvSpPr/>
          <p:nvPr/>
        </p:nvSpPr>
        <p:spPr>
          <a:xfrm>
            <a:off x="5560113" y="213564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6" name="object 68"/>
          <p:cNvSpPr/>
          <p:nvPr/>
        </p:nvSpPr>
        <p:spPr>
          <a:xfrm>
            <a:off x="5148028" y="1723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7" name="object 66"/>
          <p:cNvSpPr/>
          <p:nvPr/>
        </p:nvSpPr>
        <p:spPr>
          <a:xfrm>
            <a:off x="6872003" y="34121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8" name="object 63"/>
          <p:cNvSpPr/>
          <p:nvPr/>
        </p:nvSpPr>
        <p:spPr>
          <a:xfrm>
            <a:off x="5880842" y="502152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6"/>
                </a:lnTo>
                <a:lnTo>
                  <a:pt x="1583" y="198179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6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2"/>
                </a:lnTo>
                <a:lnTo>
                  <a:pt x="49876" y="299561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6"/>
                </a:lnTo>
                <a:lnTo>
                  <a:pt x="196530" y="342926"/>
                </a:lnTo>
                <a:lnTo>
                  <a:pt x="209650" y="339004"/>
                </a:lnTo>
                <a:lnTo>
                  <a:pt x="222295" y="333936"/>
                </a:lnTo>
                <a:lnTo>
                  <a:pt x="234413" y="327778"/>
                </a:lnTo>
                <a:lnTo>
                  <a:pt x="245953" y="320583"/>
                </a:lnTo>
                <a:lnTo>
                  <a:pt x="256864" y="312409"/>
                </a:lnTo>
                <a:lnTo>
                  <a:pt x="267095" y="303311"/>
                </a:lnTo>
                <a:lnTo>
                  <a:pt x="276595" y="293343"/>
                </a:lnTo>
                <a:lnTo>
                  <a:pt x="285312" y="282562"/>
                </a:lnTo>
                <a:lnTo>
                  <a:pt x="293195" y="271023"/>
                </a:lnTo>
                <a:lnTo>
                  <a:pt x="300193" y="258781"/>
                </a:lnTo>
                <a:lnTo>
                  <a:pt x="306255" y="245892"/>
                </a:lnTo>
                <a:lnTo>
                  <a:pt x="311330" y="232411"/>
                </a:lnTo>
                <a:lnTo>
                  <a:pt x="315366" y="218394"/>
                </a:lnTo>
                <a:lnTo>
                  <a:pt x="318312" y="203896"/>
                </a:lnTo>
                <a:lnTo>
                  <a:pt x="320117" y="188973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9" y="93485"/>
                </a:lnTo>
                <a:lnTo>
                  <a:pt x="296006" y="80986"/>
                </a:lnTo>
                <a:lnTo>
                  <a:pt x="288459" y="69169"/>
                </a:lnTo>
                <a:lnTo>
                  <a:pt x="280058" y="58089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4"/>
                </a:lnTo>
                <a:lnTo>
                  <a:pt x="86318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9" name="object 62"/>
          <p:cNvSpPr/>
          <p:nvPr/>
        </p:nvSpPr>
        <p:spPr>
          <a:xfrm>
            <a:off x="4326962" y="34938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0" name="object 60"/>
          <p:cNvSpPr/>
          <p:nvPr/>
        </p:nvSpPr>
        <p:spPr>
          <a:xfrm>
            <a:off x="3451263" y="457102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1" name="object 58"/>
          <p:cNvSpPr/>
          <p:nvPr/>
        </p:nvSpPr>
        <p:spPr>
          <a:xfrm>
            <a:off x="7513462" y="204543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2" name="object 56"/>
          <p:cNvSpPr/>
          <p:nvPr/>
        </p:nvSpPr>
        <p:spPr>
          <a:xfrm>
            <a:off x="6553321" y="196196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3" name="object 54"/>
          <p:cNvSpPr/>
          <p:nvPr/>
        </p:nvSpPr>
        <p:spPr>
          <a:xfrm>
            <a:off x="7353097" y="275391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4" name="object 52"/>
          <p:cNvSpPr/>
          <p:nvPr/>
        </p:nvSpPr>
        <p:spPr>
          <a:xfrm>
            <a:off x="4696124" y="412086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5" name="object 50"/>
          <p:cNvSpPr/>
          <p:nvPr/>
        </p:nvSpPr>
        <p:spPr>
          <a:xfrm>
            <a:off x="4441297" y="46123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6" name="object 48"/>
          <p:cNvSpPr/>
          <p:nvPr/>
        </p:nvSpPr>
        <p:spPr>
          <a:xfrm>
            <a:off x="3130532" y="40499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7" name="object 42"/>
          <p:cNvSpPr/>
          <p:nvPr/>
        </p:nvSpPr>
        <p:spPr>
          <a:xfrm>
            <a:off x="5748103" y="33118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8" name="object 44"/>
          <p:cNvSpPr/>
          <p:nvPr/>
        </p:nvSpPr>
        <p:spPr>
          <a:xfrm>
            <a:off x="5560113" y="25802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9" name="object 46"/>
          <p:cNvSpPr/>
          <p:nvPr/>
        </p:nvSpPr>
        <p:spPr>
          <a:xfrm>
            <a:off x="5421508" y="296447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0" name="object 40"/>
          <p:cNvSpPr/>
          <p:nvPr/>
        </p:nvSpPr>
        <p:spPr>
          <a:xfrm>
            <a:off x="5213120" y="49216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1" name="object 38"/>
          <p:cNvSpPr/>
          <p:nvPr/>
        </p:nvSpPr>
        <p:spPr>
          <a:xfrm>
            <a:off x="7032365" y="221911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2" name="object 36"/>
          <p:cNvSpPr/>
          <p:nvPr/>
        </p:nvSpPr>
        <p:spPr>
          <a:xfrm>
            <a:off x="7385165" y="340218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6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7"/>
                </a:lnTo>
                <a:lnTo>
                  <a:pt x="310251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3" name="object 34"/>
          <p:cNvSpPr/>
          <p:nvPr/>
        </p:nvSpPr>
        <p:spPr>
          <a:xfrm>
            <a:off x="5038354" y="24830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4" name="object 32"/>
          <p:cNvSpPr/>
          <p:nvPr/>
        </p:nvSpPr>
        <p:spPr>
          <a:xfrm>
            <a:off x="7192732" y="159327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5" name="object 30"/>
          <p:cNvSpPr/>
          <p:nvPr/>
        </p:nvSpPr>
        <p:spPr>
          <a:xfrm>
            <a:off x="6201572" y="316997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6" name="object 28"/>
          <p:cNvSpPr/>
          <p:nvPr/>
        </p:nvSpPr>
        <p:spPr>
          <a:xfrm>
            <a:off x="4877989" y="532865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7" name="object 26"/>
          <p:cNvSpPr/>
          <p:nvPr/>
        </p:nvSpPr>
        <p:spPr>
          <a:xfrm>
            <a:off x="5581873" y="4521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8" name="object 24"/>
          <p:cNvSpPr/>
          <p:nvPr/>
        </p:nvSpPr>
        <p:spPr>
          <a:xfrm>
            <a:off x="3528670" y="35173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9" name="object 22"/>
          <p:cNvSpPr/>
          <p:nvPr/>
        </p:nvSpPr>
        <p:spPr>
          <a:xfrm>
            <a:off x="3252845" y="520650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0" name="object 20"/>
          <p:cNvSpPr/>
          <p:nvPr/>
        </p:nvSpPr>
        <p:spPr>
          <a:xfrm>
            <a:off x="3849401" y="4051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1" name="object 18"/>
          <p:cNvSpPr/>
          <p:nvPr/>
        </p:nvSpPr>
        <p:spPr>
          <a:xfrm>
            <a:off x="6713687" y="269105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2" name="object 6"/>
          <p:cNvSpPr txBox="1"/>
          <p:nvPr/>
        </p:nvSpPr>
        <p:spPr>
          <a:xfrm>
            <a:off x="1332125" y="3759280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grpSp>
        <p:nvGrpSpPr>
          <p:cNvPr id="123" name="Group 122"/>
          <p:cNvGrpSpPr/>
          <p:nvPr/>
        </p:nvGrpSpPr>
        <p:grpSpPr>
          <a:xfrm>
            <a:off x="2383438" y="1888930"/>
            <a:ext cx="6303362" cy="4054670"/>
            <a:chOff x="2343901" y="1923700"/>
            <a:chExt cx="6303362" cy="4054670"/>
          </a:xfrm>
        </p:grpSpPr>
        <p:sp>
          <p:nvSpPr>
            <p:cNvPr id="124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125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  <p:sp>
        <p:nvSpPr>
          <p:cNvPr id="126" name="object 69"/>
          <p:cNvSpPr/>
          <p:nvPr/>
        </p:nvSpPr>
        <p:spPr>
          <a:xfrm>
            <a:off x="5482207" y="2493252"/>
            <a:ext cx="565019" cy="625840"/>
          </a:xfrm>
          <a:custGeom>
            <a:avLst/>
            <a:gdLst/>
            <a:ahLst/>
            <a:cxnLst/>
            <a:rect l="l" t="t" r="r" b="b"/>
            <a:pathLst>
              <a:path w="565019" h="625840">
                <a:moveTo>
                  <a:pt x="0" y="0"/>
                </a:moveTo>
                <a:lnTo>
                  <a:pt x="0" y="625840"/>
                </a:lnTo>
                <a:lnTo>
                  <a:pt x="565019" y="625840"/>
                </a:lnTo>
                <a:lnTo>
                  <a:pt x="565019" y="0"/>
                </a:lnTo>
                <a:lnTo>
                  <a:pt x="0" y="0"/>
                </a:lnTo>
                <a:close/>
              </a:path>
            </a:pathLst>
          </a:custGeom>
          <a:solidFill>
            <a:srgbClr val="59B9D0">
              <a:alpha val="71000"/>
            </a:srgbClr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7" name="object 69"/>
          <p:cNvSpPr/>
          <p:nvPr/>
        </p:nvSpPr>
        <p:spPr>
          <a:xfrm>
            <a:off x="3681884" y="3841353"/>
            <a:ext cx="565019" cy="625840"/>
          </a:xfrm>
          <a:custGeom>
            <a:avLst/>
            <a:gdLst/>
            <a:ahLst/>
            <a:cxnLst/>
            <a:rect l="l" t="t" r="r" b="b"/>
            <a:pathLst>
              <a:path w="565019" h="625840">
                <a:moveTo>
                  <a:pt x="0" y="0"/>
                </a:moveTo>
                <a:lnTo>
                  <a:pt x="0" y="625840"/>
                </a:lnTo>
                <a:lnTo>
                  <a:pt x="565019" y="625840"/>
                </a:lnTo>
                <a:lnTo>
                  <a:pt x="565019" y="0"/>
                </a:lnTo>
                <a:lnTo>
                  <a:pt x="0" y="0"/>
                </a:lnTo>
                <a:close/>
              </a:path>
            </a:pathLst>
          </a:custGeom>
          <a:solidFill>
            <a:srgbClr val="CD665F">
              <a:alpha val="71000"/>
            </a:srgbClr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9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4" name="object 5"/>
          <p:cNvSpPr txBox="1"/>
          <p:nvPr/>
        </p:nvSpPr>
        <p:spPr>
          <a:xfrm>
            <a:off x="5426815" y="6116930"/>
            <a:ext cx="542241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latin typeface="Calibri"/>
                <a:cs typeface="Calibri"/>
              </a:rPr>
              <a:t>Age</a:t>
            </a:r>
            <a:endParaRPr sz="2400">
              <a:latin typeface="Calibri"/>
              <a:cs typeface="Calibri"/>
            </a:endParaRPr>
          </a:p>
        </p:txBody>
      </p:sp>
      <p:sp>
        <p:nvSpPr>
          <p:cNvPr id="95" name="object 5"/>
          <p:cNvSpPr txBox="1"/>
          <p:nvPr/>
        </p:nvSpPr>
        <p:spPr>
          <a:xfrm>
            <a:off x="2101916" y="369650"/>
            <a:ext cx="6889684" cy="807913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 marR="41909">
              <a:lnSpc>
                <a:spcPts val="3454"/>
              </a:lnSpc>
              <a:spcBef>
                <a:spcPts val="172"/>
              </a:spcBef>
            </a:pPr>
            <a:r>
              <a:rPr lang="en-US" sz="4800" baseline="2560" dirty="0">
                <a:solidFill>
                  <a:srgbClr val="4E81BC"/>
                </a:solidFill>
                <a:latin typeface="+mj-lt"/>
                <a:cs typeface="Calibri"/>
              </a:rPr>
              <a:t>Mean </a:t>
            </a:r>
            <a:r>
              <a:rPr lang="en-US" sz="4800" baseline="2560" dirty="0" smtClean="0">
                <a:solidFill>
                  <a:srgbClr val="4E81BC"/>
                </a:solidFill>
                <a:latin typeface="+mj-lt"/>
                <a:cs typeface="Calibri"/>
              </a:rPr>
              <a:t>Shift</a:t>
            </a:r>
            <a:endParaRPr sz="3200" dirty="0">
              <a:latin typeface="+mj-lt"/>
              <a:cs typeface="Calibri"/>
            </a:endParaRPr>
          </a:p>
          <a:p>
            <a:pPr marL="12700">
              <a:lnSpc>
                <a:spcPts val="2770"/>
              </a:lnSpc>
            </a:pPr>
            <a:r>
              <a:rPr lang="en-US" sz="3200" baseline="1137" dirty="0" smtClean="0">
                <a:solidFill>
                  <a:srgbClr val="7F7E7E"/>
                </a:solidFill>
                <a:cs typeface="Calibri"/>
              </a:rPr>
              <a:t>Start at another point</a:t>
            </a:r>
            <a:endParaRPr lang="en-US" sz="3200" baseline="1137" dirty="0">
              <a:solidFill>
                <a:srgbClr val="7F7E7E"/>
              </a:solidFill>
              <a:cs typeface="Calibri"/>
            </a:endParaRPr>
          </a:p>
        </p:txBody>
      </p:sp>
      <p:sp>
        <p:nvSpPr>
          <p:cNvPr id="96" name="object 82"/>
          <p:cNvSpPr/>
          <p:nvPr/>
        </p:nvSpPr>
        <p:spPr>
          <a:xfrm>
            <a:off x="4414372" y="54871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7" name="object 84"/>
          <p:cNvSpPr/>
          <p:nvPr/>
        </p:nvSpPr>
        <p:spPr>
          <a:xfrm>
            <a:off x="5399747" y="55212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8" name="object 86"/>
          <p:cNvSpPr/>
          <p:nvPr/>
        </p:nvSpPr>
        <p:spPr>
          <a:xfrm>
            <a:off x="6251551" y="55023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9" name="object 74"/>
          <p:cNvSpPr/>
          <p:nvPr/>
        </p:nvSpPr>
        <p:spPr>
          <a:xfrm>
            <a:off x="2668469" y="519520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0" name="object 72"/>
          <p:cNvSpPr/>
          <p:nvPr/>
        </p:nvSpPr>
        <p:spPr>
          <a:xfrm>
            <a:off x="5959366" y="251737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40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80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1" name="object 70"/>
          <p:cNvSpPr/>
          <p:nvPr/>
        </p:nvSpPr>
        <p:spPr>
          <a:xfrm>
            <a:off x="5560113" y="213564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2" name="object 68"/>
          <p:cNvSpPr/>
          <p:nvPr/>
        </p:nvSpPr>
        <p:spPr>
          <a:xfrm>
            <a:off x="5148028" y="1723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3" name="object 66"/>
          <p:cNvSpPr/>
          <p:nvPr/>
        </p:nvSpPr>
        <p:spPr>
          <a:xfrm>
            <a:off x="6872003" y="34121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4" name="object 63"/>
          <p:cNvSpPr/>
          <p:nvPr/>
        </p:nvSpPr>
        <p:spPr>
          <a:xfrm>
            <a:off x="5880842" y="502152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6"/>
                </a:lnTo>
                <a:lnTo>
                  <a:pt x="1583" y="198179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6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2"/>
                </a:lnTo>
                <a:lnTo>
                  <a:pt x="49876" y="299561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6"/>
                </a:lnTo>
                <a:lnTo>
                  <a:pt x="196530" y="342926"/>
                </a:lnTo>
                <a:lnTo>
                  <a:pt x="209650" y="339004"/>
                </a:lnTo>
                <a:lnTo>
                  <a:pt x="222295" y="333936"/>
                </a:lnTo>
                <a:lnTo>
                  <a:pt x="234413" y="327778"/>
                </a:lnTo>
                <a:lnTo>
                  <a:pt x="245953" y="320583"/>
                </a:lnTo>
                <a:lnTo>
                  <a:pt x="256864" y="312409"/>
                </a:lnTo>
                <a:lnTo>
                  <a:pt x="267095" y="303311"/>
                </a:lnTo>
                <a:lnTo>
                  <a:pt x="276595" y="293343"/>
                </a:lnTo>
                <a:lnTo>
                  <a:pt x="285312" y="282562"/>
                </a:lnTo>
                <a:lnTo>
                  <a:pt x="293195" y="271023"/>
                </a:lnTo>
                <a:lnTo>
                  <a:pt x="300193" y="258781"/>
                </a:lnTo>
                <a:lnTo>
                  <a:pt x="306255" y="245892"/>
                </a:lnTo>
                <a:lnTo>
                  <a:pt x="311330" y="232411"/>
                </a:lnTo>
                <a:lnTo>
                  <a:pt x="315366" y="218394"/>
                </a:lnTo>
                <a:lnTo>
                  <a:pt x="318312" y="203896"/>
                </a:lnTo>
                <a:lnTo>
                  <a:pt x="320117" y="188973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9" y="93485"/>
                </a:lnTo>
                <a:lnTo>
                  <a:pt x="296006" y="80986"/>
                </a:lnTo>
                <a:lnTo>
                  <a:pt x="288459" y="69169"/>
                </a:lnTo>
                <a:lnTo>
                  <a:pt x="280058" y="58089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4"/>
                </a:lnTo>
                <a:lnTo>
                  <a:pt x="86318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5" name="object 62"/>
          <p:cNvSpPr/>
          <p:nvPr/>
        </p:nvSpPr>
        <p:spPr>
          <a:xfrm>
            <a:off x="4326962" y="34938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6" name="object 60"/>
          <p:cNvSpPr/>
          <p:nvPr/>
        </p:nvSpPr>
        <p:spPr>
          <a:xfrm>
            <a:off x="3451263" y="457102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7" name="object 58"/>
          <p:cNvSpPr/>
          <p:nvPr/>
        </p:nvSpPr>
        <p:spPr>
          <a:xfrm>
            <a:off x="7513462" y="204543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8" name="object 56"/>
          <p:cNvSpPr/>
          <p:nvPr/>
        </p:nvSpPr>
        <p:spPr>
          <a:xfrm>
            <a:off x="6553321" y="196196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9" name="object 54"/>
          <p:cNvSpPr/>
          <p:nvPr/>
        </p:nvSpPr>
        <p:spPr>
          <a:xfrm>
            <a:off x="7353097" y="275391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0" name="object 52"/>
          <p:cNvSpPr/>
          <p:nvPr/>
        </p:nvSpPr>
        <p:spPr>
          <a:xfrm>
            <a:off x="4696124" y="412086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1" name="object 50"/>
          <p:cNvSpPr/>
          <p:nvPr/>
        </p:nvSpPr>
        <p:spPr>
          <a:xfrm>
            <a:off x="4441297" y="46123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2" name="object 48"/>
          <p:cNvSpPr/>
          <p:nvPr/>
        </p:nvSpPr>
        <p:spPr>
          <a:xfrm>
            <a:off x="3130532" y="40499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3" name="object 42"/>
          <p:cNvSpPr/>
          <p:nvPr/>
        </p:nvSpPr>
        <p:spPr>
          <a:xfrm>
            <a:off x="5748103" y="33118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4" name="object 44"/>
          <p:cNvSpPr/>
          <p:nvPr/>
        </p:nvSpPr>
        <p:spPr>
          <a:xfrm>
            <a:off x="5560113" y="25802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5" name="object 46"/>
          <p:cNvSpPr/>
          <p:nvPr/>
        </p:nvSpPr>
        <p:spPr>
          <a:xfrm>
            <a:off x="5421508" y="296447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6" name="object 40"/>
          <p:cNvSpPr/>
          <p:nvPr/>
        </p:nvSpPr>
        <p:spPr>
          <a:xfrm>
            <a:off x="5213120" y="49216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7" name="object 38"/>
          <p:cNvSpPr/>
          <p:nvPr/>
        </p:nvSpPr>
        <p:spPr>
          <a:xfrm>
            <a:off x="7032365" y="221911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8" name="object 36"/>
          <p:cNvSpPr/>
          <p:nvPr/>
        </p:nvSpPr>
        <p:spPr>
          <a:xfrm>
            <a:off x="7385165" y="340218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6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7"/>
                </a:lnTo>
                <a:lnTo>
                  <a:pt x="310251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9" name="object 34"/>
          <p:cNvSpPr/>
          <p:nvPr/>
        </p:nvSpPr>
        <p:spPr>
          <a:xfrm>
            <a:off x="5038354" y="24830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0" name="object 32"/>
          <p:cNvSpPr/>
          <p:nvPr/>
        </p:nvSpPr>
        <p:spPr>
          <a:xfrm>
            <a:off x="7192732" y="159327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1" name="object 30"/>
          <p:cNvSpPr/>
          <p:nvPr/>
        </p:nvSpPr>
        <p:spPr>
          <a:xfrm>
            <a:off x="6201572" y="316997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2" name="object 28"/>
          <p:cNvSpPr/>
          <p:nvPr/>
        </p:nvSpPr>
        <p:spPr>
          <a:xfrm>
            <a:off x="4877989" y="532865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3" name="object 26"/>
          <p:cNvSpPr/>
          <p:nvPr/>
        </p:nvSpPr>
        <p:spPr>
          <a:xfrm>
            <a:off x="5581873" y="4521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4" name="object 24"/>
          <p:cNvSpPr/>
          <p:nvPr/>
        </p:nvSpPr>
        <p:spPr>
          <a:xfrm>
            <a:off x="3528670" y="35173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5" name="object 22"/>
          <p:cNvSpPr/>
          <p:nvPr/>
        </p:nvSpPr>
        <p:spPr>
          <a:xfrm>
            <a:off x="3252845" y="520650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6" name="object 20"/>
          <p:cNvSpPr/>
          <p:nvPr/>
        </p:nvSpPr>
        <p:spPr>
          <a:xfrm>
            <a:off x="3849401" y="4051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7" name="object 18"/>
          <p:cNvSpPr/>
          <p:nvPr/>
        </p:nvSpPr>
        <p:spPr>
          <a:xfrm>
            <a:off x="6713687" y="269105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8" name="object 6"/>
          <p:cNvSpPr txBox="1"/>
          <p:nvPr/>
        </p:nvSpPr>
        <p:spPr>
          <a:xfrm>
            <a:off x="1332125" y="3759280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grpSp>
        <p:nvGrpSpPr>
          <p:cNvPr id="129" name="Group 128"/>
          <p:cNvGrpSpPr/>
          <p:nvPr/>
        </p:nvGrpSpPr>
        <p:grpSpPr>
          <a:xfrm>
            <a:off x="2383438" y="1888930"/>
            <a:ext cx="6303362" cy="4054670"/>
            <a:chOff x="2343901" y="1923700"/>
            <a:chExt cx="6303362" cy="4054670"/>
          </a:xfrm>
        </p:grpSpPr>
        <p:sp>
          <p:nvSpPr>
            <p:cNvPr id="130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131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  <p:sp>
        <p:nvSpPr>
          <p:cNvPr id="132" name="object 69"/>
          <p:cNvSpPr/>
          <p:nvPr/>
        </p:nvSpPr>
        <p:spPr>
          <a:xfrm>
            <a:off x="5482207" y="2493252"/>
            <a:ext cx="565019" cy="625840"/>
          </a:xfrm>
          <a:custGeom>
            <a:avLst/>
            <a:gdLst/>
            <a:ahLst/>
            <a:cxnLst/>
            <a:rect l="l" t="t" r="r" b="b"/>
            <a:pathLst>
              <a:path w="565019" h="625840">
                <a:moveTo>
                  <a:pt x="0" y="0"/>
                </a:moveTo>
                <a:lnTo>
                  <a:pt x="0" y="625840"/>
                </a:lnTo>
                <a:lnTo>
                  <a:pt x="565019" y="625840"/>
                </a:lnTo>
                <a:lnTo>
                  <a:pt x="565019" y="0"/>
                </a:lnTo>
                <a:lnTo>
                  <a:pt x="0" y="0"/>
                </a:lnTo>
                <a:close/>
              </a:path>
            </a:pathLst>
          </a:custGeom>
          <a:solidFill>
            <a:srgbClr val="59B9D0">
              <a:alpha val="71000"/>
            </a:srgbClr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3" name="object 69"/>
          <p:cNvSpPr/>
          <p:nvPr/>
        </p:nvSpPr>
        <p:spPr>
          <a:xfrm>
            <a:off x="3681884" y="3841353"/>
            <a:ext cx="565019" cy="625840"/>
          </a:xfrm>
          <a:custGeom>
            <a:avLst/>
            <a:gdLst/>
            <a:ahLst/>
            <a:cxnLst/>
            <a:rect l="l" t="t" r="r" b="b"/>
            <a:pathLst>
              <a:path w="565019" h="625840">
                <a:moveTo>
                  <a:pt x="0" y="0"/>
                </a:moveTo>
                <a:lnTo>
                  <a:pt x="0" y="625840"/>
                </a:lnTo>
                <a:lnTo>
                  <a:pt x="565019" y="625840"/>
                </a:lnTo>
                <a:lnTo>
                  <a:pt x="565019" y="0"/>
                </a:lnTo>
                <a:lnTo>
                  <a:pt x="0" y="0"/>
                </a:lnTo>
                <a:close/>
              </a:path>
            </a:pathLst>
          </a:custGeom>
          <a:solidFill>
            <a:srgbClr val="CD665F">
              <a:alpha val="71000"/>
            </a:srgbClr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4" name="object 69"/>
          <p:cNvSpPr/>
          <p:nvPr/>
        </p:nvSpPr>
        <p:spPr>
          <a:xfrm>
            <a:off x="5676856" y="3139125"/>
            <a:ext cx="565019" cy="625840"/>
          </a:xfrm>
          <a:custGeom>
            <a:avLst/>
            <a:gdLst/>
            <a:ahLst/>
            <a:cxnLst/>
            <a:rect l="l" t="t" r="r" b="b"/>
            <a:pathLst>
              <a:path w="565019" h="625840">
                <a:moveTo>
                  <a:pt x="0" y="0"/>
                </a:moveTo>
                <a:lnTo>
                  <a:pt x="0" y="625840"/>
                </a:lnTo>
                <a:lnTo>
                  <a:pt x="565019" y="625840"/>
                </a:lnTo>
                <a:lnTo>
                  <a:pt x="565019" y="0"/>
                </a:lnTo>
                <a:lnTo>
                  <a:pt x="0" y="0"/>
                </a:lnTo>
                <a:close/>
              </a:path>
            </a:pathLst>
          </a:custGeom>
          <a:solidFill>
            <a:srgbClr val="AAC56C">
              <a:alpha val="71000"/>
            </a:srgbClr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9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" name="object 5"/>
          <p:cNvSpPr txBox="1"/>
          <p:nvPr/>
        </p:nvSpPr>
        <p:spPr>
          <a:xfrm>
            <a:off x="5426815" y="6116930"/>
            <a:ext cx="542241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latin typeface="Calibri"/>
                <a:cs typeface="Calibri"/>
              </a:rPr>
              <a:t>Age</a:t>
            </a:r>
            <a:endParaRPr sz="2400">
              <a:latin typeface="Calibri"/>
              <a:cs typeface="Calibri"/>
            </a:endParaRPr>
          </a:p>
        </p:txBody>
      </p:sp>
      <p:sp>
        <p:nvSpPr>
          <p:cNvPr id="99" name="object 5"/>
          <p:cNvSpPr txBox="1"/>
          <p:nvPr/>
        </p:nvSpPr>
        <p:spPr>
          <a:xfrm>
            <a:off x="2101916" y="369650"/>
            <a:ext cx="6889684" cy="807913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 marR="41909">
              <a:lnSpc>
                <a:spcPts val="3454"/>
              </a:lnSpc>
              <a:spcBef>
                <a:spcPts val="172"/>
              </a:spcBef>
            </a:pPr>
            <a:r>
              <a:rPr lang="en-US" sz="4800" baseline="2560" dirty="0">
                <a:solidFill>
                  <a:srgbClr val="4E81BC"/>
                </a:solidFill>
                <a:latin typeface="+mj-lt"/>
                <a:cs typeface="Calibri"/>
              </a:rPr>
              <a:t>Mean </a:t>
            </a:r>
            <a:r>
              <a:rPr lang="en-US" sz="4800" baseline="2560" dirty="0" smtClean="0">
                <a:solidFill>
                  <a:srgbClr val="4E81BC"/>
                </a:solidFill>
                <a:latin typeface="+mj-lt"/>
                <a:cs typeface="Calibri"/>
              </a:rPr>
              <a:t>Shift</a:t>
            </a:r>
            <a:endParaRPr sz="3200" dirty="0">
              <a:latin typeface="+mj-lt"/>
              <a:cs typeface="Calibri"/>
            </a:endParaRPr>
          </a:p>
          <a:p>
            <a:pPr marL="12700">
              <a:lnSpc>
                <a:spcPts val="2770"/>
              </a:lnSpc>
            </a:pPr>
            <a:r>
              <a:rPr lang="en-US" sz="3200" baseline="1137" dirty="0" smtClean="0">
                <a:solidFill>
                  <a:srgbClr val="7F7E7E"/>
                </a:solidFill>
                <a:cs typeface="Calibri"/>
              </a:rPr>
              <a:t>Search for local density maximum</a:t>
            </a:r>
            <a:endParaRPr lang="en-US" sz="3200" baseline="1137" dirty="0">
              <a:solidFill>
                <a:srgbClr val="7F7E7E"/>
              </a:solidFill>
              <a:cs typeface="Calibri"/>
            </a:endParaRPr>
          </a:p>
        </p:txBody>
      </p:sp>
      <p:sp>
        <p:nvSpPr>
          <p:cNvPr id="100" name="object 82"/>
          <p:cNvSpPr/>
          <p:nvPr/>
        </p:nvSpPr>
        <p:spPr>
          <a:xfrm>
            <a:off x="4414372" y="54871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1" name="object 84"/>
          <p:cNvSpPr/>
          <p:nvPr/>
        </p:nvSpPr>
        <p:spPr>
          <a:xfrm>
            <a:off x="5399747" y="55212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2" name="object 86"/>
          <p:cNvSpPr/>
          <p:nvPr/>
        </p:nvSpPr>
        <p:spPr>
          <a:xfrm>
            <a:off x="6251551" y="55023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3" name="object 74"/>
          <p:cNvSpPr/>
          <p:nvPr/>
        </p:nvSpPr>
        <p:spPr>
          <a:xfrm>
            <a:off x="2668469" y="519520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4" name="object 72"/>
          <p:cNvSpPr/>
          <p:nvPr/>
        </p:nvSpPr>
        <p:spPr>
          <a:xfrm>
            <a:off x="5959366" y="251737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40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80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5" name="object 70"/>
          <p:cNvSpPr/>
          <p:nvPr/>
        </p:nvSpPr>
        <p:spPr>
          <a:xfrm>
            <a:off x="5560113" y="213564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6" name="object 68"/>
          <p:cNvSpPr/>
          <p:nvPr/>
        </p:nvSpPr>
        <p:spPr>
          <a:xfrm>
            <a:off x="5148028" y="1723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7" name="object 66"/>
          <p:cNvSpPr/>
          <p:nvPr/>
        </p:nvSpPr>
        <p:spPr>
          <a:xfrm>
            <a:off x="6872003" y="34121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8" name="object 63"/>
          <p:cNvSpPr/>
          <p:nvPr/>
        </p:nvSpPr>
        <p:spPr>
          <a:xfrm>
            <a:off x="5880842" y="502152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6"/>
                </a:lnTo>
                <a:lnTo>
                  <a:pt x="1583" y="198179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6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2"/>
                </a:lnTo>
                <a:lnTo>
                  <a:pt x="49876" y="299561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6"/>
                </a:lnTo>
                <a:lnTo>
                  <a:pt x="196530" y="342926"/>
                </a:lnTo>
                <a:lnTo>
                  <a:pt x="209650" y="339004"/>
                </a:lnTo>
                <a:lnTo>
                  <a:pt x="222295" y="333936"/>
                </a:lnTo>
                <a:lnTo>
                  <a:pt x="234413" y="327778"/>
                </a:lnTo>
                <a:lnTo>
                  <a:pt x="245953" y="320583"/>
                </a:lnTo>
                <a:lnTo>
                  <a:pt x="256864" y="312409"/>
                </a:lnTo>
                <a:lnTo>
                  <a:pt x="267095" y="303311"/>
                </a:lnTo>
                <a:lnTo>
                  <a:pt x="276595" y="293343"/>
                </a:lnTo>
                <a:lnTo>
                  <a:pt x="285312" y="282562"/>
                </a:lnTo>
                <a:lnTo>
                  <a:pt x="293195" y="271023"/>
                </a:lnTo>
                <a:lnTo>
                  <a:pt x="300193" y="258781"/>
                </a:lnTo>
                <a:lnTo>
                  <a:pt x="306255" y="245892"/>
                </a:lnTo>
                <a:lnTo>
                  <a:pt x="311330" y="232411"/>
                </a:lnTo>
                <a:lnTo>
                  <a:pt x="315366" y="218394"/>
                </a:lnTo>
                <a:lnTo>
                  <a:pt x="318312" y="203896"/>
                </a:lnTo>
                <a:lnTo>
                  <a:pt x="320117" y="188973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9" y="93485"/>
                </a:lnTo>
                <a:lnTo>
                  <a:pt x="296006" y="80986"/>
                </a:lnTo>
                <a:lnTo>
                  <a:pt x="288459" y="69169"/>
                </a:lnTo>
                <a:lnTo>
                  <a:pt x="280058" y="58089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4"/>
                </a:lnTo>
                <a:lnTo>
                  <a:pt x="86318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9" name="object 62"/>
          <p:cNvSpPr/>
          <p:nvPr/>
        </p:nvSpPr>
        <p:spPr>
          <a:xfrm>
            <a:off x="4326962" y="34938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0" name="object 60"/>
          <p:cNvSpPr/>
          <p:nvPr/>
        </p:nvSpPr>
        <p:spPr>
          <a:xfrm>
            <a:off x="3451263" y="457102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1" name="object 58"/>
          <p:cNvSpPr/>
          <p:nvPr/>
        </p:nvSpPr>
        <p:spPr>
          <a:xfrm>
            <a:off x="7513462" y="204543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2" name="object 56"/>
          <p:cNvSpPr/>
          <p:nvPr/>
        </p:nvSpPr>
        <p:spPr>
          <a:xfrm>
            <a:off x="6553321" y="196196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3" name="object 54"/>
          <p:cNvSpPr/>
          <p:nvPr/>
        </p:nvSpPr>
        <p:spPr>
          <a:xfrm>
            <a:off x="7353097" y="275391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4" name="object 52"/>
          <p:cNvSpPr/>
          <p:nvPr/>
        </p:nvSpPr>
        <p:spPr>
          <a:xfrm>
            <a:off x="4696124" y="412086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5" name="object 50"/>
          <p:cNvSpPr/>
          <p:nvPr/>
        </p:nvSpPr>
        <p:spPr>
          <a:xfrm>
            <a:off x="4441297" y="46123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6" name="object 48"/>
          <p:cNvSpPr/>
          <p:nvPr/>
        </p:nvSpPr>
        <p:spPr>
          <a:xfrm>
            <a:off x="3130532" y="40499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7" name="object 42"/>
          <p:cNvSpPr/>
          <p:nvPr/>
        </p:nvSpPr>
        <p:spPr>
          <a:xfrm>
            <a:off x="5748103" y="33118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8" name="object 44"/>
          <p:cNvSpPr/>
          <p:nvPr/>
        </p:nvSpPr>
        <p:spPr>
          <a:xfrm>
            <a:off x="5560113" y="25802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9" name="object 46"/>
          <p:cNvSpPr/>
          <p:nvPr/>
        </p:nvSpPr>
        <p:spPr>
          <a:xfrm>
            <a:off x="5421508" y="296447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0" name="object 40"/>
          <p:cNvSpPr/>
          <p:nvPr/>
        </p:nvSpPr>
        <p:spPr>
          <a:xfrm>
            <a:off x="5213120" y="49216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1" name="object 38"/>
          <p:cNvSpPr/>
          <p:nvPr/>
        </p:nvSpPr>
        <p:spPr>
          <a:xfrm>
            <a:off x="7032365" y="221911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2" name="object 36"/>
          <p:cNvSpPr/>
          <p:nvPr/>
        </p:nvSpPr>
        <p:spPr>
          <a:xfrm>
            <a:off x="7385165" y="340218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6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7"/>
                </a:lnTo>
                <a:lnTo>
                  <a:pt x="310251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3" name="object 34"/>
          <p:cNvSpPr/>
          <p:nvPr/>
        </p:nvSpPr>
        <p:spPr>
          <a:xfrm>
            <a:off x="5038354" y="24830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4" name="object 32"/>
          <p:cNvSpPr/>
          <p:nvPr/>
        </p:nvSpPr>
        <p:spPr>
          <a:xfrm>
            <a:off x="7192732" y="159327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5" name="object 30"/>
          <p:cNvSpPr/>
          <p:nvPr/>
        </p:nvSpPr>
        <p:spPr>
          <a:xfrm>
            <a:off x="6201572" y="316997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6" name="object 28"/>
          <p:cNvSpPr/>
          <p:nvPr/>
        </p:nvSpPr>
        <p:spPr>
          <a:xfrm>
            <a:off x="4877989" y="532865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7" name="object 26"/>
          <p:cNvSpPr/>
          <p:nvPr/>
        </p:nvSpPr>
        <p:spPr>
          <a:xfrm>
            <a:off x="5581873" y="4521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8" name="object 24"/>
          <p:cNvSpPr/>
          <p:nvPr/>
        </p:nvSpPr>
        <p:spPr>
          <a:xfrm>
            <a:off x="3528670" y="35173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9" name="object 22"/>
          <p:cNvSpPr/>
          <p:nvPr/>
        </p:nvSpPr>
        <p:spPr>
          <a:xfrm>
            <a:off x="3252845" y="520650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0" name="object 20"/>
          <p:cNvSpPr/>
          <p:nvPr/>
        </p:nvSpPr>
        <p:spPr>
          <a:xfrm>
            <a:off x="3849401" y="4051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1" name="object 18"/>
          <p:cNvSpPr/>
          <p:nvPr/>
        </p:nvSpPr>
        <p:spPr>
          <a:xfrm>
            <a:off x="6713687" y="269105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2" name="object 6"/>
          <p:cNvSpPr txBox="1"/>
          <p:nvPr/>
        </p:nvSpPr>
        <p:spPr>
          <a:xfrm>
            <a:off x="1332125" y="3759280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grpSp>
        <p:nvGrpSpPr>
          <p:cNvPr id="133" name="Group 132"/>
          <p:cNvGrpSpPr/>
          <p:nvPr/>
        </p:nvGrpSpPr>
        <p:grpSpPr>
          <a:xfrm>
            <a:off x="2383438" y="1888930"/>
            <a:ext cx="6303362" cy="4054670"/>
            <a:chOff x="2343901" y="1923700"/>
            <a:chExt cx="6303362" cy="4054670"/>
          </a:xfrm>
        </p:grpSpPr>
        <p:sp>
          <p:nvSpPr>
            <p:cNvPr id="134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135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  <p:sp>
        <p:nvSpPr>
          <p:cNvPr id="136" name="object 69"/>
          <p:cNvSpPr/>
          <p:nvPr/>
        </p:nvSpPr>
        <p:spPr>
          <a:xfrm>
            <a:off x="5482207" y="2493252"/>
            <a:ext cx="565019" cy="625840"/>
          </a:xfrm>
          <a:custGeom>
            <a:avLst/>
            <a:gdLst/>
            <a:ahLst/>
            <a:cxnLst/>
            <a:rect l="l" t="t" r="r" b="b"/>
            <a:pathLst>
              <a:path w="565019" h="625840">
                <a:moveTo>
                  <a:pt x="0" y="0"/>
                </a:moveTo>
                <a:lnTo>
                  <a:pt x="0" y="625840"/>
                </a:lnTo>
                <a:lnTo>
                  <a:pt x="565019" y="625840"/>
                </a:lnTo>
                <a:lnTo>
                  <a:pt x="565019" y="0"/>
                </a:lnTo>
                <a:lnTo>
                  <a:pt x="0" y="0"/>
                </a:lnTo>
                <a:close/>
              </a:path>
            </a:pathLst>
          </a:custGeom>
          <a:solidFill>
            <a:srgbClr val="59B9D0">
              <a:alpha val="71000"/>
            </a:srgbClr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7" name="object 69"/>
          <p:cNvSpPr/>
          <p:nvPr/>
        </p:nvSpPr>
        <p:spPr>
          <a:xfrm>
            <a:off x="3681884" y="3841353"/>
            <a:ext cx="565019" cy="625840"/>
          </a:xfrm>
          <a:custGeom>
            <a:avLst/>
            <a:gdLst/>
            <a:ahLst/>
            <a:cxnLst/>
            <a:rect l="l" t="t" r="r" b="b"/>
            <a:pathLst>
              <a:path w="565019" h="625840">
                <a:moveTo>
                  <a:pt x="0" y="0"/>
                </a:moveTo>
                <a:lnTo>
                  <a:pt x="0" y="625840"/>
                </a:lnTo>
                <a:lnTo>
                  <a:pt x="565019" y="625840"/>
                </a:lnTo>
                <a:lnTo>
                  <a:pt x="565019" y="0"/>
                </a:lnTo>
                <a:lnTo>
                  <a:pt x="0" y="0"/>
                </a:lnTo>
                <a:close/>
              </a:path>
            </a:pathLst>
          </a:custGeom>
          <a:solidFill>
            <a:srgbClr val="CD665F">
              <a:alpha val="71000"/>
            </a:srgbClr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8" name="object 69"/>
          <p:cNvSpPr/>
          <p:nvPr/>
        </p:nvSpPr>
        <p:spPr>
          <a:xfrm>
            <a:off x="5676856" y="2951823"/>
            <a:ext cx="565019" cy="625840"/>
          </a:xfrm>
          <a:custGeom>
            <a:avLst/>
            <a:gdLst/>
            <a:ahLst/>
            <a:cxnLst/>
            <a:rect l="l" t="t" r="r" b="b"/>
            <a:pathLst>
              <a:path w="565019" h="625840">
                <a:moveTo>
                  <a:pt x="0" y="0"/>
                </a:moveTo>
                <a:lnTo>
                  <a:pt x="0" y="625840"/>
                </a:lnTo>
                <a:lnTo>
                  <a:pt x="565019" y="625840"/>
                </a:lnTo>
                <a:lnTo>
                  <a:pt x="565019" y="0"/>
                </a:lnTo>
                <a:lnTo>
                  <a:pt x="0" y="0"/>
                </a:lnTo>
                <a:close/>
              </a:path>
            </a:pathLst>
          </a:custGeom>
          <a:solidFill>
            <a:srgbClr val="AAC56C">
              <a:alpha val="71000"/>
            </a:srgbClr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9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" name="object 5"/>
          <p:cNvSpPr txBox="1"/>
          <p:nvPr/>
        </p:nvSpPr>
        <p:spPr>
          <a:xfrm>
            <a:off x="5426815" y="6116930"/>
            <a:ext cx="542241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latin typeface="Calibri"/>
                <a:cs typeface="Calibri"/>
              </a:rPr>
              <a:t>Age</a:t>
            </a:r>
            <a:endParaRPr sz="2400">
              <a:latin typeface="Calibri"/>
              <a:cs typeface="Calibri"/>
            </a:endParaRPr>
          </a:p>
        </p:txBody>
      </p:sp>
      <p:sp>
        <p:nvSpPr>
          <p:cNvPr id="99" name="object 5"/>
          <p:cNvSpPr txBox="1"/>
          <p:nvPr/>
        </p:nvSpPr>
        <p:spPr>
          <a:xfrm>
            <a:off x="2101916" y="369650"/>
            <a:ext cx="6889684" cy="807913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 marR="41909">
              <a:lnSpc>
                <a:spcPts val="3454"/>
              </a:lnSpc>
              <a:spcBef>
                <a:spcPts val="172"/>
              </a:spcBef>
            </a:pPr>
            <a:r>
              <a:rPr lang="en-US" sz="4800" baseline="2560" dirty="0">
                <a:solidFill>
                  <a:srgbClr val="4E81BC"/>
                </a:solidFill>
                <a:latin typeface="+mj-lt"/>
                <a:cs typeface="Calibri"/>
              </a:rPr>
              <a:t>Mean </a:t>
            </a:r>
            <a:r>
              <a:rPr lang="en-US" sz="4800" baseline="2560" dirty="0" smtClean="0">
                <a:solidFill>
                  <a:srgbClr val="4E81BC"/>
                </a:solidFill>
                <a:latin typeface="+mj-lt"/>
                <a:cs typeface="Calibri"/>
              </a:rPr>
              <a:t>Shift</a:t>
            </a:r>
            <a:endParaRPr sz="3200" dirty="0">
              <a:latin typeface="+mj-lt"/>
              <a:cs typeface="Calibri"/>
            </a:endParaRPr>
          </a:p>
          <a:p>
            <a:pPr marL="12700">
              <a:lnSpc>
                <a:spcPts val="2770"/>
              </a:lnSpc>
            </a:pPr>
            <a:r>
              <a:rPr lang="en-US" sz="3200" baseline="1137" dirty="0" smtClean="0">
                <a:solidFill>
                  <a:srgbClr val="7F7E7E"/>
                </a:solidFill>
                <a:cs typeface="Calibri"/>
              </a:rPr>
              <a:t>Search for local density maximum</a:t>
            </a:r>
            <a:endParaRPr lang="en-US" sz="3200" baseline="1137" dirty="0">
              <a:solidFill>
                <a:srgbClr val="7F7E7E"/>
              </a:solidFill>
              <a:cs typeface="Calibri"/>
            </a:endParaRPr>
          </a:p>
        </p:txBody>
      </p:sp>
      <p:sp>
        <p:nvSpPr>
          <p:cNvPr id="100" name="object 82"/>
          <p:cNvSpPr/>
          <p:nvPr/>
        </p:nvSpPr>
        <p:spPr>
          <a:xfrm>
            <a:off x="4414372" y="54871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1" name="object 84"/>
          <p:cNvSpPr/>
          <p:nvPr/>
        </p:nvSpPr>
        <p:spPr>
          <a:xfrm>
            <a:off x="5399747" y="55212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2" name="object 86"/>
          <p:cNvSpPr/>
          <p:nvPr/>
        </p:nvSpPr>
        <p:spPr>
          <a:xfrm>
            <a:off x="6251551" y="55023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3" name="object 74"/>
          <p:cNvSpPr/>
          <p:nvPr/>
        </p:nvSpPr>
        <p:spPr>
          <a:xfrm>
            <a:off x="2668469" y="519520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4" name="object 72"/>
          <p:cNvSpPr/>
          <p:nvPr/>
        </p:nvSpPr>
        <p:spPr>
          <a:xfrm>
            <a:off x="5959366" y="251737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40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80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5" name="object 70"/>
          <p:cNvSpPr/>
          <p:nvPr/>
        </p:nvSpPr>
        <p:spPr>
          <a:xfrm>
            <a:off x="5560113" y="213564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6" name="object 68"/>
          <p:cNvSpPr/>
          <p:nvPr/>
        </p:nvSpPr>
        <p:spPr>
          <a:xfrm>
            <a:off x="5148028" y="1723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7" name="object 66"/>
          <p:cNvSpPr/>
          <p:nvPr/>
        </p:nvSpPr>
        <p:spPr>
          <a:xfrm>
            <a:off x="6872003" y="34121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8" name="object 63"/>
          <p:cNvSpPr/>
          <p:nvPr/>
        </p:nvSpPr>
        <p:spPr>
          <a:xfrm>
            <a:off x="5880842" y="502152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6"/>
                </a:lnTo>
                <a:lnTo>
                  <a:pt x="1583" y="198179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6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2"/>
                </a:lnTo>
                <a:lnTo>
                  <a:pt x="49876" y="299561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6"/>
                </a:lnTo>
                <a:lnTo>
                  <a:pt x="196530" y="342926"/>
                </a:lnTo>
                <a:lnTo>
                  <a:pt x="209650" y="339004"/>
                </a:lnTo>
                <a:lnTo>
                  <a:pt x="222295" y="333936"/>
                </a:lnTo>
                <a:lnTo>
                  <a:pt x="234413" y="327778"/>
                </a:lnTo>
                <a:lnTo>
                  <a:pt x="245953" y="320583"/>
                </a:lnTo>
                <a:lnTo>
                  <a:pt x="256864" y="312409"/>
                </a:lnTo>
                <a:lnTo>
                  <a:pt x="267095" y="303311"/>
                </a:lnTo>
                <a:lnTo>
                  <a:pt x="276595" y="293343"/>
                </a:lnTo>
                <a:lnTo>
                  <a:pt x="285312" y="282562"/>
                </a:lnTo>
                <a:lnTo>
                  <a:pt x="293195" y="271023"/>
                </a:lnTo>
                <a:lnTo>
                  <a:pt x="300193" y="258781"/>
                </a:lnTo>
                <a:lnTo>
                  <a:pt x="306255" y="245892"/>
                </a:lnTo>
                <a:lnTo>
                  <a:pt x="311330" y="232411"/>
                </a:lnTo>
                <a:lnTo>
                  <a:pt x="315366" y="218394"/>
                </a:lnTo>
                <a:lnTo>
                  <a:pt x="318312" y="203896"/>
                </a:lnTo>
                <a:lnTo>
                  <a:pt x="320117" y="188973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9" y="93485"/>
                </a:lnTo>
                <a:lnTo>
                  <a:pt x="296006" y="80986"/>
                </a:lnTo>
                <a:lnTo>
                  <a:pt x="288459" y="69169"/>
                </a:lnTo>
                <a:lnTo>
                  <a:pt x="280058" y="58089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4"/>
                </a:lnTo>
                <a:lnTo>
                  <a:pt x="86318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9" name="object 62"/>
          <p:cNvSpPr/>
          <p:nvPr/>
        </p:nvSpPr>
        <p:spPr>
          <a:xfrm>
            <a:off x="4326962" y="34938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0" name="object 60"/>
          <p:cNvSpPr/>
          <p:nvPr/>
        </p:nvSpPr>
        <p:spPr>
          <a:xfrm>
            <a:off x="3451263" y="457102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1" name="object 58"/>
          <p:cNvSpPr/>
          <p:nvPr/>
        </p:nvSpPr>
        <p:spPr>
          <a:xfrm>
            <a:off x="7513462" y="204543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2" name="object 56"/>
          <p:cNvSpPr/>
          <p:nvPr/>
        </p:nvSpPr>
        <p:spPr>
          <a:xfrm>
            <a:off x="6553321" y="196196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3" name="object 54"/>
          <p:cNvSpPr/>
          <p:nvPr/>
        </p:nvSpPr>
        <p:spPr>
          <a:xfrm>
            <a:off x="7353097" y="275391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4" name="object 52"/>
          <p:cNvSpPr/>
          <p:nvPr/>
        </p:nvSpPr>
        <p:spPr>
          <a:xfrm>
            <a:off x="4696124" y="412086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5" name="object 50"/>
          <p:cNvSpPr/>
          <p:nvPr/>
        </p:nvSpPr>
        <p:spPr>
          <a:xfrm>
            <a:off x="4441297" y="46123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6" name="object 48"/>
          <p:cNvSpPr/>
          <p:nvPr/>
        </p:nvSpPr>
        <p:spPr>
          <a:xfrm>
            <a:off x="3130532" y="40499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7" name="object 42"/>
          <p:cNvSpPr/>
          <p:nvPr/>
        </p:nvSpPr>
        <p:spPr>
          <a:xfrm>
            <a:off x="5748103" y="33118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8" name="object 44"/>
          <p:cNvSpPr/>
          <p:nvPr/>
        </p:nvSpPr>
        <p:spPr>
          <a:xfrm>
            <a:off x="5560113" y="25802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9" name="object 46"/>
          <p:cNvSpPr/>
          <p:nvPr/>
        </p:nvSpPr>
        <p:spPr>
          <a:xfrm>
            <a:off x="5421508" y="296447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0" name="object 40"/>
          <p:cNvSpPr/>
          <p:nvPr/>
        </p:nvSpPr>
        <p:spPr>
          <a:xfrm>
            <a:off x="5213120" y="49216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1" name="object 38"/>
          <p:cNvSpPr/>
          <p:nvPr/>
        </p:nvSpPr>
        <p:spPr>
          <a:xfrm>
            <a:off x="7032365" y="221911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2" name="object 36"/>
          <p:cNvSpPr/>
          <p:nvPr/>
        </p:nvSpPr>
        <p:spPr>
          <a:xfrm>
            <a:off x="7385165" y="340218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6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7"/>
                </a:lnTo>
                <a:lnTo>
                  <a:pt x="310251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3" name="object 34"/>
          <p:cNvSpPr/>
          <p:nvPr/>
        </p:nvSpPr>
        <p:spPr>
          <a:xfrm>
            <a:off x="5038354" y="24830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4" name="object 32"/>
          <p:cNvSpPr/>
          <p:nvPr/>
        </p:nvSpPr>
        <p:spPr>
          <a:xfrm>
            <a:off x="7192732" y="159327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5" name="object 30"/>
          <p:cNvSpPr/>
          <p:nvPr/>
        </p:nvSpPr>
        <p:spPr>
          <a:xfrm>
            <a:off x="6201572" y="316997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6" name="object 28"/>
          <p:cNvSpPr/>
          <p:nvPr/>
        </p:nvSpPr>
        <p:spPr>
          <a:xfrm>
            <a:off x="4877989" y="532865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7" name="object 26"/>
          <p:cNvSpPr/>
          <p:nvPr/>
        </p:nvSpPr>
        <p:spPr>
          <a:xfrm>
            <a:off x="5581873" y="4521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8" name="object 24"/>
          <p:cNvSpPr/>
          <p:nvPr/>
        </p:nvSpPr>
        <p:spPr>
          <a:xfrm>
            <a:off x="3528670" y="35173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9" name="object 22"/>
          <p:cNvSpPr/>
          <p:nvPr/>
        </p:nvSpPr>
        <p:spPr>
          <a:xfrm>
            <a:off x="3252845" y="520650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0" name="object 20"/>
          <p:cNvSpPr/>
          <p:nvPr/>
        </p:nvSpPr>
        <p:spPr>
          <a:xfrm>
            <a:off x="3849401" y="4051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1" name="object 18"/>
          <p:cNvSpPr/>
          <p:nvPr/>
        </p:nvSpPr>
        <p:spPr>
          <a:xfrm>
            <a:off x="6713687" y="269105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2" name="object 6"/>
          <p:cNvSpPr txBox="1"/>
          <p:nvPr/>
        </p:nvSpPr>
        <p:spPr>
          <a:xfrm>
            <a:off x="1332125" y="3759280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grpSp>
        <p:nvGrpSpPr>
          <p:cNvPr id="133" name="Group 132"/>
          <p:cNvGrpSpPr/>
          <p:nvPr/>
        </p:nvGrpSpPr>
        <p:grpSpPr>
          <a:xfrm>
            <a:off x="2383438" y="1888930"/>
            <a:ext cx="6303362" cy="4054670"/>
            <a:chOff x="2343901" y="1923700"/>
            <a:chExt cx="6303362" cy="4054670"/>
          </a:xfrm>
        </p:grpSpPr>
        <p:sp>
          <p:nvSpPr>
            <p:cNvPr id="134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135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  <p:sp>
        <p:nvSpPr>
          <p:cNvPr id="136" name="object 69"/>
          <p:cNvSpPr/>
          <p:nvPr/>
        </p:nvSpPr>
        <p:spPr>
          <a:xfrm>
            <a:off x="5482207" y="2493252"/>
            <a:ext cx="565019" cy="625840"/>
          </a:xfrm>
          <a:custGeom>
            <a:avLst/>
            <a:gdLst/>
            <a:ahLst/>
            <a:cxnLst/>
            <a:rect l="l" t="t" r="r" b="b"/>
            <a:pathLst>
              <a:path w="565019" h="625840">
                <a:moveTo>
                  <a:pt x="0" y="0"/>
                </a:moveTo>
                <a:lnTo>
                  <a:pt x="0" y="625840"/>
                </a:lnTo>
                <a:lnTo>
                  <a:pt x="565019" y="625840"/>
                </a:lnTo>
                <a:lnTo>
                  <a:pt x="565019" y="0"/>
                </a:lnTo>
                <a:lnTo>
                  <a:pt x="0" y="0"/>
                </a:lnTo>
                <a:close/>
              </a:path>
            </a:pathLst>
          </a:custGeom>
          <a:solidFill>
            <a:srgbClr val="59B9D0">
              <a:alpha val="71000"/>
            </a:srgbClr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7" name="object 69"/>
          <p:cNvSpPr/>
          <p:nvPr/>
        </p:nvSpPr>
        <p:spPr>
          <a:xfrm>
            <a:off x="3681884" y="3841353"/>
            <a:ext cx="565019" cy="625840"/>
          </a:xfrm>
          <a:custGeom>
            <a:avLst/>
            <a:gdLst/>
            <a:ahLst/>
            <a:cxnLst/>
            <a:rect l="l" t="t" r="r" b="b"/>
            <a:pathLst>
              <a:path w="565019" h="625840">
                <a:moveTo>
                  <a:pt x="0" y="0"/>
                </a:moveTo>
                <a:lnTo>
                  <a:pt x="0" y="625840"/>
                </a:lnTo>
                <a:lnTo>
                  <a:pt x="565019" y="625840"/>
                </a:lnTo>
                <a:lnTo>
                  <a:pt x="565019" y="0"/>
                </a:lnTo>
                <a:lnTo>
                  <a:pt x="0" y="0"/>
                </a:lnTo>
                <a:close/>
              </a:path>
            </a:pathLst>
          </a:custGeom>
          <a:solidFill>
            <a:srgbClr val="CD665F">
              <a:alpha val="71000"/>
            </a:srgbClr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8" name="object 69"/>
          <p:cNvSpPr/>
          <p:nvPr/>
        </p:nvSpPr>
        <p:spPr>
          <a:xfrm>
            <a:off x="5556291" y="2788113"/>
            <a:ext cx="565019" cy="625840"/>
          </a:xfrm>
          <a:custGeom>
            <a:avLst/>
            <a:gdLst/>
            <a:ahLst/>
            <a:cxnLst/>
            <a:rect l="l" t="t" r="r" b="b"/>
            <a:pathLst>
              <a:path w="565019" h="625840">
                <a:moveTo>
                  <a:pt x="0" y="0"/>
                </a:moveTo>
                <a:lnTo>
                  <a:pt x="0" y="625840"/>
                </a:lnTo>
                <a:lnTo>
                  <a:pt x="565019" y="625840"/>
                </a:lnTo>
                <a:lnTo>
                  <a:pt x="565019" y="0"/>
                </a:lnTo>
                <a:lnTo>
                  <a:pt x="0" y="0"/>
                </a:lnTo>
                <a:close/>
              </a:path>
            </a:pathLst>
          </a:custGeom>
          <a:solidFill>
            <a:srgbClr val="AAC56C">
              <a:alpha val="71000"/>
            </a:srgbClr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9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" name="object 5"/>
          <p:cNvSpPr txBox="1"/>
          <p:nvPr/>
        </p:nvSpPr>
        <p:spPr>
          <a:xfrm>
            <a:off x="5426815" y="6116930"/>
            <a:ext cx="542241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latin typeface="Calibri"/>
                <a:cs typeface="Calibri"/>
              </a:rPr>
              <a:t>Age</a:t>
            </a:r>
            <a:endParaRPr sz="2400">
              <a:latin typeface="Calibri"/>
              <a:cs typeface="Calibri"/>
            </a:endParaRPr>
          </a:p>
        </p:txBody>
      </p:sp>
      <p:sp>
        <p:nvSpPr>
          <p:cNvPr id="99" name="object 5"/>
          <p:cNvSpPr txBox="1"/>
          <p:nvPr/>
        </p:nvSpPr>
        <p:spPr>
          <a:xfrm>
            <a:off x="2101916" y="369650"/>
            <a:ext cx="6889684" cy="807913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 marR="41909">
              <a:lnSpc>
                <a:spcPts val="3454"/>
              </a:lnSpc>
              <a:spcBef>
                <a:spcPts val="172"/>
              </a:spcBef>
            </a:pPr>
            <a:r>
              <a:rPr lang="en-US" sz="4800" baseline="2560" dirty="0">
                <a:solidFill>
                  <a:srgbClr val="4E81BC"/>
                </a:solidFill>
                <a:latin typeface="+mj-lt"/>
                <a:cs typeface="Calibri"/>
              </a:rPr>
              <a:t>Mean </a:t>
            </a:r>
            <a:r>
              <a:rPr lang="en-US" sz="4800" baseline="2560" dirty="0" smtClean="0">
                <a:solidFill>
                  <a:srgbClr val="4E81BC"/>
                </a:solidFill>
                <a:latin typeface="+mj-lt"/>
                <a:cs typeface="Calibri"/>
              </a:rPr>
              <a:t>Shift</a:t>
            </a:r>
            <a:endParaRPr sz="3200" dirty="0">
              <a:latin typeface="+mj-lt"/>
              <a:cs typeface="Calibri"/>
            </a:endParaRPr>
          </a:p>
          <a:p>
            <a:pPr marL="12700">
              <a:lnSpc>
                <a:spcPts val="2770"/>
              </a:lnSpc>
            </a:pPr>
            <a:r>
              <a:rPr lang="en-US" sz="3200" baseline="1137" dirty="0" smtClean="0">
                <a:solidFill>
                  <a:srgbClr val="7F7E7E"/>
                </a:solidFill>
                <a:cs typeface="Calibri"/>
              </a:rPr>
              <a:t>Found same maximum, same cluster</a:t>
            </a:r>
            <a:endParaRPr lang="en-US" sz="3200" baseline="1137" dirty="0">
              <a:solidFill>
                <a:srgbClr val="7F7E7E"/>
              </a:solidFill>
              <a:cs typeface="Calibri"/>
            </a:endParaRPr>
          </a:p>
        </p:txBody>
      </p:sp>
      <p:sp>
        <p:nvSpPr>
          <p:cNvPr id="100" name="object 82"/>
          <p:cNvSpPr/>
          <p:nvPr/>
        </p:nvSpPr>
        <p:spPr>
          <a:xfrm>
            <a:off x="4414372" y="54871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1" name="object 84"/>
          <p:cNvSpPr/>
          <p:nvPr/>
        </p:nvSpPr>
        <p:spPr>
          <a:xfrm>
            <a:off x="5399747" y="55212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2" name="object 86"/>
          <p:cNvSpPr/>
          <p:nvPr/>
        </p:nvSpPr>
        <p:spPr>
          <a:xfrm>
            <a:off x="6251551" y="55023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3" name="object 74"/>
          <p:cNvSpPr/>
          <p:nvPr/>
        </p:nvSpPr>
        <p:spPr>
          <a:xfrm>
            <a:off x="2668469" y="519520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4" name="object 72"/>
          <p:cNvSpPr/>
          <p:nvPr/>
        </p:nvSpPr>
        <p:spPr>
          <a:xfrm>
            <a:off x="5959366" y="251737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40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80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5" name="object 70"/>
          <p:cNvSpPr/>
          <p:nvPr/>
        </p:nvSpPr>
        <p:spPr>
          <a:xfrm>
            <a:off x="5560113" y="213564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6" name="object 68"/>
          <p:cNvSpPr/>
          <p:nvPr/>
        </p:nvSpPr>
        <p:spPr>
          <a:xfrm>
            <a:off x="5148028" y="1723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7" name="object 66"/>
          <p:cNvSpPr/>
          <p:nvPr/>
        </p:nvSpPr>
        <p:spPr>
          <a:xfrm>
            <a:off x="6872003" y="34121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8" name="object 63"/>
          <p:cNvSpPr/>
          <p:nvPr/>
        </p:nvSpPr>
        <p:spPr>
          <a:xfrm>
            <a:off x="5880842" y="502152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6"/>
                </a:lnTo>
                <a:lnTo>
                  <a:pt x="1583" y="198179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6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2"/>
                </a:lnTo>
                <a:lnTo>
                  <a:pt x="49876" y="299561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6"/>
                </a:lnTo>
                <a:lnTo>
                  <a:pt x="196530" y="342926"/>
                </a:lnTo>
                <a:lnTo>
                  <a:pt x="209650" y="339004"/>
                </a:lnTo>
                <a:lnTo>
                  <a:pt x="222295" y="333936"/>
                </a:lnTo>
                <a:lnTo>
                  <a:pt x="234413" y="327778"/>
                </a:lnTo>
                <a:lnTo>
                  <a:pt x="245953" y="320583"/>
                </a:lnTo>
                <a:lnTo>
                  <a:pt x="256864" y="312409"/>
                </a:lnTo>
                <a:lnTo>
                  <a:pt x="267095" y="303311"/>
                </a:lnTo>
                <a:lnTo>
                  <a:pt x="276595" y="293343"/>
                </a:lnTo>
                <a:lnTo>
                  <a:pt x="285312" y="282562"/>
                </a:lnTo>
                <a:lnTo>
                  <a:pt x="293195" y="271023"/>
                </a:lnTo>
                <a:lnTo>
                  <a:pt x="300193" y="258781"/>
                </a:lnTo>
                <a:lnTo>
                  <a:pt x="306255" y="245892"/>
                </a:lnTo>
                <a:lnTo>
                  <a:pt x="311330" y="232411"/>
                </a:lnTo>
                <a:lnTo>
                  <a:pt x="315366" y="218394"/>
                </a:lnTo>
                <a:lnTo>
                  <a:pt x="318312" y="203896"/>
                </a:lnTo>
                <a:lnTo>
                  <a:pt x="320117" y="188973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9" y="93485"/>
                </a:lnTo>
                <a:lnTo>
                  <a:pt x="296006" y="80986"/>
                </a:lnTo>
                <a:lnTo>
                  <a:pt x="288459" y="69169"/>
                </a:lnTo>
                <a:lnTo>
                  <a:pt x="280058" y="58089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4"/>
                </a:lnTo>
                <a:lnTo>
                  <a:pt x="86318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9" name="object 62"/>
          <p:cNvSpPr/>
          <p:nvPr/>
        </p:nvSpPr>
        <p:spPr>
          <a:xfrm>
            <a:off x="4326962" y="34938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0" name="object 60"/>
          <p:cNvSpPr/>
          <p:nvPr/>
        </p:nvSpPr>
        <p:spPr>
          <a:xfrm>
            <a:off x="3451263" y="457102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1" name="object 58"/>
          <p:cNvSpPr/>
          <p:nvPr/>
        </p:nvSpPr>
        <p:spPr>
          <a:xfrm>
            <a:off x="7513462" y="204543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2" name="object 56"/>
          <p:cNvSpPr/>
          <p:nvPr/>
        </p:nvSpPr>
        <p:spPr>
          <a:xfrm>
            <a:off x="6553321" y="196196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3" name="object 54"/>
          <p:cNvSpPr/>
          <p:nvPr/>
        </p:nvSpPr>
        <p:spPr>
          <a:xfrm>
            <a:off x="7353097" y="275391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4" name="object 52"/>
          <p:cNvSpPr/>
          <p:nvPr/>
        </p:nvSpPr>
        <p:spPr>
          <a:xfrm>
            <a:off x="4696124" y="412086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5" name="object 50"/>
          <p:cNvSpPr/>
          <p:nvPr/>
        </p:nvSpPr>
        <p:spPr>
          <a:xfrm>
            <a:off x="4441297" y="46123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6" name="object 48"/>
          <p:cNvSpPr/>
          <p:nvPr/>
        </p:nvSpPr>
        <p:spPr>
          <a:xfrm>
            <a:off x="3130532" y="40499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7" name="object 42"/>
          <p:cNvSpPr/>
          <p:nvPr/>
        </p:nvSpPr>
        <p:spPr>
          <a:xfrm>
            <a:off x="5748103" y="33118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8" name="object 44"/>
          <p:cNvSpPr/>
          <p:nvPr/>
        </p:nvSpPr>
        <p:spPr>
          <a:xfrm>
            <a:off x="5560113" y="25802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9" name="object 46"/>
          <p:cNvSpPr/>
          <p:nvPr/>
        </p:nvSpPr>
        <p:spPr>
          <a:xfrm>
            <a:off x="5421508" y="296447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0" name="object 40"/>
          <p:cNvSpPr/>
          <p:nvPr/>
        </p:nvSpPr>
        <p:spPr>
          <a:xfrm>
            <a:off x="5213120" y="49216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1" name="object 38"/>
          <p:cNvSpPr/>
          <p:nvPr/>
        </p:nvSpPr>
        <p:spPr>
          <a:xfrm>
            <a:off x="7032365" y="221911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2" name="object 36"/>
          <p:cNvSpPr/>
          <p:nvPr/>
        </p:nvSpPr>
        <p:spPr>
          <a:xfrm>
            <a:off x="7385165" y="340218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6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7"/>
                </a:lnTo>
                <a:lnTo>
                  <a:pt x="310251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3" name="object 34"/>
          <p:cNvSpPr/>
          <p:nvPr/>
        </p:nvSpPr>
        <p:spPr>
          <a:xfrm>
            <a:off x="5038354" y="24830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4" name="object 32"/>
          <p:cNvSpPr/>
          <p:nvPr/>
        </p:nvSpPr>
        <p:spPr>
          <a:xfrm>
            <a:off x="7192732" y="159327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5" name="object 30"/>
          <p:cNvSpPr/>
          <p:nvPr/>
        </p:nvSpPr>
        <p:spPr>
          <a:xfrm>
            <a:off x="6201572" y="316997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6" name="object 28"/>
          <p:cNvSpPr/>
          <p:nvPr/>
        </p:nvSpPr>
        <p:spPr>
          <a:xfrm>
            <a:off x="4877989" y="532865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7" name="object 26"/>
          <p:cNvSpPr/>
          <p:nvPr/>
        </p:nvSpPr>
        <p:spPr>
          <a:xfrm>
            <a:off x="5581873" y="4521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8" name="object 24"/>
          <p:cNvSpPr/>
          <p:nvPr/>
        </p:nvSpPr>
        <p:spPr>
          <a:xfrm>
            <a:off x="3528670" y="35173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9" name="object 22"/>
          <p:cNvSpPr/>
          <p:nvPr/>
        </p:nvSpPr>
        <p:spPr>
          <a:xfrm>
            <a:off x="3252845" y="520650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0" name="object 20"/>
          <p:cNvSpPr/>
          <p:nvPr/>
        </p:nvSpPr>
        <p:spPr>
          <a:xfrm>
            <a:off x="3849401" y="4051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1" name="object 18"/>
          <p:cNvSpPr/>
          <p:nvPr/>
        </p:nvSpPr>
        <p:spPr>
          <a:xfrm>
            <a:off x="6713687" y="269105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2" name="object 6"/>
          <p:cNvSpPr txBox="1"/>
          <p:nvPr/>
        </p:nvSpPr>
        <p:spPr>
          <a:xfrm>
            <a:off x="1332125" y="3759280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grpSp>
        <p:nvGrpSpPr>
          <p:cNvPr id="133" name="Group 132"/>
          <p:cNvGrpSpPr/>
          <p:nvPr/>
        </p:nvGrpSpPr>
        <p:grpSpPr>
          <a:xfrm>
            <a:off x="2383438" y="1888930"/>
            <a:ext cx="6303362" cy="4054670"/>
            <a:chOff x="2343901" y="1923700"/>
            <a:chExt cx="6303362" cy="4054670"/>
          </a:xfrm>
        </p:grpSpPr>
        <p:sp>
          <p:nvSpPr>
            <p:cNvPr id="134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135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  <p:sp>
        <p:nvSpPr>
          <p:cNvPr id="136" name="object 69"/>
          <p:cNvSpPr/>
          <p:nvPr/>
        </p:nvSpPr>
        <p:spPr>
          <a:xfrm>
            <a:off x="5482207" y="2493252"/>
            <a:ext cx="565019" cy="625840"/>
          </a:xfrm>
          <a:custGeom>
            <a:avLst/>
            <a:gdLst/>
            <a:ahLst/>
            <a:cxnLst/>
            <a:rect l="l" t="t" r="r" b="b"/>
            <a:pathLst>
              <a:path w="565019" h="625840">
                <a:moveTo>
                  <a:pt x="0" y="0"/>
                </a:moveTo>
                <a:lnTo>
                  <a:pt x="0" y="625840"/>
                </a:lnTo>
                <a:lnTo>
                  <a:pt x="565019" y="625840"/>
                </a:lnTo>
                <a:lnTo>
                  <a:pt x="565019" y="0"/>
                </a:lnTo>
                <a:lnTo>
                  <a:pt x="0" y="0"/>
                </a:lnTo>
                <a:close/>
              </a:path>
            </a:pathLst>
          </a:custGeom>
          <a:solidFill>
            <a:srgbClr val="59B9D0">
              <a:alpha val="71000"/>
            </a:srgbClr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7" name="object 69"/>
          <p:cNvSpPr/>
          <p:nvPr/>
        </p:nvSpPr>
        <p:spPr>
          <a:xfrm>
            <a:off x="3681884" y="3841353"/>
            <a:ext cx="565019" cy="625840"/>
          </a:xfrm>
          <a:custGeom>
            <a:avLst/>
            <a:gdLst/>
            <a:ahLst/>
            <a:cxnLst/>
            <a:rect l="l" t="t" r="r" b="b"/>
            <a:pathLst>
              <a:path w="565019" h="625840">
                <a:moveTo>
                  <a:pt x="0" y="0"/>
                </a:moveTo>
                <a:lnTo>
                  <a:pt x="0" y="625840"/>
                </a:lnTo>
                <a:lnTo>
                  <a:pt x="565019" y="625840"/>
                </a:lnTo>
                <a:lnTo>
                  <a:pt x="565019" y="0"/>
                </a:lnTo>
                <a:lnTo>
                  <a:pt x="0" y="0"/>
                </a:lnTo>
                <a:close/>
              </a:path>
            </a:pathLst>
          </a:custGeom>
          <a:solidFill>
            <a:srgbClr val="CD665F">
              <a:alpha val="71000"/>
            </a:srgbClr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8" name="object 69"/>
          <p:cNvSpPr/>
          <p:nvPr/>
        </p:nvSpPr>
        <p:spPr>
          <a:xfrm>
            <a:off x="5542906" y="2564282"/>
            <a:ext cx="565019" cy="625840"/>
          </a:xfrm>
          <a:custGeom>
            <a:avLst/>
            <a:gdLst/>
            <a:ahLst/>
            <a:cxnLst/>
            <a:rect l="l" t="t" r="r" b="b"/>
            <a:pathLst>
              <a:path w="565019" h="625840">
                <a:moveTo>
                  <a:pt x="0" y="0"/>
                </a:moveTo>
                <a:lnTo>
                  <a:pt x="0" y="625840"/>
                </a:lnTo>
                <a:lnTo>
                  <a:pt x="565019" y="625840"/>
                </a:lnTo>
                <a:lnTo>
                  <a:pt x="565019" y="0"/>
                </a:lnTo>
                <a:lnTo>
                  <a:pt x="0" y="0"/>
                </a:lnTo>
                <a:close/>
              </a:path>
            </a:pathLst>
          </a:custGeom>
          <a:solidFill>
            <a:srgbClr val="AAC56C">
              <a:alpha val="71000"/>
            </a:srgbClr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9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9" name="object 5"/>
          <p:cNvSpPr txBox="1"/>
          <p:nvPr/>
        </p:nvSpPr>
        <p:spPr>
          <a:xfrm>
            <a:off x="5426815" y="6116930"/>
            <a:ext cx="542241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latin typeface="Calibri"/>
                <a:cs typeface="Calibri"/>
              </a:rPr>
              <a:t>Age</a:t>
            </a:r>
            <a:endParaRPr sz="2400">
              <a:latin typeface="Calibri"/>
              <a:cs typeface="Calibri"/>
            </a:endParaRPr>
          </a:p>
        </p:txBody>
      </p:sp>
      <p:sp>
        <p:nvSpPr>
          <p:cNvPr id="90" name="object 5"/>
          <p:cNvSpPr txBox="1"/>
          <p:nvPr/>
        </p:nvSpPr>
        <p:spPr>
          <a:xfrm>
            <a:off x="2101916" y="369650"/>
            <a:ext cx="6889684" cy="807913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 marR="41909">
              <a:lnSpc>
                <a:spcPts val="3454"/>
              </a:lnSpc>
              <a:spcBef>
                <a:spcPts val="172"/>
              </a:spcBef>
            </a:pPr>
            <a:r>
              <a:rPr lang="en-US" sz="4800" baseline="2560" dirty="0">
                <a:solidFill>
                  <a:srgbClr val="4E81BC"/>
                </a:solidFill>
                <a:latin typeface="+mj-lt"/>
                <a:cs typeface="Calibri"/>
              </a:rPr>
              <a:t>Mean </a:t>
            </a:r>
            <a:r>
              <a:rPr lang="en-US" sz="4800" baseline="2560" dirty="0" smtClean="0">
                <a:solidFill>
                  <a:srgbClr val="4E81BC"/>
                </a:solidFill>
                <a:latin typeface="+mj-lt"/>
                <a:cs typeface="Calibri"/>
              </a:rPr>
              <a:t>Shift</a:t>
            </a:r>
            <a:endParaRPr sz="3200" dirty="0">
              <a:latin typeface="+mj-lt"/>
              <a:cs typeface="Calibri"/>
            </a:endParaRPr>
          </a:p>
          <a:p>
            <a:pPr marL="12700">
              <a:lnSpc>
                <a:spcPts val="2770"/>
              </a:lnSpc>
            </a:pPr>
            <a:r>
              <a:rPr lang="en-US" sz="3200" baseline="1137" dirty="0" smtClean="0">
                <a:solidFill>
                  <a:srgbClr val="7F7E7E"/>
                </a:solidFill>
                <a:cs typeface="Calibri"/>
              </a:rPr>
              <a:t>Found same maximum, same cluster</a:t>
            </a:r>
            <a:endParaRPr lang="en-US" sz="3200" baseline="1137" dirty="0">
              <a:solidFill>
                <a:srgbClr val="7F7E7E"/>
              </a:solidFill>
              <a:cs typeface="Calibri"/>
            </a:endParaRPr>
          </a:p>
        </p:txBody>
      </p:sp>
      <p:sp>
        <p:nvSpPr>
          <p:cNvPr id="91" name="object 82"/>
          <p:cNvSpPr/>
          <p:nvPr/>
        </p:nvSpPr>
        <p:spPr>
          <a:xfrm>
            <a:off x="4414372" y="54871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2" name="object 84"/>
          <p:cNvSpPr/>
          <p:nvPr/>
        </p:nvSpPr>
        <p:spPr>
          <a:xfrm>
            <a:off x="5399747" y="55212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3" name="object 86"/>
          <p:cNvSpPr/>
          <p:nvPr/>
        </p:nvSpPr>
        <p:spPr>
          <a:xfrm>
            <a:off x="6251551" y="55023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4" name="object 74"/>
          <p:cNvSpPr/>
          <p:nvPr/>
        </p:nvSpPr>
        <p:spPr>
          <a:xfrm>
            <a:off x="2668469" y="519520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5" name="object 72"/>
          <p:cNvSpPr/>
          <p:nvPr/>
        </p:nvSpPr>
        <p:spPr>
          <a:xfrm>
            <a:off x="5959366" y="251737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40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80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6" name="object 70"/>
          <p:cNvSpPr/>
          <p:nvPr/>
        </p:nvSpPr>
        <p:spPr>
          <a:xfrm>
            <a:off x="5560113" y="213564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7" name="object 68"/>
          <p:cNvSpPr/>
          <p:nvPr/>
        </p:nvSpPr>
        <p:spPr>
          <a:xfrm>
            <a:off x="5148028" y="1723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8" name="object 66"/>
          <p:cNvSpPr/>
          <p:nvPr/>
        </p:nvSpPr>
        <p:spPr>
          <a:xfrm>
            <a:off x="6872003" y="34121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9" name="object 63"/>
          <p:cNvSpPr/>
          <p:nvPr/>
        </p:nvSpPr>
        <p:spPr>
          <a:xfrm>
            <a:off x="5880842" y="502152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6"/>
                </a:lnTo>
                <a:lnTo>
                  <a:pt x="1583" y="198179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6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2"/>
                </a:lnTo>
                <a:lnTo>
                  <a:pt x="49876" y="299561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6"/>
                </a:lnTo>
                <a:lnTo>
                  <a:pt x="196530" y="342926"/>
                </a:lnTo>
                <a:lnTo>
                  <a:pt x="209650" y="339004"/>
                </a:lnTo>
                <a:lnTo>
                  <a:pt x="222295" y="333936"/>
                </a:lnTo>
                <a:lnTo>
                  <a:pt x="234413" y="327778"/>
                </a:lnTo>
                <a:lnTo>
                  <a:pt x="245953" y="320583"/>
                </a:lnTo>
                <a:lnTo>
                  <a:pt x="256864" y="312409"/>
                </a:lnTo>
                <a:lnTo>
                  <a:pt x="267095" y="303311"/>
                </a:lnTo>
                <a:lnTo>
                  <a:pt x="276595" y="293343"/>
                </a:lnTo>
                <a:lnTo>
                  <a:pt x="285312" y="282562"/>
                </a:lnTo>
                <a:lnTo>
                  <a:pt x="293195" y="271023"/>
                </a:lnTo>
                <a:lnTo>
                  <a:pt x="300193" y="258781"/>
                </a:lnTo>
                <a:lnTo>
                  <a:pt x="306255" y="245892"/>
                </a:lnTo>
                <a:lnTo>
                  <a:pt x="311330" y="232411"/>
                </a:lnTo>
                <a:lnTo>
                  <a:pt x="315366" y="218394"/>
                </a:lnTo>
                <a:lnTo>
                  <a:pt x="318312" y="203896"/>
                </a:lnTo>
                <a:lnTo>
                  <a:pt x="320117" y="188973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9" y="93485"/>
                </a:lnTo>
                <a:lnTo>
                  <a:pt x="296006" y="80986"/>
                </a:lnTo>
                <a:lnTo>
                  <a:pt x="288459" y="69169"/>
                </a:lnTo>
                <a:lnTo>
                  <a:pt x="280058" y="58089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4"/>
                </a:lnTo>
                <a:lnTo>
                  <a:pt x="86318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0" name="object 62"/>
          <p:cNvSpPr/>
          <p:nvPr/>
        </p:nvSpPr>
        <p:spPr>
          <a:xfrm>
            <a:off x="4326962" y="34938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1" name="object 60"/>
          <p:cNvSpPr/>
          <p:nvPr/>
        </p:nvSpPr>
        <p:spPr>
          <a:xfrm>
            <a:off x="3451263" y="457102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2" name="object 58"/>
          <p:cNvSpPr/>
          <p:nvPr/>
        </p:nvSpPr>
        <p:spPr>
          <a:xfrm>
            <a:off x="7513462" y="204543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3" name="object 56"/>
          <p:cNvSpPr/>
          <p:nvPr/>
        </p:nvSpPr>
        <p:spPr>
          <a:xfrm>
            <a:off x="6553321" y="196196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4" name="object 54"/>
          <p:cNvSpPr/>
          <p:nvPr/>
        </p:nvSpPr>
        <p:spPr>
          <a:xfrm>
            <a:off x="7353097" y="275391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5" name="object 52"/>
          <p:cNvSpPr/>
          <p:nvPr/>
        </p:nvSpPr>
        <p:spPr>
          <a:xfrm>
            <a:off x="4696124" y="412086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6" name="object 50"/>
          <p:cNvSpPr/>
          <p:nvPr/>
        </p:nvSpPr>
        <p:spPr>
          <a:xfrm>
            <a:off x="4441297" y="46123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7" name="object 48"/>
          <p:cNvSpPr/>
          <p:nvPr/>
        </p:nvSpPr>
        <p:spPr>
          <a:xfrm>
            <a:off x="3130532" y="40499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8" name="object 42"/>
          <p:cNvSpPr/>
          <p:nvPr/>
        </p:nvSpPr>
        <p:spPr>
          <a:xfrm>
            <a:off x="5748103" y="33118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9" name="object 44"/>
          <p:cNvSpPr/>
          <p:nvPr/>
        </p:nvSpPr>
        <p:spPr>
          <a:xfrm>
            <a:off x="5560113" y="25802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0" name="object 46"/>
          <p:cNvSpPr/>
          <p:nvPr/>
        </p:nvSpPr>
        <p:spPr>
          <a:xfrm>
            <a:off x="5421508" y="296447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1" name="object 40"/>
          <p:cNvSpPr/>
          <p:nvPr/>
        </p:nvSpPr>
        <p:spPr>
          <a:xfrm>
            <a:off x="5213120" y="49216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2" name="object 38"/>
          <p:cNvSpPr/>
          <p:nvPr/>
        </p:nvSpPr>
        <p:spPr>
          <a:xfrm>
            <a:off x="7032365" y="221911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3" name="object 36"/>
          <p:cNvSpPr/>
          <p:nvPr/>
        </p:nvSpPr>
        <p:spPr>
          <a:xfrm>
            <a:off x="7385165" y="340218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6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7"/>
                </a:lnTo>
                <a:lnTo>
                  <a:pt x="310251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4" name="object 34"/>
          <p:cNvSpPr/>
          <p:nvPr/>
        </p:nvSpPr>
        <p:spPr>
          <a:xfrm>
            <a:off x="5038354" y="24830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5" name="object 32"/>
          <p:cNvSpPr/>
          <p:nvPr/>
        </p:nvSpPr>
        <p:spPr>
          <a:xfrm>
            <a:off x="7192732" y="159327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6" name="object 30"/>
          <p:cNvSpPr/>
          <p:nvPr/>
        </p:nvSpPr>
        <p:spPr>
          <a:xfrm>
            <a:off x="6201572" y="316997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7" name="object 28"/>
          <p:cNvSpPr/>
          <p:nvPr/>
        </p:nvSpPr>
        <p:spPr>
          <a:xfrm>
            <a:off x="4877989" y="532865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8" name="object 26"/>
          <p:cNvSpPr/>
          <p:nvPr/>
        </p:nvSpPr>
        <p:spPr>
          <a:xfrm>
            <a:off x="5581873" y="4521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9" name="object 24"/>
          <p:cNvSpPr/>
          <p:nvPr/>
        </p:nvSpPr>
        <p:spPr>
          <a:xfrm>
            <a:off x="3528670" y="35173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0" name="object 22"/>
          <p:cNvSpPr/>
          <p:nvPr/>
        </p:nvSpPr>
        <p:spPr>
          <a:xfrm>
            <a:off x="3252845" y="520650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1" name="object 20"/>
          <p:cNvSpPr/>
          <p:nvPr/>
        </p:nvSpPr>
        <p:spPr>
          <a:xfrm>
            <a:off x="3849401" y="4051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2" name="object 18"/>
          <p:cNvSpPr/>
          <p:nvPr/>
        </p:nvSpPr>
        <p:spPr>
          <a:xfrm>
            <a:off x="6713687" y="269105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3" name="object 6"/>
          <p:cNvSpPr txBox="1"/>
          <p:nvPr/>
        </p:nvSpPr>
        <p:spPr>
          <a:xfrm>
            <a:off x="1332125" y="3759280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grpSp>
        <p:nvGrpSpPr>
          <p:cNvPr id="124" name="Group 123"/>
          <p:cNvGrpSpPr/>
          <p:nvPr/>
        </p:nvGrpSpPr>
        <p:grpSpPr>
          <a:xfrm>
            <a:off x="2383438" y="1888930"/>
            <a:ext cx="6303362" cy="4054670"/>
            <a:chOff x="2343901" y="1923700"/>
            <a:chExt cx="6303362" cy="4054670"/>
          </a:xfrm>
        </p:grpSpPr>
        <p:sp>
          <p:nvSpPr>
            <p:cNvPr id="125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126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  <p:sp>
        <p:nvSpPr>
          <p:cNvPr id="127" name="object 69"/>
          <p:cNvSpPr/>
          <p:nvPr/>
        </p:nvSpPr>
        <p:spPr>
          <a:xfrm>
            <a:off x="5482207" y="2493252"/>
            <a:ext cx="565019" cy="625840"/>
          </a:xfrm>
          <a:custGeom>
            <a:avLst/>
            <a:gdLst/>
            <a:ahLst/>
            <a:cxnLst/>
            <a:rect l="l" t="t" r="r" b="b"/>
            <a:pathLst>
              <a:path w="565019" h="625840">
                <a:moveTo>
                  <a:pt x="0" y="0"/>
                </a:moveTo>
                <a:lnTo>
                  <a:pt x="0" y="625840"/>
                </a:lnTo>
                <a:lnTo>
                  <a:pt x="565019" y="625840"/>
                </a:lnTo>
                <a:lnTo>
                  <a:pt x="565019" y="0"/>
                </a:lnTo>
                <a:lnTo>
                  <a:pt x="0" y="0"/>
                </a:lnTo>
                <a:close/>
              </a:path>
            </a:pathLst>
          </a:custGeom>
          <a:solidFill>
            <a:srgbClr val="59B9D0">
              <a:alpha val="71000"/>
            </a:srgbClr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8" name="object 69"/>
          <p:cNvSpPr/>
          <p:nvPr/>
        </p:nvSpPr>
        <p:spPr>
          <a:xfrm>
            <a:off x="3681884" y="3841353"/>
            <a:ext cx="565019" cy="625840"/>
          </a:xfrm>
          <a:custGeom>
            <a:avLst/>
            <a:gdLst/>
            <a:ahLst/>
            <a:cxnLst/>
            <a:rect l="l" t="t" r="r" b="b"/>
            <a:pathLst>
              <a:path w="565019" h="625840">
                <a:moveTo>
                  <a:pt x="0" y="0"/>
                </a:moveTo>
                <a:lnTo>
                  <a:pt x="0" y="625840"/>
                </a:lnTo>
                <a:lnTo>
                  <a:pt x="565019" y="625840"/>
                </a:lnTo>
                <a:lnTo>
                  <a:pt x="565019" y="0"/>
                </a:lnTo>
                <a:lnTo>
                  <a:pt x="0" y="0"/>
                </a:lnTo>
                <a:close/>
              </a:path>
            </a:pathLst>
          </a:custGeom>
          <a:solidFill>
            <a:srgbClr val="CD665F">
              <a:alpha val="71000"/>
            </a:srgbClr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9" name="object 69"/>
          <p:cNvSpPr/>
          <p:nvPr/>
        </p:nvSpPr>
        <p:spPr>
          <a:xfrm>
            <a:off x="5542906" y="2564282"/>
            <a:ext cx="565019" cy="625840"/>
          </a:xfrm>
          <a:custGeom>
            <a:avLst/>
            <a:gdLst/>
            <a:ahLst/>
            <a:cxnLst/>
            <a:rect l="l" t="t" r="r" b="b"/>
            <a:pathLst>
              <a:path w="565019" h="625840">
                <a:moveTo>
                  <a:pt x="0" y="0"/>
                </a:moveTo>
                <a:lnTo>
                  <a:pt x="0" y="625840"/>
                </a:lnTo>
                <a:lnTo>
                  <a:pt x="565019" y="625840"/>
                </a:lnTo>
                <a:lnTo>
                  <a:pt x="565019" y="0"/>
                </a:lnTo>
                <a:lnTo>
                  <a:pt x="0" y="0"/>
                </a:lnTo>
                <a:close/>
              </a:path>
            </a:pathLst>
          </a:custGeom>
          <a:solidFill>
            <a:srgbClr val="AAC56C">
              <a:alpha val="71000"/>
            </a:srgbClr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9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" name="object 5"/>
          <p:cNvSpPr txBox="1"/>
          <p:nvPr/>
        </p:nvSpPr>
        <p:spPr>
          <a:xfrm>
            <a:off x="5426815" y="6116930"/>
            <a:ext cx="542241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latin typeface="Calibri"/>
                <a:cs typeface="Calibri"/>
              </a:rPr>
              <a:t>Age</a:t>
            </a:r>
            <a:endParaRPr sz="2400">
              <a:latin typeface="Calibri"/>
              <a:cs typeface="Calibri"/>
            </a:endParaRPr>
          </a:p>
        </p:txBody>
      </p:sp>
      <p:sp>
        <p:nvSpPr>
          <p:cNvPr id="99" name="object 5"/>
          <p:cNvSpPr txBox="1"/>
          <p:nvPr/>
        </p:nvSpPr>
        <p:spPr>
          <a:xfrm>
            <a:off x="2101916" y="369650"/>
            <a:ext cx="6889684" cy="1166986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 marR="41909">
              <a:lnSpc>
                <a:spcPts val="3454"/>
              </a:lnSpc>
              <a:spcBef>
                <a:spcPts val="172"/>
              </a:spcBef>
            </a:pPr>
            <a:r>
              <a:rPr lang="en-US" sz="4800" baseline="2560" dirty="0">
                <a:solidFill>
                  <a:srgbClr val="4E81BC"/>
                </a:solidFill>
                <a:latin typeface="+mj-lt"/>
                <a:cs typeface="Calibri"/>
              </a:rPr>
              <a:t>Mean </a:t>
            </a:r>
            <a:r>
              <a:rPr lang="en-US" sz="4800" baseline="2560" dirty="0" smtClean="0">
                <a:solidFill>
                  <a:srgbClr val="4E81BC"/>
                </a:solidFill>
                <a:latin typeface="+mj-lt"/>
                <a:cs typeface="Calibri"/>
              </a:rPr>
              <a:t>Shift</a:t>
            </a:r>
            <a:endParaRPr sz="3200" dirty="0">
              <a:latin typeface="+mj-lt"/>
              <a:cs typeface="Calibri"/>
            </a:endParaRPr>
          </a:p>
          <a:p>
            <a:pPr marL="12700">
              <a:lnSpc>
                <a:spcPts val="2770"/>
              </a:lnSpc>
            </a:pPr>
            <a:r>
              <a:rPr lang="en-US" sz="3200" baseline="1137" dirty="0" smtClean="0">
                <a:solidFill>
                  <a:srgbClr val="7F7E7E"/>
                </a:solidFill>
                <a:cs typeface="Calibri"/>
              </a:rPr>
              <a:t>Keep going like this, eventually it finds four unique local maxima</a:t>
            </a:r>
            <a:endParaRPr lang="en-US" sz="3200" baseline="1137" dirty="0">
              <a:solidFill>
                <a:srgbClr val="7F7E7E"/>
              </a:solidFill>
              <a:cs typeface="Calibri"/>
            </a:endParaRPr>
          </a:p>
        </p:txBody>
      </p:sp>
      <p:sp>
        <p:nvSpPr>
          <p:cNvPr id="100" name="object 82"/>
          <p:cNvSpPr/>
          <p:nvPr/>
        </p:nvSpPr>
        <p:spPr>
          <a:xfrm>
            <a:off x="4414372" y="54871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1" name="object 84"/>
          <p:cNvSpPr/>
          <p:nvPr/>
        </p:nvSpPr>
        <p:spPr>
          <a:xfrm>
            <a:off x="5399747" y="55212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2" name="object 86"/>
          <p:cNvSpPr/>
          <p:nvPr/>
        </p:nvSpPr>
        <p:spPr>
          <a:xfrm>
            <a:off x="6251551" y="55023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3" name="object 74"/>
          <p:cNvSpPr/>
          <p:nvPr/>
        </p:nvSpPr>
        <p:spPr>
          <a:xfrm>
            <a:off x="2668469" y="519520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4" name="object 72"/>
          <p:cNvSpPr/>
          <p:nvPr/>
        </p:nvSpPr>
        <p:spPr>
          <a:xfrm>
            <a:off x="5959366" y="251737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40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80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5" name="object 70"/>
          <p:cNvSpPr/>
          <p:nvPr/>
        </p:nvSpPr>
        <p:spPr>
          <a:xfrm>
            <a:off x="5560113" y="213564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6" name="object 68"/>
          <p:cNvSpPr/>
          <p:nvPr/>
        </p:nvSpPr>
        <p:spPr>
          <a:xfrm>
            <a:off x="5148028" y="1723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7" name="object 66"/>
          <p:cNvSpPr/>
          <p:nvPr/>
        </p:nvSpPr>
        <p:spPr>
          <a:xfrm>
            <a:off x="6872003" y="34121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8" name="object 63"/>
          <p:cNvSpPr/>
          <p:nvPr/>
        </p:nvSpPr>
        <p:spPr>
          <a:xfrm>
            <a:off x="5880842" y="502152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6"/>
                </a:lnTo>
                <a:lnTo>
                  <a:pt x="1583" y="198179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6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2"/>
                </a:lnTo>
                <a:lnTo>
                  <a:pt x="49876" y="299561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6"/>
                </a:lnTo>
                <a:lnTo>
                  <a:pt x="196530" y="342926"/>
                </a:lnTo>
                <a:lnTo>
                  <a:pt x="209650" y="339004"/>
                </a:lnTo>
                <a:lnTo>
                  <a:pt x="222295" y="333936"/>
                </a:lnTo>
                <a:lnTo>
                  <a:pt x="234413" y="327778"/>
                </a:lnTo>
                <a:lnTo>
                  <a:pt x="245953" y="320583"/>
                </a:lnTo>
                <a:lnTo>
                  <a:pt x="256864" y="312409"/>
                </a:lnTo>
                <a:lnTo>
                  <a:pt x="267095" y="303311"/>
                </a:lnTo>
                <a:lnTo>
                  <a:pt x="276595" y="293343"/>
                </a:lnTo>
                <a:lnTo>
                  <a:pt x="285312" y="282562"/>
                </a:lnTo>
                <a:lnTo>
                  <a:pt x="293195" y="271023"/>
                </a:lnTo>
                <a:lnTo>
                  <a:pt x="300193" y="258781"/>
                </a:lnTo>
                <a:lnTo>
                  <a:pt x="306255" y="245892"/>
                </a:lnTo>
                <a:lnTo>
                  <a:pt x="311330" y="232411"/>
                </a:lnTo>
                <a:lnTo>
                  <a:pt x="315366" y="218394"/>
                </a:lnTo>
                <a:lnTo>
                  <a:pt x="318312" y="203896"/>
                </a:lnTo>
                <a:lnTo>
                  <a:pt x="320117" y="188973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9" y="93485"/>
                </a:lnTo>
                <a:lnTo>
                  <a:pt x="296006" y="80986"/>
                </a:lnTo>
                <a:lnTo>
                  <a:pt x="288459" y="69169"/>
                </a:lnTo>
                <a:lnTo>
                  <a:pt x="280058" y="58089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4"/>
                </a:lnTo>
                <a:lnTo>
                  <a:pt x="86318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9" name="object 62"/>
          <p:cNvSpPr/>
          <p:nvPr/>
        </p:nvSpPr>
        <p:spPr>
          <a:xfrm>
            <a:off x="4326962" y="34938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0" name="object 60"/>
          <p:cNvSpPr/>
          <p:nvPr/>
        </p:nvSpPr>
        <p:spPr>
          <a:xfrm>
            <a:off x="3451263" y="457102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1" name="object 58"/>
          <p:cNvSpPr/>
          <p:nvPr/>
        </p:nvSpPr>
        <p:spPr>
          <a:xfrm>
            <a:off x="7513462" y="204543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2" name="object 56"/>
          <p:cNvSpPr/>
          <p:nvPr/>
        </p:nvSpPr>
        <p:spPr>
          <a:xfrm>
            <a:off x="6553321" y="196196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3" name="object 54"/>
          <p:cNvSpPr/>
          <p:nvPr/>
        </p:nvSpPr>
        <p:spPr>
          <a:xfrm>
            <a:off x="7353097" y="275391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4" name="object 52"/>
          <p:cNvSpPr/>
          <p:nvPr/>
        </p:nvSpPr>
        <p:spPr>
          <a:xfrm>
            <a:off x="4696124" y="412086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5" name="object 50"/>
          <p:cNvSpPr/>
          <p:nvPr/>
        </p:nvSpPr>
        <p:spPr>
          <a:xfrm>
            <a:off x="4441297" y="46123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6" name="object 48"/>
          <p:cNvSpPr/>
          <p:nvPr/>
        </p:nvSpPr>
        <p:spPr>
          <a:xfrm>
            <a:off x="3130532" y="40499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7" name="object 42"/>
          <p:cNvSpPr/>
          <p:nvPr/>
        </p:nvSpPr>
        <p:spPr>
          <a:xfrm>
            <a:off x="5748103" y="33118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8" name="object 44"/>
          <p:cNvSpPr/>
          <p:nvPr/>
        </p:nvSpPr>
        <p:spPr>
          <a:xfrm>
            <a:off x="5560113" y="25802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9" name="object 46"/>
          <p:cNvSpPr/>
          <p:nvPr/>
        </p:nvSpPr>
        <p:spPr>
          <a:xfrm>
            <a:off x="5421508" y="296447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0" name="object 40"/>
          <p:cNvSpPr/>
          <p:nvPr/>
        </p:nvSpPr>
        <p:spPr>
          <a:xfrm>
            <a:off x="5213120" y="49216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1" name="object 38"/>
          <p:cNvSpPr/>
          <p:nvPr/>
        </p:nvSpPr>
        <p:spPr>
          <a:xfrm>
            <a:off x="7032365" y="221911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2" name="object 36"/>
          <p:cNvSpPr/>
          <p:nvPr/>
        </p:nvSpPr>
        <p:spPr>
          <a:xfrm>
            <a:off x="7385165" y="340218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6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7"/>
                </a:lnTo>
                <a:lnTo>
                  <a:pt x="310251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3" name="object 34"/>
          <p:cNvSpPr/>
          <p:nvPr/>
        </p:nvSpPr>
        <p:spPr>
          <a:xfrm>
            <a:off x="5038354" y="24830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4" name="object 32"/>
          <p:cNvSpPr/>
          <p:nvPr/>
        </p:nvSpPr>
        <p:spPr>
          <a:xfrm>
            <a:off x="7192732" y="159327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5" name="object 30"/>
          <p:cNvSpPr/>
          <p:nvPr/>
        </p:nvSpPr>
        <p:spPr>
          <a:xfrm>
            <a:off x="6201572" y="316997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6" name="object 28"/>
          <p:cNvSpPr/>
          <p:nvPr/>
        </p:nvSpPr>
        <p:spPr>
          <a:xfrm>
            <a:off x="4877989" y="532865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7" name="object 26"/>
          <p:cNvSpPr/>
          <p:nvPr/>
        </p:nvSpPr>
        <p:spPr>
          <a:xfrm>
            <a:off x="5581873" y="4521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8" name="object 24"/>
          <p:cNvSpPr/>
          <p:nvPr/>
        </p:nvSpPr>
        <p:spPr>
          <a:xfrm>
            <a:off x="3528670" y="35173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9" name="object 22"/>
          <p:cNvSpPr/>
          <p:nvPr/>
        </p:nvSpPr>
        <p:spPr>
          <a:xfrm>
            <a:off x="3252845" y="520650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0" name="object 20"/>
          <p:cNvSpPr/>
          <p:nvPr/>
        </p:nvSpPr>
        <p:spPr>
          <a:xfrm>
            <a:off x="3849401" y="4051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1" name="object 18"/>
          <p:cNvSpPr/>
          <p:nvPr/>
        </p:nvSpPr>
        <p:spPr>
          <a:xfrm>
            <a:off x="6713687" y="269105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2" name="object 6"/>
          <p:cNvSpPr txBox="1"/>
          <p:nvPr/>
        </p:nvSpPr>
        <p:spPr>
          <a:xfrm>
            <a:off x="1332125" y="3759280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grpSp>
        <p:nvGrpSpPr>
          <p:cNvPr id="133" name="Group 132"/>
          <p:cNvGrpSpPr/>
          <p:nvPr/>
        </p:nvGrpSpPr>
        <p:grpSpPr>
          <a:xfrm>
            <a:off x="2383438" y="1888930"/>
            <a:ext cx="6303362" cy="4054670"/>
            <a:chOff x="2343901" y="1923700"/>
            <a:chExt cx="6303362" cy="4054670"/>
          </a:xfrm>
        </p:grpSpPr>
        <p:sp>
          <p:nvSpPr>
            <p:cNvPr id="134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135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  <p:sp>
        <p:nvSpPr>
          <p:cNvPr id="136" name="object 69"/>
          <p:cNvSpPr/>
          <p:nvPr/>
        </p:nvSpPr>
        <p:spPr>
          <a:xfrm>
            <a:off x="5482207" y="2493252"/>
            <a:ext cx="565019" cy="625840"/>
          </a:xfrm>
          <a:custGeom>
            <a:avLst/>
            <a:gdLst/>
            <a:ahLst/>
            <a:cxnLst/>
            <a:rect l="l" t="t" r="r" b="b"/>
            <a:pathLst>
              <a:path w="565019" h="625840">
                <a:moveTo>
                  <a:pt x="0" y="0"/>
                </a:moveTo>
                <a:lnTo>
                  <a:pt x="0" y="625840"/>
                </a:lnTo>
                <a:lnTo>
                  <a:pt x="565019" y="625840"/>
                </a:lnTo>
                <a:lnTo>
                  <a:pt x="565019" y="0"/>
                </a:lnTo>
                <a:lnTo>
                  <a:pt x="0" y="0"/>
                </a:lnTo>
                <a:close/>
              </a:path>
            </a:pathLst>
          </a:custGeom>
          <a:solidFill>
            <a:srgbClr val="59B9D0">
              <a:alpha val="71000"/>
            </a:srgbClr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7" name="object 69"/>
          <p:cNvSpPr/>
          <p:nvPr/>
        </p:nvSpPr>
        <p:spPr>
          <a:xfrm>
            <a:off x="3681884" y="3841353"/>
            <a:ext cx="565019" cy="625840"/>
          </a:xfrm>
          <a:custGeom>
            <a:avLst/>
            <a:gdLst/>
            <a:ahLst/>
            <a:cxnLst/>
            <a:rect l="l" t="t" r="r" b="b"/>
            <a:pathLst>
              <a:path w="565019" h="625840">
                <a:moveTo>
                  <a:pt x="0" y="0"/>
                </a:moveTo>
                <a:lnTo>
                  <a:pt x="0" y="625840"/>
                </a:lnTo>
                <a:lnTo>
                  <a:pt x="565019" y="625840"/>
                </a:lnTo>
                <a:lnTo>
                  <a:pt x="565019" y="0"/>
                </a:lnTo>
                <a:lnTo>
                  <a:pt x="0" y="0"/>
                </a:lnTo>
                <a:close/>
              </a:path>
            </a:pathLst>
          </a:custGeom>
          <a:solidFill>
            <a:srgbClr val="CD665F">
              <a:alpha val="71000"/>
            </a:srgbClr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8" name="object 69"/>
          <p:cNvSpPr/>
          <p:nvPr/>
        </p:nvSpPr>
        <p:spPr>
          <a:xfrm>
            <a:off x="5367302" y="5040942"/>
            <a:ext cx="565019" cy="625840"/>
          </a:xfrm>
          <a:custGeom>
            <a:avLst/>
            <a:gdLst/>
            <a:ahLst/>
            <a:cxnLst/>
            <a:rect l="l" t="t" r="r" b="b"/>
            <a:pathLst>
              <a:path w="565019" h="625840">
                <a:moveTo>
                  <a:pt x="0" y="0"/>
                </a:moveTo>
                <a:lnTo>
                  <a:pt x="0" y="625840"/>
                </a:lnTo>
                <a:lnTo>
                  <a:pt x="565019" y="625840"/>
                </a:lnTo>
                <a:lnTo>
                  <a:pt x="565019" y="0"/>
                </a:lnTo>
                <a:lnTo>
                  <a:pt x="0" y="0"/>
                </a:lnTo>
                <a:close/>
              </a:path>
            </a:pathLst>
          </a:custGeom>
          <a:solidFill>
            <a:srgbClr val="AAC56C">
              <a:alpha val="71000"/>
            </a:srgbClr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9" name="object 69"/>
          <p:cNvSpPr/>
          <p:nvPr/>
        </p:nvSpPr>
        <p:spPr>
          <a:xfrm>
            <a:off x="6923591" y="2055341"/>
            <a:ext cx="565019" cy="625840"/>
          </a:xfrm>
          <a:custGeom>
            <a:avLst/>
            <a:gdLst/>
            <a:ahLst/>
            <a:cxnLst/>
            <a:rect l="l" t="t" r="r" b="b"/>
            <a:pathLst>
              <a:path w="565019" h="625840">
                <a:moveTo>
                  <a:pt x="0" y="0"/>
                </a:moveTo>
                <a:lnTo>
                  <a:pt x="0" y="625840"/>
                </a:lnTo>
                <a:lnTo>
                  <a:pt x="565019" y="625840"/>
                </a:lnTo>
                <a:lnTo>
                  <a:pt x="565019" y="0"/>
                </a:lnTo>
                <a:lnTo>
                  <a:pt x="0" y="0"/>
                </a:lnTo>
                <a:close/>
              </a:path>
            </a:pathLst>
          </a:custGeom>
          <a:solidFill>
            <a:srgbClr val="FAA757">
              <a:alpha val="71000"/>
            </a:srgbClr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9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9" name="object 5"/>
          <p:cNvSpPr txBox="1"/>
          <p:nvPr/>
        </p:nvSpPr>
        <p:spPr>
          <a:xfrm>
            <a:off x="5426815" y="6116930"/>
            <a:ext cx="542241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latin typeface="Calibri"/>
                <a:cs typeface="Calibri"/>
              </a:rPr>
              <a:t>Age</a:t>
            </a:r>
            <a:endParaRPr sz="2400">
              <a:latin typeface="Calibri"/>
              <a:cs typeface="Calibri"/>
            </a:endParaRPr>
          </a:p>
        </p:txBody>
      </p:sp>
      <p:sp>
        <p:nvSpPr>
          <p:cNvPr id="100" name="object 5"/>
          <p:cNvSpPr txBox="1"/>
          <p:nvPr/>
        </p:nvSpPr>
        <p:spPr>
          <a:xfrm>
            <a:off x="2101916" y="369650"/>
            <a:ext cx="6889684" cy="807913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 marR="41909">
              <a:lnSpc>
                <a:spcPts val="3454"/>
              </a:lnSpc>
              <a:spcBef>
                <a:spcPts val="172"/>
              </a:spcBef>
            </a:pPr>
            <a:r>
              <a:rPr lang="en-US" sz="4800" baseline="2560" dirty="0">
                <a:solidFill>
                  <a:srgbClr val="4E81BC"/>
                </a:solidFill>
                <a:latin typeface="+mj-lt"/>
                <a:cs typeface="Calibri"/>
              </a:rPr>
              <a:t>Mean </a:t>
            </a:r>
            <a:r>
              <a:rPr lang="en-US" sz="4800" baseline="2560" dirty="0" smtClean="0">
                <a:solidFill>
                  <a:srgbClr val="4E81BC"/>
                </a:solidFill>
                <a:latin typeface="+mj-lt"/>
                <a:cs typeface="Calibri"/>
              </a:rPr>
              <a:t>Shift</a:t>
            </a:r>
            <a:endParaRPr sz="3200" dirty="0">
              <a:latin typeface="+mj-lt"/>
              <a:cs typeface="Calibri"/>
            </a:endParaRPr>
          </a:p>
          <a:p>
            <a:pPr marL="12700">
              <a:lnSpc>
                <a:spcPts val="2770"/>
              </a:lnSpc>
            </a:pPr>
            <a:r>
              <a:rPr lang="en-US" sz="3200" baseline="1137" dirty="0" smtClean="0">
                <a:solidFill>
                  <a:srgbClr val="7F7E7E"/>
                </a:solidFill>
                <a:cs typeface="Calibri"/>
              </a:rPr>
              <a:t>Assigns points to centroids they fall to</a:t>
            </a:r>
            <a:endParaRPr lang="en-US" sz="3200" baseline="1137" dirty="0">
              <a:solidFill>
                <a:srgbClr val="7F7E7E"/>
              </a:solidFill>
              <a:cs typeface="Calibri"/>
            </a:endParaRPr>
          </a:p>
        </p:txBody>
      </p:sp>
      <p:sp>
        <p:nvSpPr>
          <p:cNvPr id="101" name="object 82"/>
          <p:cNvSpPr/>
          <p:nvPr/>
        </p:nvSpPr>
        <p:spPr>
          <a:xfrm>
            <a:off x="4414372" y="54871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2" name="object 84"/>
          <p:cNvSpPr/>
          <p:nvPr/>
        </p:nvSpPr>
        <p:spPr>
          <a:xfrm>
            <a:off x="5399747" y="55212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3" name="object 86"/>
          <p:cNvSpPr/>
          <p:nvPr/>
        </p:nvSpPr>
        <p:spPr>
          <a:xfrm>
            <a:off x="6251551" y="55023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4" name="object 74"/>
          <p:cNvSpPr/>
          <p:nvPr/>
        </p:nvSpPr>
        <p:spPr>
          <a:xfrm>
            <a:off x="2668469" y="519520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5" name="object 72"/>
          <p:cNvSpPr/>
          <p:nvPr/>
        </p:nvSpPr>
        <p:spPr>
          <a:xfrm>
            <a:off x="5959366" y="251737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40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80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6" name="object 70"/>
          <p:cNvSpPr/>
          <p:nvPr/>
        </p:nvSpPr>
        <p:spPr>
          <a:xfrm>
            <a:off x="5560113" y="213564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7" name="object 68"/>
          <p:cNvSpPr/>
          <p:nvPr/>
        </p:nvSpPr>
        <p:spPr>
          <a:xfrm>
            <a:off x="5148028" y="1723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8" name="object 66"/>
          <p:cNvSpPr/>
          <p:nvPr/>
        </p:nvSpPr>
        <p:spPr>
          <a:xfrm>
            <a:off x="6872003" y="34121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9" name="object 63"/>
          <p:cNvSpPr/>
          <p:nvPr/>
        </p:nvSpPr>
        <p:spPr>
          <a:xfrm>
            <a:off x="5880842" y="502152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6"/>
                </a:lnTo>
                <a:lnTo>
                  <a:pt x="1583" y="198179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6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2"/>
                </a:lnTo>
                <a:lnTo>
                  <a:pt x="49876" y="299561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6"/>
                </a:lnTo>
                <a:lnTo>
                  <a:pt x="196530" y="342926"/>
                </a:lnTo>
                <a:lnTo>
                  <a:pt x="209650" y="339004"/>
                </a:lnTo>
                <a:lnTo>
                  <a:pt x="222295" y="333936"/>
                </a:lnTo>
                <a:lnTo>
                  <a:pt x="234413" y="327778"/>
                </a:lnTo>
                <a:lnTo>
                  <a:pt x="245953" y="320583"/>
                </a:lnTo>
                <a:lnTo>
                  <a:pt x="256864" y="312409"/>
                </a:lnTo>
                <a:lnTo>
                  <a:pt x="267095" y="303311"/>
                </a:lnTo>
                <a:lnTo>
                  <a:pt x="276595" y="293343"/>
                </a:lnTo>
                <a:lnTo>
                  <a:pt x="285312" y="282562"/>
                </a:lnTo>
                <a:lnTo>
                  <a:pt x="293195" y="271023"/>
                </a:lnTo>
                <a:lnTo>
                  <a:pt x="300193" y="258781"/>
                </a:lnTo>
                <a:lnTo>
                  <a:pt x="306255" y="245892"/>
                </a:lnTo>
                <a:lnTo>
                  <a:pt x="311330" y="232411"/>
                </a:lnTo>
                <a:lnTo>
                  <a:pt x="315366" y="218394"/>
                </a:lnTo>
                <a:lnTo>
                  <a:pt x="318312" y="203896"/>
                </a:lnTo>
                <a:lnTo>
                  <a:pt x="320117" y="188973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9" y="93485"/>
                </a:lnTo>
                <a:lnTo>
                  <a:pt x="296006" y="80986"/>
                </a:lnTo>
                <a:lnTo>
                  <a:pt x="288459" y="69169"/>
                </a:lnTo>
                <a:lnTo>
                  <a:pt x="280058" y="58089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4"/>
                </a:lnTo>
                <a:lnTo>
                  <a:pt x="86318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0" name="object 62"/>
          <p:cNvSpPr/>
          <p:nvPr/>
        </p:nvSpPr>
        <p:spPr>
          <a:xfrm>
            <a:off x="4326962" y="34938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1" name="object 60"/>
          <p:cNvSpPr/>
          <p:nvPr/>
        </p:nvSpPr>
        <p:spPr>
          <a:xfrm>
            <a:off x="3451263" y="457102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2" name="object 58"/>
          <p:cNvSpPr/>
          <p:nvPr/>
        </p:nvSpPr>
        <p:spPr>
          <a:xfrm>
            <a:off x="7513462" y="204543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3" name="object 56"/>
          <p:cNvSpPr/>
          <p:nvPr/>
        </p:nvSpPr>
        <p:spPr>
          <a:xfrm>
            <a:off x="6553321" y="196196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4" name="object 54"/>
          <p:cNvSpPr/>
          <p:nvPr/>
        </p:nvSpPr>
        <p:spPr>
          <a:xfrm>
            <a:off x="7353097" y="275391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5" name="object 52"/>
          <p:cNvSpPr/>
          <p:nvPr/>
        </p:nvSpPr>
        <p:spPr>
          <a:xfrm>
            <a:off x="4696124" y="412086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6" name="object 50"/>
          <p:cNvSpPr/>
          <p:nvPr/>
        </p:nvSpPr>
        <p:spPr>
          <a:xfrm>
            <a:off x="4441297" y="46123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7" name="object 48"/>
          <p:cNvSpPr/>
          <p:nvPr/>
        </p:nvSpPr>
        <p:spPr>
          <a:xfrm>
            <a:off x="3130532" y="40499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8" name="object 42"/>
          <p:cNvSpPr/>
          <p:nvPr/>
        </p:nvSpPr>
        <p:spPr>
          <a:xfrm>
            <a:off x="5748103" y="33118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9" name="object 44"/>
          <p:cNvSpPr/>
          <p:nvPr/>
        </p:nvSpPr>
        <p:spPr>
          <a:xfrm>
            <a:off x="5560113" y="25802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0" name="object 46"/>
          <p:cNvSpPr/>
          <p:nvPr/>
        </p:nvSpPr>
        <p:spPr>
          <a:xfrm>
            <a:off x="5421508" y="296447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1" name="object 40"/>
          <p:cNvSpPr/>
          <p:nvPr/>
        </p:nvSpPr>
        <p:spPr>
          <a:xfrm>
            <a:off x="5213120" y="49216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2" name="object 38"/>
          <p:cNvSpPr/>
          <p:nvPr/>
        </p:nvSpPr>
        <p:spPr>
          <a:xfrm>
            <a:off x="7032365" y="221911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3" name="object 36"/>
          <p:cNvSpPr/>
          <p:nvPr/>
        </p:nvSpPr>
        <p:spPr>
          <a:xfrm>
            <a:off x="7385165" y="340218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6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7"/>
                </a:lnTo>
                <a:lnTo>
                  <a:pt x="310251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4" name="object 34"/>
          <p:cNvSpPr/>
          <p:nvPr/>
        </p:nvSpPr>
        <p:spPr>
          <a:xfrm>
            <a:off x="5038354" y="24830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5" name="object 32"/>
          <p:cNvSpPr/>
          <p:nvPr/>
        </p:nvSpPr>
        <p:spPr>
          <a:xfrm>
            <a:off x="7192732" y="159327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6" name="object 30"/>
          <p:cNvSpPr/>
          <p:nvPr/>
        </p:nvSpPr>
        <p:spPr>
          <a:xfrm>
            <a:off x="6201572" y="316997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7" name="object 28"/>
          <p:cNvSpPr/>
          <p:nvPr/>
        </p:nvSpPr>
        <p:spPr>
          <a:xfrm>
            <a:off x="4877989" y="532865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8" name="object 26"/>
          <p:cNvSpPr/>
          <p:nvPr/>
        </p:nvSpPr>
        <p:spPr>
          <a:xfrm>
            <a:off x="5581873" y="4521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9" name="object 24"/>
          <p:cNvSpPr/>
          <p:nvPr/>
        </p:nvSpPr>
        <p:spPr>
          <a:xfrm>
            <a:off x="3528670" y="35173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0" name="object 22"/>
          <p:cNvSpPr/>
          <p:nvPr/>
        </p:nvSpPr>
        <p:spPr>
          <a:xfrm>
            <a:off x="3252845" y="520650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1" name="object 20"/>
          <p:cNvSpPr/>
          <p:nvPr/>
        </p:nvSpPr>
        <p:spPr>
          <a:xfrm>
            <a:off x="3849401" y="4051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2" name="object 18"/>
          <p:cNvSpPr/>
          <p:nvPr/>
        </p:nvSpPr>
        <p:spPr>
          <a:xfrm>
            <a:off x="6713687" y="269105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3" name="object 6"/>
          <p:cNvSpPr txBox="1"/>
          <p:nvPr/>
        </p:nvSpPr>
        <p:spPr>
          <a:xfrm>
            <a:off x="1332125" y="3759280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grpSp>
        <p:nvGrpSpPr>
          <p:cNvPr id="134" name="Group 133"/>
          <p:cNvGrpSpPr/>
          <p:nvPr/>
        </p:nvGrpSpPr>
        <p:grpSpPr>
          <a:xfrm>
            <a:off x="2383438" y="1888930"/>
            <a:ext cx="6303362" cy="4054670"/>
            <a:chOff x="2343901" y="1923700"/>
            <a:chExt cx="6303362" cy="4054670"/>
          </a:xfrm>
        </p:grpSpPr>
        <p:sp>
          <p:nvSpPr>
            <p:cNvPr id="135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136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  <p:sp>
        <p:nvSpPr>
          <p:cNvPr id="137" name="object 69"/>
          <p:cNvSpPr/>
          <p:nvPr/>
        </p:nvSpPr>
        <p:spPr>
          <a:xfrm>
            <a:off x="5482207" y="2493252"/>
            <a:ext cx="565019" cy="625840"/>
          </a:xfrm>
          <a:custGeom>
            <a:avLst/>
            <a:gdLst/>
            <a:ahLst/>
            <a:cxnLst/>
            <a:rect l="l" t="t" r="r" b="b"/>
            <a:pathLst>
              <a:path w="565019" h="625840">
                <a:moveTo>
                  <a:pt x="0" y="0"/>
                </a:moveTo>
                <a:lnTo>
                  <a:pt x="0" y="625840"/>
                </a:lnTo>
                <a:lnTo>
                  <a:pt x="565019" y="625840"/>
                </a:lnTo>
                <a:lnTo>
                  <a:pt x="565019" y="0"/>
                </a:lnTo>
                <a:lnTo>
                  <a:pt x="0" y="0"/>
                </a:lnTo>
                <a:close/>
              </a:path>
            </a:pathLst>
          </a:custGeom>
          <a:solidFill>
            <a:srgbClr val="59B9D0">
              <a:alpha val="71000"/>
            </a:srgbClr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8" name="object 69"/>
          <p:cNvSpPr/>
          <p:nvPr/>
        </p:nvSpPr>
        <p:spPr>
          <a:xfrm>
            <a:off x="3681884" y="3841353"/>
            <a:ext cx="565019" cy="625840"/>
          </a:xfrm>
          <a:custGeom>
            <a:avLst/>
            <a:gdLst/>
            <a:ahLst/>
            <a:cxnLst/>
            <a:rect l="l" t="t" r="r" b="b"/>
            <a:pathLst>
              <a:path w="565019" h="625840">
                <a:moveTo>
                  <a:pt x="0" y="0"/>
                </a:moveTo>
                <a:lnTo>
                  <a:pt x="0" y="625840"/>
                </a:lnTo>
                <a:lnTo>
                  <a:pt x="565019" y="625840"/>
                </a:lnTo>
                <a:lnTo>
                  <a:pt x="565019" y="0"/>
                </a:lnTo>
                <a:lnTo>
                  <a:pt x="0" y="0"/>
                </a:lnTo>
                <a:close/>
              </a:path>
            </a:pathLst>
          </a:custGeom>
          <a:solidFill>
            <a:srgbClr val="CD665F">
              <a:alpha val="71000"/>
            </a:srgbClr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9" name="object 69"/>
          <p:cNvSpPr/>
          <p:nvPr/>
        </p:nvSpPr>
        <p:spPr>
          <a:xfrm>
            <a:off x="5367302" y="5040942"/>
            <a:ext cx="565019" cy="625840"/>
          </a:xfrm>
          <a:custGeom>
            <a:avLst/>
            <a:gdLst/>
            <a:ahLst/>
            <a:cxnLst/>
            <a:rect l="l" t="t" r="r" b="b"/>
            <a:pathLst>
              <a:path w="565019" h="625840">
                <a:moveTo>
                  <a:pt x="0" y="0"/>
                </a:moveTo>
                <a:lnTo>
                  <a:pt x="0" y="625840"/>
                </a:lnTo>
                <a:lnTo>
                  <a:pt x="565019" y="625840"/>
                </a:lnTo>
                <a:lnTo>
                  <a:pt x="565019" y="0"/>
                </a:lnTo>
                <a:lnTo>
                  <a:pt x="0" y="0"/>
                </a:lnTo>
                <a:close/>
              </a:path>
            </a:pathLst>
          </a:custGeom>
          <a:solidFill>
            <a:srgbClr val="AAC56C">
              <a:alpha val="71000"/>
            </a:srgbClr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51" name="object 69"/>
          <p:cNvSpPr/>
          <p:nvPr/>
        </p:nvSpPr>
        <p:spPr>
          <a:xfrm>
            <a:off x="6923591" y="2055341"/>
            <a:ext cx="565019" cy="625840"/>
          </a:xfrm>
          <a:custGeom>
            <a:avLst/>
            <a:gdLst/>
            <a:ahLst/>
            <a:cxnLst/>
            <a:rect l="l" t="t" r="r" b="b"/>
            <a:pathLst>
              <a:path w="565019" h="625840">
                <a:moveTo>
                  <a:pt x="0" y="0"/>
                </a:moveTo>
                <a:lnTo>
                  <a:pt x="0" y="625840"/>
                </a:lnTo>
                <a:lnTo>
                  <a:pt x="565019" y="625840"/>
                </a:lnTo>
                <a:lnTo>
                  <a:pt x="565019" y="0"/>
                </a:lnTo>
                <a:lnTo>
                  <a:pt x="0" y="0"/>
                </a:lnTo>
                <a:close/>
              </a:path>
            </a:pathLst>
          </a:custGeom>
          <a:solidFill>
            <a:srgbClr val="FAA757">
              <a:alpha val="71000"/>
            </a:srgbClr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9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4" name="object 5"/>
          <p:cNvSpPr txBox="1"/>
          <p:nvPr/>
        </p:nvSpPr>
        <p:spPr>
          <a:xfrm>
            <a:off x="5426815" y="6116930"/>
            <a:ext cx="542241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latin typeface="Calibri"/>
                <a:cs typeface="Calibri"/>
              </a:rPr>
              <a:t>Age</a:t>
            </a:r>
            <a:endParaRPr sz="2400">
              <a:latin typeface="Calibri"/>
              <a:cs typeface="Calibri"/>
            </a:endParaRPr>
          </a:p>
        </p:txBody>
      </p:sp>
      <p:sp>
        <p:nvSpPr>
          <p:cNvPr id="95" name="object 5"/>
          <p:cNvSpPr txBox="1"/>
          <p:nvPr/>
        </p:nvSpPr>
        <p:spPr>
          <a:xfrm>
            <a:off x="2101916" y="369650"/>
            <a:ext cx="6889684" cy="807913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 marR="41909">
              <a:lnSpc>
                <a:spcPts val="3454"/>
              </a:lnSpc>
              <a:spcBef>
                <a:spcPts val="172"/>
              </a:spcBef>
            </a:pPr>
            <a:r>
              <a:rPr lang="en-US" sz="4800" baseline="2560" dirty="0">
                <a:solidFill>
                  <a:srgbClr val="4E81BC"/>
                </a:solidFill>
                <a:latin typeface="+mj-lt"/>
                <a:cs typeface="Calibri"/>
              </a:rPr>
              <a:t>Mean </a:t>
            </a:r>
            <a:r>
              <a:rPr lang="en-US" sz="4800" baseline="2560" dirty="0" smtClean="0">
                <a:solidFill>
                  <a:srgbClr val="4E81BC"/>
                </a:solidFill>
                <a:latin typeface="+mj-lt"/>
                <a:cs typeface="Calibri"/>
              </a:rPr>
              <a:t>Shift</a:t>
            </a:r>
            <a:endParaRPr sz="3200" dirty="0">
              <a:latin typeface="+mj-lt"/>
              <a:cs typeface="Calibri"/>
            </a:endParaRPr>
          </a:p>
          <a:p>
            <a:pPr marL="12700">
              <a:lnSpc>
                <a:spcPts val="2770"/>
              </a:lnSpc>
            </a:pPr>
            <a:r>
              <a:rPr lang="en-US" sz="3200" baseline="1137" dirty="0" smtClean="0">
                <a:solidFill>
                  <a:srgbClr val="7F7E7E"/>
                </a:solidFill>
                <a:cs typeface="Calibri"/>
              </a:rPr>
              <a:t>No cluster number or distance parameters</a:t>
            </a:r>
            <a:endParaRPr lang="en-US" sz="3200" baseline="1137" dirty="0">
              <a:solidFill>
                <a:srgbClr val="7F7E7E"/>
              </a:solidFill>
              <a:cs typeface="Calibri"/>
            </a:endParaRPr>
          </a:p>
        </p:txBody>
      </p:sp>
      <p:sp>
        <p:nvSpPr>
          <p:cNvPr id="96" name="object 82"/>
          <p:cNvSpPr/>
          <p:nvPr/>
        </p:nvSpPr>
        <p:spPr>
          <a:xfrm>
            <a:off x="4414372" y="54871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7" name="object 84"/>
          <p:cNvSpPr/>
          <p:nvPr/>
        </p:nvSpPr>
        <p:spPr>
          <a:xfrm>
            <a:off x="5399747" y="55212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8" name="object 86"/>
          <p:cNvSpPr/>
          <p:nvPr/>
        </p:nvSpPr>
        <p:spPr>
          <a:xfrm>
            <a:off x="6251551" y="55023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9" name="object 74"/>
          <p:cNvSpPr/>
          <p:nvPr/>
        </p:nvSpPr>
        <p:spPr>
          <a:xfrm>
            <a:off x="2668469" y="519520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0" name="object 72"/>
          <p:cNvSpPr/>
          <p:nvPr/>
        </p:nvSpPr>
        <p:spPr>
          <a:xfrm>
            <a:off x="5959366" y="251737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40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80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1" name="object 70"/>
          <p:cNvSpPr/>
          <p:nvPr/>
        </p:nvSpPr>
        <p:spPr>
          <a:xfrm>
            <a:off x="5560113" y="213564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2" name="object 68"/>
          <p:cNvSpPr/>
          <p:nvPr/>
        </p:nvSpPr>
        <p:spPr>
          <a:xfrm>
            <a:off x="5148028" y="1723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3" name="object 66"/>
          <p:cNvSpPr/>
          <p:nvPr/>
        </p:nvSpPr>
        <p:spPr>
          <a:xfrm>
            <a:off x="6872003" y="34121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4" name="object 63"/>
          <p:cNvSpPr/>
          <p:nvPr/>
        </p:nvSpPr>
        <p:spPr>
          <a:xfrm>
            <a:off x="5880842" y="502152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6"/>
                </a:lnTo>
                <a:lnTo>
                  <a:pt x="1583" y="198179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6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2"/>
                </a:lnTo>
                <a:lnTo>
                  <a:pt x="49876" y="299561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6"/>
                </a:lnTo>
                <a:lnTo>
                  <a:pt x="196530" y="342926"/>
                </a:lnTo>
                <a:lnTo>
                  <a:pt x="209650" y="339004"/>
                </a:lnTo>
                <a:lnTo>
                  <a:pt x="222295" y="333936"/>
                </a:lnTo>
                <a:lnTo>
                  <a:pt x="234413" y="327778"/>
                </a:lnTo>
                <a:lnTo>
                  <a:pt x="245953" y="320583"/>
                </a:lnTo>
                <a:lnTo>
                  <a:pt x="256864" y="312409"/>
                </a:lnTo>
                <a:lnTo>
                  <a:pt x="267095" y="303311"/>
                </a:lnTo>
                <a:lnTo>
                  <a:pt x="276595" y="293343"/>
                </a:lnTo>
                <a:lnTo>
                  <a:pt x="285312" y="282562"/>
                </a:lnTo>
                <a:lnTo>
                  <a:pt x="293195" y="271023"/>
                </a:lnTo>
                <a:lnTo>
                  <a:pt x="300193" y="258781"/>
                </a:lnTo>
                <a:lnTo>
                  <a:pt x="306255" y="245892"/>
                </a:lnTo>
                <a:lnTo>
                  <a:pt x="311330" y="232411"/>
                </a:lnTo>
                <a:lnTo>
                  <a:pt x="315366" y="218394"/>
                </a:lnTo>
                <a:lnTo>
                  <a:pt x="318312" y="203896"/>
                </a:lnTo>
                <a:lnTo>
                  <a:pt x="320117" y="188973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9" y="93485"/>
                </a:lnTo>
                <a:lnTo>
                  <a:pt x="296006" y="80986"/>
                </a:lnTo>
                <a:lnTo>
                  <a:pt x="288459" y="69169"/>
                </a:lnTo>
                <a:lnTo>
                  <a:pt x="280058" y="58089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4"/>
                </a:lnTo>
                <a:lnTo>
                  <a:pt x="86318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5" name="object 62"/>
          <p:cNvSpPr/>
          <p:nvPr/>
        </p:nvSpPr>
        <p:spPr>
          <a:xfrm>
            <a:off x="4326962" y="34938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6" name="object 60"/>
          <p:cNvSpPr/>
          <p:nvPr/>
        </p:nvSpPr>
        <p:spPr>
          <a:xfrm>
            <a:off x="3451263" y="457102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7" name="object 58"/>
          <p:cNvSpPr/>
          <p:nvPr/>
        </p:nvSpPr>
        <p:spPr>
          <a:xfrm>
            <a:off x="7513462" y="204543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8" name="object 56"/>
          <p:cNvSpPr/>
          <p:nvPr/>
        </p:nvSpPr>
        <p:spPr>
          <a:xfrm>
            <a:off x="6553321" y="196196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9" name="object 54"/>
          <p:cNvSpPr/>
          <p:nvPr/>
        </p:nvSpPr>
        <p:spPr>
          <a:xfrm>
            <a:off x="7353097" y="275391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0" name="object 52"/>
          <p:cNvSpPr/>
          <p:nvPr/>
        </p:nvSpPr>
        <p:spPr>
          <a:xfrm>
            <a:off x="4696124" y="412086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1" name="object 50"/>
          <p:cNvSpPr/>
          <p:nvPr/>
        </p:nvSpPr>
        <p:spPr>
          <a:xfrm>
            <a:off x="4441297" y="46123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2" name="object 48"/>
          <p:cNvSpPr/>
          <p:nvPr/>
        </p:nvSpPr>
        <p:spPr>
          <a:xfrm>
            <a:off x="3130532" y="40499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3" name="object 42"/>
          <p:cNvSpPr/>
          <p:nvPr/>
        </p:nvSpPr>
        <p:spPr>
          <a:xfrm>
            <a:off x="5748103" y="33118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4" name="object 44"/>
          <p:cNvSpPr/>
          <p:nvPr/>
        </p:nvSpPr>
        <p:spPr>
          <a:xfrm>
            <a:off x="5560113" y="25802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5" name="object 46"/>
          <p:cNvSpPr/>
          <p:nvPr/>
        </p:nvSpPr>
        <p:spPr>
          <a:xfrm>
            <a:off x="5421508" y="296447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6" name="object 40"/>
          <p:cNvSpPr/>
          <p:nvPr/>
        </p:nvSpPr>
        <p:spPr>
          <a:xfrm>
            <a:off x="5213120" y="49216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7" name="object 38"/>
          <p:cNvSpPr/>
          <p:nvPr/>
        </p:nvSpPr>
        <p:spPr>
          <a:xfrm>
            <a:off x="7032365" y="221911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8" name="object 36"/>
          <p:cNvSpPr/>
          <p:nvPr/>
        </p:nvSpPr>
        <p:spPr>
          <a:xfrm>
            <a:off x="7385165" y="340218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6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7"/>
                </a:lnTo>
                <a:lnTo>
                  <a:pt x="310251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9" name="object 34"/>
          <p:cNvSpPr/>
          <p:nvPr/>
        </p:nvSpPr>
        <p:spPr>
          <a:xfrm>
            <a:off x="5038354" y="24830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0" name="object 32"/>
          <p:cNvSpPr/>
          <p:nvPr/>
        </p:nvSpPr>
        <p:spPr>
          <a:xfrm>
            <a:off x="7192732" y="159327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1" name="object 30"/>
          <p:cNvSpPr/>
          <p:nvPr/>
        </p:nvSpPr>
        <p:spPr>
          <a:xfrm>
            <a:off x="6201572" y="316997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2" name="object 28"/>
          <p:cNvSpPr/>
          <p:nvPr/>
        </p:nvSpPr>
        <p:spPr>
          <a:xfrm>
            <a:off x="4877989" y="532865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3" name="object 26"/>
          <p:cNvSpPr/>
          <p:nvPr/>
        </p:nvSpPr>
        <p:spPr>
          <a:xfrm>
            <a:off x="5581873" y="4521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4" name="object 24"/>
          <p:cNvSpPr/>
          <p:nvPr/>
        </p:nvSpPr>
        <p:spPr>
          <a:xfrm>
            <a:off x="3528670" y="35173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5" name="object 22"/>
          <p:cNvSpPr/>
          <p:nvPr/>
        </p:nvSpPr>
        <p:spPr>
          <a:xfrm>
            <a:off x="3252845" y="520650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6" name="object 20"/>
          <p:cNvSpPr/>
          <p:nvPr/>
        </p:nvSpPr>
        <p:spPr>
          <a:xfrm>
            <a:off x="3849401" y="4051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7" name="object 18"/>
          <p:cNvSpPr/>
          <p:nvPr/>
        </p:nvSpPr>
        <p:spPr>
          <a:xfrm>
            <a:off x="6713687" y="269105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8" name="object 6"/>
          <p:cNvSpPr txBox="1"/>
          <p:nvPr/>
        </p:nvSpPr>
        <p:spPr>
          <a:xfrm>
            <a:off x="1332125" y="3759280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grpSp>
        <p:nvGrpSpPr>
          <p:cNvPr id="129" name="Group 128"/>
          <p:cNvGrpSpPr/>
          <p:nvPr/>
        </p:nvGrpSpPr>
        <p:grpSpPr>
          <a:xfrm>
            <a:off x="2383438" y="1888930"/>
            <a:ext cx="6303362" cy="4054670"/>
            <a:chOff x="2343901" y="1923700"/>
            <a:chExt cx="6303362" cy="4054670"/>
          </a:xfrm>
        </p:grpSpPr>
        <p:sp>
          <p:nvSpPr>
            <p:cNvPr id="130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131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  <p:sp>
        <p:nvSpPr>
          <p:cNvPr id="132" name="object 69"/>
          <p:cNvSpPr/>
          <p:nvPr/>
        </p:nvSpPr>
        <p:spPr>
          <a:xfrm>
            <a:off x="5482207" y="2493252"/>
            <a:ext cx="565019" cy="625840"/>
          </a:xfrm>
          <a:custGeom>
            <a:avLst/>
            <a:gdLst/>
            <a:ahLst/>
            <a:cxnLst/>
            <a:rect l="l" t="t" r="r" b="b"/>
            <a:pathLst>
              <a:path w="565019" h="625840">
                <a:moveTo>
                  <a:pt x="0" y="0"/>
                </a:moveTo>
                <a:lnTo>
                  <a:pt x="0" y="625840"/>
                </a:lnTo>
                <a:lnTo>
                  <a:pt x="565019" y="625840"/>
                </a:lnTo>
                <a:lnTo>
                  <a:pt x="565019" y="0"/>
                </a:lnTo>
                <a:lnTo>
                  <a:pt x="0" y="0"/>
                </a:lnTo>
                <a:close/>
              </a:path>
            </a:pathLst>
          </a:custGeom>
          <a:solidFill>
            <a:srgbClr val="59B9D0">
              <a:alpha val="71000"/>
            </a:srgbClr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3" name="object 69"/>
          <p:cNvSpPr/>
          <p:nvPr/>
        </p:nvSpPr>
        <p:spPr>
          <a:xfrm>
            <a:off x="3681884" y="3841353"/>
            <a:ext cx="565019" cy="625840"/>
          </a:xfrm>
          <a:custGeom>
            <a:avLst/>
            <a:gdLst/>
            <a:ahLst/>
            <a:cxnLst/>
            <a:rect l="l" t="t" r="r" b="b"/>
            <a:pathLst>
              <a:path w="565019" h="625840">
                <a:moveTo>
                  <a:pt x="0" y="0"/>
                </a:moveTo>
                <a:lnTo>
                  <a:pt x="0" y="625840"/>
                </a:lnTo>
                <a:lnTo>
                  <a:pt x="565019" y="625840"/>
                </a:lnTo>
                <a:lnTo>
                  <a:pt x="565019" y="0"/>
                </a:lnTo>
                <a:lnTo>
                  <a:pt x="0" y="0"/>
                </a:lnTo>
                <a:close/>
              </a:path>
            </a:pathLst>
          </a:custGeom>
          <a:solidFill>
            <a:srgbClr val="CD665F">
              <a:alpha val="71000"/>
            </a:srgbClr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4" name="object 69"/>
          <p:cNvSpPr/>
          <p:nvPr/>
        </p:nvSpPr>
        <p:spPr>
          <a:xfrm>
            <a:off x="5367302" y="5040942"/>
            <a:ext cx="565019" cy="625840"/>
          </a:xfrm>
          <a:custGeom>
            <a:avLst/>
            <a:gdLst/>
            <a:ahLst/>
            <a:cxnLst/>
            <a:rect l="l" t="t" r="r" b="b"/>
            <a:pathLst>
              <a:path w="565019" h="625840">
                <a:moveTo>
                  <a:pt x="0" y="0"/>
                </a:moveTo>
                <a:lnTo>
                  <a:pt x="0" y="625840"/>
                </a:lnTo>
                <a:lnTo>
                  <a:pt x="565019" y="625840"/>
                </a:lnTo>
                <a:lnTo>
                  <a:pt x="565019" y="0"/>
                </a:lnTo>
                <a:lnTo>
                  <a:pt x="0" y="0"/>
                </a:lnTo>
                <a:close/>
              </a:path>
            </a:pathLst>
          </a:custGeom>
          <a:solidFill>
            <a:srgbClr val="AAC56C">
              <a:alpha val="71000"/>
            </a:srgbClr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5" name="object 69"/>
          <p:cNvSpPr/>
          <p:nvPr/>
        </p:nvSpPr>
        <p:spPr>
          <a:xfrm>
            <a:off x="6923591" y="2055341"/>
            <a:ext cx="565019" cy="625840"/>
          </a:xfrm>
          <a:custGeom>
            <a:avLst/>
            <a:gdLst/>
            <a:ahLst/>
            <a:cxnLst/>
            <a:rect l="l" t="t" r="r" b="b"/>
            <a:pathLst>
              <a:path w="565019" h="625840">
                <a:moveTo>
                  <a:pt x="0" y="0"/>
                </a:moveTo>
                <a:lnTo>
                  <a:pt x="0" y="625840"/>
                </a:lnTo>
                <a:lnTo>
                  <a:pt x="565019" y="625840"/>
                </a:lnTo>
                <a:lnTo>
                  <a:pt x="565019" y="0"/>
                </a:lnTo>
                <a:lnTo>
                  <a:pt x="0" y="0"/>
                </a:lnTo>
                <a:close/>
              </a:path>
            </a:pathLst>
          </a:custGeom>
          <a:solidFill>
            <a:srgbClr val="FAA757">
              <a:alpha val="71000"/>
            </a:srgbClr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ject 6"/>
          <p:cNvSpPr txBox="1"/>
          <p:nvPr/>
        </p:nvSpPr>
        <p:spPr>
          <a:xfrm>
            <a:off x="2101916" y="369650"/>
            <a:ext cx="5438288" cy="4318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 lvl="0">
              <a:lnSpc>
                <a:spcPts val="3400"/>
              </a:lnSpc>
              <a:spcBef>
                <a:spcPts val="170"/>
              </a:spcBef>
            </a:pPr>
            <a:r>
              <a:rPr sz="4800" spc="0" baseline="1706" dirty="0" smtClean="0">
                <a:solidFill>
                  <a:srgbClr val="4E81BC"/>
                </a:solidFill>
                <a:latin typeface="+mj-lt"/>
                <a:cs typeface="Calibri"/>
              </a:rPr>
              <a:t>Remember</a:t>
            </a:r>
            <a:r>
              <a:rPr lang="en-US" sz="4800" spc="0" baseline="1706" dirty="0" smtClean="0">
                <a:solidFill>
                  <a:srgbClr val="4E81BC"/>
                </a:solidFill>
                <a:latin typeface="+mj-lt"/>
                <a:cs typeface="Calibri"/>
              </a:rPr>
              <a:t> </a:t>
            </a:r>
            <a:r>
              <a:rPr lang="en-US" sz="4800" baseline="1706" dirty="0">
                <a:solidFill>
                  <a:srgbClr val="4E81BC"/>
                </a:solidFill>
                <a:latin typeface="+mj-lt"/>
                <a:cs typeface="Calibri"/>
              </a:rPr>
              <a:t>K-</a:t>
            </a:r>
            <a:r>
              <a:rPr lang="en-US" sz="4800" baseline="1706" dirty="0" smtClean="0">
                <a:solidFill>
                  <a:srgbClr val="4E81BC"/>
                </a:solidFill>
                <a:latin typeface="+mj-lt"/>
                <a:cs typeface="Calibri"/>
              </a:rPr>
              <a:t>­Means</a:t>
            </a:r>
            <a:r>
              <a:rPr lang="en-US" sz="4800" baseline="1706" dirty="0">
                <a:solidFill>
                  <a:srgbClr val="4E81BC"/>
                </a:solidFill>
                <a:latin typeface="+mj-lt"/>
                <a:cs typeface="Calibri"/>
              </a:rPr>
              <a:t>?</a:t>
            </a:r>
            <a:endParaRPr lang="en-US" sz="3200" dirty="0">
              <a:solidFill>
                <a:prstClr val="black"/>
              </a:solidFill>
              <a:latin typeface="+mj-lt"/>
              <a:cs typeface="Calibri"/>
            </a:endParaRPr>
          </a:p>
          <a:p>
            <a:pPr marL="12700">
              <a:lnSpc>
                <a:spcPts val="3400"/>
              </a:lnSpc>
              <a:spcBef>
                <a:spcPts val="170"/>
              </a:spcBef>
            </a:pPr>
            <a:endParaRPr sz="3200" dirty="0">
              <a:latin typeface="+mj-lt"/>
              <a:cs typeface="Calibri"/>
            </a:endParaRPr>
          </a:p>
        </p:txBody>
      </p:sp>
      <p:sp>
        <p:nvSpPr>
          <p:cNvPr id="77" name="object 82"/>
          <p:cNvSpPr/>
          <p:nvPr/>
        </p:nvSpPr>
        <p:spPr>
          <a:xfrm>
            <a:off x="4414372" y="54871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8" name="object 84"/>
          <p:cNvSpPr/>
          <p:nvPr/>
        </p:nvSpPr>
        <p:spPr>
          <a:xfrm>
            <a:off x="5399747" y="55212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9" name="object 86"/>
          <p:cNvSpPr/>
          <p:nvPr/>
        </p:nvSpPr>
        <p:spPr>
          <a:xfrm>
            <a:off x="6251551" y="55023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0" name="object 74"/>
          <p:cNvSpPr/>
          <p:nvPr/>
        </p:nvSpPr>
        <p:spPr>
          <a:xfrm>
            <a:off x="2668469" y="519520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1" name="object 72"/>
          <p:cNvSpPr/>
          <p:nvPr/>
        </p:nvSpPr>
        <p:spPr>
          <a:xfrm>
            <a:off x="5959366" y="251737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40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80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2" name="object 70"/>
          <p:cNvSpPr/>
          <p:nvPr/>
        </p:nvSpPr>
        <p:spPr>
          <a:xfrm>
            <a:off x="5560113" y="213564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3" name="object 68"/>
          <p:cNvSpPr/>
          <p:nvPr/>
        </p:nvSpPr>
        <p:spPr>
          <a:xfrm>
            <a:off x="5148028" y="1723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7" name="object 66"/>
          <p:cNvSpPr/>
          <p:nvPr/>
        </p:nvSpPr>
        <p:spPr>
          <a:xfrm>
            <a:off x="6872003" y="34121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8" name="object 63"/>
          <p:cNvSpPr/>
          <p:nvPr/>
        </p:nvSpPr>
        <p:spPr>
          <a:xfrm>
            <a:off x="5880842" y="502152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6"/>
                </a:lnTo>
                <a:lnTo>
                  <a:pt x="1583" y="198179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6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2"/>
                </a:lnTo>
                <a:lnTo>
                  <a:pt x="49876" y="299561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6"/>
                </a:lnTo>
                <a:lnTo>
                  <a:pt x="196530" y="342926"/>
                </a:lnTo>
                <a:lnTo>
                  <a:pt x="209650" y="339004"/>
                </a:lnTo>
                <a:lnTo>
                  <a:pt x="222295" y="333936"/>
                </a:lnTo>
                <a:lnTo>
                  <a:pt x="234413" y="327778"/>
                </a:lnTo>
                <a:lnTo>
                  <a:pt x="245953" y="320583"/>
                </a:lnTo>
                <a:lnTo>
                  <a:pt x="256864" y="312409"/>
                </a:lnTo>
                <a:lnTo>
                  <a:pt x="267095" y="303311"/>
                </a:lnTo>
                <a:lnTo>
                  <a:pt x="276595" y="293343"/>
                </a:lnTo>
                <a:lnTo>
                  <a:pt x="285312" y="282562"/>
                </a:lnTo>
                <a:lnTo>
                  <a:pt x="293195" y="271023"/>
                </a:lnTo>
                <a:lnTo>
                  <a:pt x="300193" y="258781"/>
                </a:lnTo>
                <a:lnTo>
                  <a:pt x="306255" y="245892"/>
                </a:lnTo>
                <a:lnTo>
                  <a:pt x="311330" y="232411"/>
                </a:lnTo>
                <a:lnTo>
                  <a:pt x="315366" y="218394"/>
                </a:lnTo>
                <a:lnTo>
                  <a:pt x="318312" y="203896"/>
                </a:lnTo>
                <a:lnTo>
                  <a:pt x="320117" y="188973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9" y="93485"/>
                </a:lnTo>
                <a:lnTo>
                  <a:pt x="296006" y="80986"/>
                </a:lnTo>
                <a:lnTo>
                  <a:pt x="288459" y="69169"/>
                </a:lnTo>
                <a:lnTo>
                  <a:pt x="280058" y="58089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4"/>
                </a:lnTo>
                <a:lnTo>
                  <a:pt x="86318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9" name="object 62"/>
          <p:cNvSpPr/>
          <p:nvPr/>
        </p:nvSpPr>
        <p:spPr>
          <a:xfrm>
            <a:off x="4326962" y="34938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0" name="object 60"/>
          <p:cNvSpPr/>
          <p:nvPr/>
        </p:nvSpPr>
        <p:spPr>
          <a:xfrm>
            <a:off x="3451263" y="457102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1" name="object 58"/>
          <p:cNvSpPr/>
          <p:nvPr/>
        </p:nvSpPr>
        <p:spPr>
          <a:xfrm>
            <a:off x="7513462" y="204543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2" name="object 56"/>
          <p:cNvSpPr/>
          <p:nvPr/>
        </p:nvSpPr>
        <p:spPr>
          <a:xfrm>
            <a:off x="6553321" y="196196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3" name="object 54"/>
          <p:cNvSpPr/>
          <p:nvPr/>
        </p:nvSpPr>
        <p:spPr>
          <a:xfrm>
            <a:off x="7353097" y="275391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4" name="object 52"/>
          <p:cNvSpPr/>
          <p:nvPr/>
        </p:nvSpPr>
        <p:spPr>
          <a:xfrm>
            <a:off x="4696124" y="412086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5" name="object 50"/>
          <p:cNvSpPr/>
          <p:nvPr/>
        </p:nvSpPr>
        <p:spPr>
          <a:xfrm>
            <a:off x="4441297" y="46123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6" name="object 48"/>
          <p:cNvSpPr/>
          <p:nvPr/>
        </p:nvSpPr>
        <p:spPr>
          <a:xfrm>
            <a:off x="3130532" y="40499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7" name="object 42"/>
          <p:cNvSpPr/>
          <p:nvPr/>
        </p:nvSpPr>
        <p:spPr>
          <a:xfrm>
            <a:off x="5748103" y="33118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8" name="object 44"/>
          <p:cNvSpPr/>
          <p:nvPr/>
        </p:nvSpPr>
        <p:spPr>
          <a:xfrm>
            <a:off x="5560113" y="25802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9" name="object 46"/>
          <p:cNvSpPr/>
          <p:nvPr/>
        </p:nvSpPr>
        <p:spPr>
          <a:xfrm>
            <a:off x="5421508" y="296447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0" name="object 40"/>
          <p:cNvSpPr/>
          <p:nvPr/>
        </p:nvSpPr>
        <p:spPr>
          <a:xfrm>
            <a:off x="5213120" y="49216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1" name="object 38"/>
          <p:cNvSpPr/>
          <p:nvPr/>
        </p:nvSpPr>
        <p:spPr>
          <a:xfrm>
            <a:off x="7032365" y="221911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2" name="object 36"/>
          <p:cNvSpPr/>
          <p:nvPr/>
        </p:nvSpPr>
        <p:spPr>
          <a:xfrm>
            <a:off x="7385165" y="340218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6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7"/>
                </a:lnTo>
                <a:lnTo>
                  <a:pt x="310251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3" name="object 34"/>
          <p:cNvSpPr/>
          <p:nvPr/>
        </p:nvSpPr>
        <p:spPr>
          <a:xfrm>
            <a:off x="5038354" y="24830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4" name="object 32"/>
          <p:cNvSpPr/>
          <p:nvPr/>
        </p:nvSpPr>
        <p:spPr>
          <a:xfrm>
            <a:off x="7192732" y="159327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5" name="object 30"/>
          <p:cNvSpPr/>
          <p:nvPr/>
        </p:nvSpPr>
        <p:spPr>
          <a:xfrm>
            <a:off x="6201572" y="316997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6" name="object 28"/>
          <p:cNvSpPr/>
          <p:nvPr/>
        </p:nvSpPr>
        <p:spPr>
          <a:xfrm>
            <a:off x="4877989" y="532865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7" name="object 26"/>
          <p:cNvSpPr/>
          <p:nvPr/>
        </p:nvSpPr>
        <p:spPr>
          <a:xfrm>
            <a:off x="5581873" y="4521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8" name="object 24"/>
          <p:cNvSpPr/>
          <p:nvPr/>
        </p:nvSpPr>
        <p:spPr>
          <a:xfrm>
            <a:off x="3528670" y="35173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9" name="object 22"/>
          <p:cNvSpPr/>
          <p:nvPr/>
        </p:nvSpPr>
        <p:spPr>
          <a:xfrm>
            <a:off x="3252845" y="520650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0" name="object 20"/>
          <p:cNvSpPr/>
          <p:nvPr/>
        </p:nvSpPr>
        <p:spPr>
          <a:xfrm>
            <a:off x="3849401" y="4051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1" name="object 18"/>
          <p:cNvSpPr/>
          <p:nvPr/>
        </p:nvSpPr>
        <p:spPr>
          <a:xfrm>
            <a:off x="6713687" y="269105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2" name="object 6"/>
          <p:cNvSpPr txBox="1"/>
          <p:nvPr/>
        </p:nvSpPr>
        <p:spPr>
          <a:xfrm>
            <a:off x="1332125" y="3759280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sp>
        <p:nvSpPr>
          <p:cNvPr id="113" name="object 5"/>
          <p:cNvSpPr txBox="1"/>
          <p:nvPr/>
        </p:nvSpPr>
        <p:spPr>
          <a:xfrm>
            <a:off x="5426815" y="6116930"/>
            <a:ext cx="542241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Age</a:t>
            </a:r>
            <a:endParaRPr sz="2400">
              <a:cs typeface="Calibri"/>
            </a:endParaRPr>
          </a:p>
        </p:txBody>
      </p:sp>
      <p:grpSp>
        <p:nvGrpSpPr>
          <p:cNvPr id="114" name="Group 113"/>
          <p:cNvGrpSpPr/>
          <p:nvPr/>
        </p:nvGrpSpPr>
        <p:grpSpPr>
          <a:xfrm>
            <a:off x="2383438" y="1888930"/>
            <a:ext cx="6303362" cy="4054670"/>
            <a:chOff x="2343901" y="1923700"/>
            <a:chExt cx="6303362" cy="4054670"/>
          </a:xfrm>
        </p:grpSpPr>
        <p:sp>
          <p:nvSpPr>
            <p:cNvPr id="115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116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</p:spTree>
    <p:extLst>
      <p:ext uri="{BB962C8B-B14F-4D97-AF65-F5344CB8AC3E}">
        <p14:creationId xmlns:p14="http://schemas.microsoft.com/office/powerpoint/2010/main" val="1267141265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3" name="object 82"/>
          <p:cNvSpPr/>
          <p:nvPr/>
        </p:nvSpPr>
        <p:spPr>
          <a:xfrm>
            <a:off x="4414372" y="54871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4" name="object 84"/>
          <p:cNvSpPr/>
          <p:nvPr/>
        </p:nvSpPr>
        <p:spPr>
          <a:xfrm>
            <a:off x="5399747" y="55212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5" name="object 86"/>
          <p:cNvSpPr/>
          <p:nvPr/>
        </p:nvSpPr>
        <p:spPr>
          <a:xfrm>
            <a:off x="6251551" y="55023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6" name="object 74"/>
          <p:cNvSpPr/>
          <p:nvPr/>
        </p:nvSpPr>
        <p:spPr>
          <a:xfrm>
            <a:off x="2668469" y="519520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7" name="object 72"/>
          <p:cNvSpPr/>
          <p:nvPr/>
        </p:nvSpPr>
        <p:spPr>
          <a:xfrm>
            <a:off x="5959366" y="251737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40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80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8" name="object 70"/>
          <p:cNvSpPr/>
          <p:nvPr/>
        </p:nvSpPr>
        <p:spPr>
          <a:xfrm>
            <a:off x="5560113" y="213564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9" name="object 68"/>
          <p:cNvSpPr/>
          <p:nvPr/>
        </p:nvSpPr>
        <p:spPr>
          <a:xfrm>
            <a:off x="5148028" y="1723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0" name="object 66"/>
          <p:cNvSpPr/>
          <p:nvPr/>
        </p:nvSpPr>
        <p:spPr>
          <a:xfrm>
            <a:off x="6872003" y="34121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6094C9"/>
          </a:solidFill>
          <a:ln w="28575">
            <a:solidFill>
              <a:srgbClr val="46719B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1" name="object 63"/>
          <p:cNvSpPr/>
          <p:nvPr/>
        </p:nvSpPr>
        <p:spPr>
          <a:xfrm>
            <a:off x="5880842" y="502152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6"/>
                </a:lnTo>
                <a:lnTo>
                  <a:pt x="1583" y="198179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6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2"/>
                </a:lnTo>
                <a:lnTo>
                  <a:pt x="49876" y="299561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6"/>
                </a:lnTo>
                <a:lnTo>
                  <a:pt x="196530" y="342926"/>
                </a:lnTo>
                <a:lnTo>
                  <a:pt x="209650" y="339004"/>
                </a:lnTo>
                <a:lnTo>
                  <a:pt x="222295" y="333936"/>
                </a:lnTo>
                <a:lnTo>
                  <a:pt x="234413" y="327778"/>
                </a:lnTo>
                <a:lnTo>
                  <a:pt x="245953" y="320583"/>
                </a:lnTo>
                <a:lnTo>
                  <a:pt x="256864" y="312409"/>
                </a:lnTo>
                <a:lnTo>
                  <a:pt x="267095" y="303311"/>
                </a:lnTo>
                <a:lnTo>
                  <a:pt x="276595" y="293343"/>
                </a:lnTo>
                <a:lnTo>
                  <a:pt x="285312" y="282562"/>
                </a:lnTo>
                <a:lnTo>
                  <a:pt x="293195" y="271023"/>
                </a:lnTo>
                <a:lnTo>
                  <a:pt x="300193" y="258781"/>
                </a:lnTo>
                <a:lnTo>
                  <a:pt x="306255" y="245892"/>
                </a:lnTo>
                <a:lnTo>
                  <a:pt x="311330" y="232411"/>
                </a:lnTo>
                <a:lnTo>
                  <a:pt x="315366" y="218394"/>
                </a:lnTo>
                <a:lnTo>
                  <a:pt x="318312" y="203896"/>
                </a:lnTo>
                <a:lnTo>
                  <a:pt x="320117" y="188973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9" y="93485"/>
                </a:lnTo>
                <a:lnTo>
                  <a:pt x="296006" y="80986"/>
                </a:lnTo>
                <a:lnTo>
                  <a:pt x="288459" y="69169"/>
                </a:lnTo>
                <a:lnTo>
                  <a:pt x="280058" y="58089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4"/>
                </a:lnTo>
                <a:lnTo>
                  <a:pt x="86318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2" name="object 62"/>
          <p:cNvSpPr/>
          <p:nvPr/>
        </p:nvSpPr>
        <p:spPr>
          <a:xfrm>
            <a:off x="4326962" y="34938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3" name="object 60"/>
          <p:cNvSpPr/>
          <p:nvPr/>
        </p:nvSpPr>
        <p:spPr>
          <a:xfrm>
            <a:off x="3451263" y="457102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4" name="object 58"/>
          <p:cNvSpPr/>
          <p:nvPr/>
        </p:nvSpPr>
        <p:spPr>
          <a:xfrm>
            <a:off x="7513462" y="204543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4BAF39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5" name="object 56"/>
          <p:cNvSpPr/>
          <p:nvPr/>
        </p:nvSpPr>
        <p:spPr>
          <a:xfrm>
            <a:off x="6553321" y="196196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6" name="object 54"/>
          <p:cNvSpPr/>
          <p:nvPr/>
        </p:nvSpPr>
        <p:spPr>
          <a:xfrm>
            <a:off x="7353097" y="275391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7" name="object 52"/>
          <p:cNvSpPr/>
          <p:nvPr/>
        </p:nvSpPr>
        <p:spPr>
          <a:xfrm>
            <a:off x="4696124" y="412086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8" name="object 50"/>
          <p:cNvSpPr/>
          <p:nvPr/>
        </p:nvSpPr>
        <p:spPr>
          <a:xfrm>
            <a:off x="4441297" y="46123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9" name="object 48"/>
          <p:cNvSpPr/>
          <p:nvPr/>
        </p:nvSpPr>
        <p:spPr>
          <a:xfrm>
            <a:off x="3130532" y="40499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0" name="object 42"/>
          <p:cNvSpPr/>
          <p:nvPr/>
        </p:nvSpPr>
        <p:spPr>
          <a:xfrm>
            <a:off x="5748103" y="33118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1" name="object 44"/>
          <p:cNvSpPr/>
          <p:nvPr/>
        </p:nvSpPr>
        <p:spPr>
          <a:xfrm>
            <a:off x="5560113" y="25802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2" name="object 46"/>
          <p:cNvSpPr/>
          <p:nvPr/>
        </p:nvSpPr>
        <p:spPr>
          <a:xfrm>
            <a:off x="5421508" y="296447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3" name="object 40"/>
          <p:cNvSpPr/>
          <p:nvPr/>
        </p:nvSpPr>
        <p:spPr>
          <a:xfrm>
            <a:off x="5213120" y="49216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4" name="object 38"/>
          <p:cNvSpPr/>
          <p:nvPr/>
        </p:nvSpPr>
        <p:spPr>
          <a:xfrm>
            <a:off x="7032365" y="221911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5" name="object 36"/>
          <p:cNvSpPr/>
          <p:nvPr/>
        </p:nvSpPr>
        <p:spPr>
          <a:xfrm>
            <a:off x="7385165" y="340218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6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7"/>
                </a:lnTo>
                <a:lnTo>
                  <a:pt x="310251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6094C9"/>
          </a:solidFill>
          <a:ln w="28575">
            <a:solidFill>
              <a:srgbClr val="46719B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6" name="object 34"/>
          <p:cNvSpPr/>
          <p:nvPr/>
        </p:nvSpPr>
        <p:spPr>
          <a:xfrm>
            <a:off x="5038354" y="24830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7" name="object 32"/>
          <p:cNvSpPr/>
          <p:nvPr/>
        </p:nvSpPr>
        <p:spPr>
          <a:xfrm>
            <a:off x="7192732" y="159327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4BAF39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8" name="object 30"/>
          <p:cNvSpPr/>
          <p:nvPr/>
        </p:nvSpPr>
        <p:spPr>
          <a:xfrm>
            <a:off x="6201572" y="316997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9" name="object 28"/>
          <p:cNvSpPr/>
          <p:nvPr/>
        </p:nvSpPr>
        <p:spPr>
          <a:xfrm>
            <a:off x="4877989" y="532865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0" name="object 26"/>
          <p:cNvSpPr/>
          <p:nvPr/>
        </p:nvSpPr>
        <p:spPr>
          <a:xfrm>
            <a:off x="5581873" y="4521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1" name="object 24"/>
          <p:cNvSpPr/>
          <p:nvPr/>
        </p:nvSpPr>
        <p:spPr>
          <a:xfrm>
            <a:off x="3528670" y="35173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2" name="object 22"/>
          <p:cNvSpPr/>
          <p:nvPr/>
        </p:nvSpPr>
        <p:spPr>
          <a:xfrm>
            <a:off x="3252845" y="520650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3" name="object 20"/>
          <p:cNvSpPr/>
          <p:nvPr/>
        </p:nvSpPr>
        <p:spPr>
          <a:xfrm>
            <a:off x="3849401" y="4051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4" name="object 18"/>
          <p:cNvSpPr/>
          <p:nvPr/>
        </p:nvSpPr>
        <p:spPr>
          <a:xfrm>
            <a:off x="6713687" y="269105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5" name="object 6"/>
          <p:cNvSpPr txBox="1"/>
          <p:nvPr/>
        </p:nvSpPr>
        <p:spPr>
          <a:xfrm>
            <a:off x="1332125" y="3759280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sp>
        <p:nvSpPr>
          <p:cNvPr id="116" name="object 5"/>
          <p:cNvSpPr txBox="1"/>
          <p:nvPr/>
        </p:nvSpPr>
        <p:spPr>
          <a:xfrm>
            <a:off x="5426815" y="6116930"/>
            <a:ext cx="542241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Age</a:t>
            </a:r>
            <a:endParaRPr sz="2400">
              <a:cs typeface="Calibri"/>
            </a:endParaRPr>
          </a:p>
        </p:txBody>
      </p:sp>
      <p:grpSp>
        <p:nvGrpSpPr>
          <p:cNvPr id="117" name="Group 116"/>
          <p:cNvGrpSpPr/>
          <p:nvPr/>
        </p:nvGrpSpPr>
        <p:grpSpPr>
          <a:xfrm>
            <a:off x="2383438" y="1888930"/>
            <a:ext cx="6303362" cy="4054670"/>
            <a:chOff x="2343901" y="1923700"/>
            <a:chExt cx="6303362" cy="4054670"/>
          </a:xfrm>
        </p:grpSpPr>
        <p:sp>
          <p:nvSpPr>
            <p:cNvPr id="118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119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  <p:sp>
        <p:nvSpPr>
          <p:cNvPr id="120" name="object 10"/>
          <p:cNvSpPr txBox="1"/>
          <p:nvPr/>
        </p:nvSpPr>
        <p:spPr>
          <a:xfrm>
            <a:off x="2101916" y="369650"/>
            <a:ext cx="6296519" cy="4318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3400"/>
              </a:lnSpc>
              <a:spcBef>
                <a:spcPts val="170"/>
              </a:spcBef>
            </a:pPr>
            <a:r>
              <a:rPr lang="en-US" sz="4800" baseline="1706" dirty="0">
                <a:solidFill>
                  <a:srgbClr val="4E81BC"/>
                </a:solidFill>
                <a:latin typeface="+mj-lt"/>
                <a:cs typeface="Calibri"/>
              </a:rPr>
              <a:t>Agglomerative </a:t>
            </a:r>
            <a:r>
              <a:rPr sz="4800" spc="0" baseline="1706" dirty="0" smtClean="0">
                <a:solidFill>
                  <a:srgbClr val="4E81BC"/>
                </a:solidFill>
                <a:latin typeface="+mj-lt"/>
                <a:cs typeface="Calibri"/>
              </a:rPr>
              <a:t>Hierarchical Clustering</a:t>
            </a:r>
            <a:endParaRPr sz="3200" dirty="0">
              <a:latin typeface="+mj-lt"/>
              <a:cs typeface="Calibri"/>
            </a:endParaRPr>
          </a:p>
        </p:txBody>
      </p:sp>
      <p:sp>
        <p:nvSpPr>
          <p:cNvPr id="121" name="object 11"/>
          <p:cNvSpPr txBox="1"/>
          <p:nvPr/>
        </p:nvSpPr>
        <p:spPr>
          <a:xfrm>
            <a:off x="2101916" y="852250"/>
            <a:ext cx="6584884" cy="4318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>
            <a:defPPr>
              <a:defRPr lang="en-US"/>
            </a:defPPr>
            <a:lvl1pPr marL="12700">
              <a:lnSpc>
                <a:spcPts val="3400"/>
              </a:lnSpc>
              <a:spcBef>
                <a:spcPts val="170"/>
              </a:spcBef>
              <a:defRPr sz="4800" spc="0" baseline="1706">
                <a:solidFill>
                  <a:srgbClr val="7F7E7E"/>
                </a:solidFill>
                <a:latin typeface="Calibri"/>
                <a:cs typeface="Calibri"/>
              </a:defRPr>
            </a:lvl1pPr>
          </a:lstStyle>
          <a:p>
            <a:r>
              <a:rPr lang="en-US" dirty="0">
                <a:latin typeface="+mj-lt"/>
              </a:rPr>
              <a:t>If closest </a:t>
            </a:r>
            <a:r>
              <a:rPr lang="en-US" dirty="0" smtClean="0">
                <a:latin typeface="+mj-lt"/>
              </a:rPr>
              <a:t>pair are clusters, same: merge</a:t>
            </a:r>
            <a:endParaRPr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757660765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0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bject 3"/>
          <p:cNvSpPr txBox="1"/>
          <p:nvPr/>
        </p:nvSpPr>
        <p:spPr>
          <a:xfrm>
            <a:off x="604886" y="1905000"/>
            <a:ext cx="8234313" cy="430994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>
              <a:lnSpc>
                <a:spcPts val="3265"/>
              </a:lnSpc>
            </a:pPr>
            <a:r>
              <a:rPr sz="3200" b="1" spc="0" dirty="0" smtClean="0">
                <a:solidFill>
                  <a:srgbClr val="7F7E7E"/>
                </a:solidFill>
                <a:cs typeface="Calibri"/>
              </a:rPr>
              <a:t>fr</a:t>
            </a:r>
            <a:r>
              <a:rPr sz="3200" b="1" spc="-4" dirty="0" smtClean="0">
                <a:solidFill>
                  <a:srgbClr val="7F7E7E"/>
                </a:solidFill>
                <a:cs typeface="Calibri"/>
              </a:rPr>
              <a:t>o</a:t>
            </a:r>
            <a:r>
              <a:rPr sz="3200" b="1" spc="0" dirty="0" smtClean="0">
                <a:solidFill>
                  <a:srgbClr val="7F7E7E"/>
                </a:solidFill>
                <a:cs typeface="Calibri"/>
              </a:rPr>
              <a:t>m </a:t>
            </a:r>
            <a:r>
              <a:rPr sz="3200" spc="0" dirty="0" smtClean="0">
                <a:solidFill>
                  <a:srgbClr val="4E81BC"/>
                </a:solidFill>
                <a:cs typeface="Calibri"/>
              </a:rPr>
              <a:t>sklearn.cluster </a:t>
            </a:r>
            <a:r>
              <a:rPr sz="3200" b="1" spc="0" dirty="0" smtClean="0">
                <a:solidFill>
                  <a:srgbClr val="7F7E7E"/>
                </a:solidFill>
                <a:cs typeface="Calibri"/>
              </a:rPr>
              <a:t>impo</a:t>
            </a:r>
            <a:r>
              <a:rPr sz="3200" b="1" spc="4" dirty="0" smtClean="0">
                <a:solidFill>
                  <a:srgbClr val="7F7E7E"/>
                </a:solidFill>
                <a:cs typeface="Calibri"/>
              </a:rPr>
              <a:t>r</a:t>
            </a:r>
            <a:r>
              <a:rPr sz="3200" b="1" spc="0" dirty="0" smtClean="0">
                <a:solidFill>
                  <a:srgbClr val="7F7E7E"/>
                </a:solidFill>
                <a:cs typeface="Calibri"/>
              </a:rPr>
              <a:t>t </a:t>
            </a:r>
            <a:r>
              <a:rPr sz="3200" spc="0" dirty="0" smtClean="0">
                <a:solidFill>
                  <a:srgbClr val="9BBA58"/>
                </a:solidFill>
                <a:cs typeface="Calibri"/>
              </a:rPr>
              <a:t>MeanShi</a:t>
            </a:r>
            <a:r>
              <a:rPr lang="en-US" sz="3200" spc="0" dirty="0" smtClean="0">
                <a:solidFill>
                  <a:srgbClr val="9BBA58"/>
                </a:solidFill>
                <a:cs typeface="Calibri"/>
              </a:rPr>
              <a:t>ft</a:t>
            </a:r>
          </a:p>
        </p:txBody>
      </p:sp>
      <p:sp>
        <p:nvSpPr>
          <p:cNvPr id="5" name="object 2"/>
          <p:cNvSpPr txBox="1"/>
          <p:nvPr/>
        </p:nvSpPr>
        <p:spPr>
          <a:xfrm>
            <a:off x="604887" y="2661903"/>
            <a:ext cx="7548513" cy="355600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>
              <a:lnSpc>
                <a:spcPts val="2800"/>
              </a:lnSpc>
              <a:spcBef>
                <a:spcPts val="140"/>
              </a:spcBef>
            </a:pPr>
            <a:r>
              <a:rPr sz="3200" baseline="2100" dirty="0" smtClean="0">
                <a:solidFill>
                  <a:srgbClr val="7F7E7E"/>
                </a:solidFill>
                <a:cs typeface="Calibri"/>
              </a:rPr>
              <a:t>MeanShi</a:t>
            </a:r>
            <a:r>
              <a:rPr lang="en-US" sz="3200" baseline="2100" dirty="0" smtClean="0">
                <a:solidFill>
                  <a:srgbClr val="7F7E7E"/>
                </a:solidFill>
                <a:cs typeface="Calibri"/>
              </a:rPr>
              <a:t>ft</a:t>
            </a:r>
            <a:r>
              <a:rPr sz="3200" baseline="2100" dirty="0" smtClean="0">
                <a:solidFill>
                  <a:srgbClr val="7F7E7E"/>
                </a:solidFill>
                <a:cs typeface="Calibri"/>
              </a:rPr>
              <a:t>()</a:t>
            </a:r>
            <a:endParaRPr sz="3200" dirty="0"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43002502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0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ject 3"/>
          <p:cNvSpPr/>
          <p:nvPr/>
        </p:nvSpPr>
        <p:spPr>
          <a:xfrm>
            <a:off x="1041400" y="3691729"/>
            <a:ext cx="7048498" cy="2234938"/>
          </a:xfrm>
          <a:prstGeom prst="rect">
            <a:avLst/>
          </a:prstGeom>
          <a:blipFill>
            <a:blip r:embed="rId2" cstate="print"/>
            <a:srcRect/>
            <a:stretch>
              <a:fillRect t="1" b="-35244"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2" name="object 2"/>
          <p:cNvSpPr txBox="1"/>
          <p:nvPr/>
        </p:nvSpPr>
        <p:spPr>
          <a:xfrm>
            <a:off x="940428" y="2138996"/>
            <a:ext cx="7593972" cy="1206933"/>
          </a:xfrm>
          <a:prstGeom prst="rect">
            <a:avLst/>
          </a:prstGeom>
        </p:spPr>
        <p:txBody>
          <a:bodyPr wrap="square" lIns="0" tIns="0" rIns="0" bIns="0" rtlCol="0" anchor="b" anchorCtr="0">
            <a:spAutoFit/>
          </a:bodyPr>
          <a:lstStyle/>
          <a:p>
            <a:pPr marL="12700" algn="ctr">
              <a:lnSpc>
                <a:spcPts val="4600"/>
              </a:lnSpc>
              <a:spcBef>
                <a:spcPts val="230"/>
              </a:spcBef>
            </a:pPr>
            <a:r>
              <a:rPr lang="en-US" sz="6600" baseline="1861" dirty="0">
                <a:solidFill>
                  <a:srgbClr val="F69545"/>
                </a:solidFill>
                <a:cs typeface="Calibri"/>
              </a:rPr>
              <a:t>Spectral Clustering</a:t>
            </a:r>
          </a:p>
          <a:p>
            <a:pPr marL="12700" algn="ctr">
              <a:lnSpc>
                <a:spcPts val="4600"/>
              </a:lnSpc>
              <a:spcBef>
                <a:spcPts val="230"/>
              </a:spcBef>
            </a:pPr>
            <a:r>
              <a:rPr lang="en-US" sz="6600" baseline="1861" dirty="0">
                <a:solidFill>
                  <a:srgbClr val="F69545"/>
                </a:solidFill>
                <a:cs typeface="Calibri"/>
              </a:rPr>
              <a:t>(kernel k-</a:t>
            </a:r>
            <a:r>
              <a:rPr lang="en-US" sz="6600" baseline="1861" dirty="0" smtClean="0">
                <a:solidFill>
                  <a:srgbClr val="F69545"/>
                </a:solidFill>
                <a:cs typeface="Calibri"/>
              </a:rPr>
              <a:t>­means)</a:t>
            </a:r>
            <a:endParaRPr lang="en-US" sz="6600" baseline="1861" dirty="0">
              <a:solidFill>
                <a:srgbClr val="F69545"/>
              </a:solidFill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511336387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0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" name="object 5"/>
          <p:cNvSpPr txBox="1"/>
          <p:nvPr/>
        </p:nvSpPr>
        <p:spPr>
          <a:xfrm>
            <a:off x="2101916" y="369650"/>
            <a:ext cx="6889684" cy="448841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 marR="41909">
              <a:lnSpc>
                <a:spcPts val="3454"/>
              </a:lnSpc>
              <a:spcBef>
                <a:spcPts val="172"/>
              </a:spcBef>
            </a:pPr>
            <a:r>
              <a:rPr lang="en-US" sz="4800" baseline="2560" dirty="0" smtClean="0">
                <a:solidFill>
                  <a:srgbClr val="4E81BC"/>
                </a:solidFill>
                <a:latin typeface="+mj-lt"/>
                <a:cs typeface="Calibri"/>
              </a:rPr>
              <a:t>Spectral Clustering</a:t>
            </a:r>
            <a:endParaRPr lang="en-US" sz="3200" baseline="1137" dirty="0">
              <a:solidFill>
                <a:srgbClr val="7F7E7E"/>
              </a:solidFill>
              <a:latin typeface="+mj-lt"/>
              <a:cs typeface="Calibri"/>
            </a:endParaRPr>
          </a:p>
        </p:txBody>
      </p:sp>
      <p:sp>
        <p:nvSpPr>
          <p:cNvPr id="78" name="object 3"/>
          <p:cNvSpPr txBox="1"/>
          <p:nvPr/>
        </p:nvSpPr>
        <p:spPr>
          <a:xfrm>
            <a:off x="5426815" y="6116930"/>
            <a:ext cx="542241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latin typeface="Calibri"/>
                <a:cs typeface="Calibri"/>
              </a:rPr>
              <a:t>Age</a:t>
            </a:r>
            <a:endParaRPr sz="2400">
              <a:latin typeface="Calibri"/>
              <a:cs typeface="Calibri"/>
            </a:endParaRPr>
          </a:p>
        </p:txBody>
      </p:sp>
      <p:sp>
        <p:nvSpPr>
          <p:cNvPr id="79" name="object 82"/>
          <p:cNvSpPr/>
          <p:nvPr/>
        </p:nvSpPr>
        <p:spPr>
          <a:xfrm>
            <a:off x="4414372" y="54871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0" name="object 84"/>
          <p:cNvSpPr/>
          <p:nvPr/>
        </p:nvSpPr>
        <p:spPr>
          <a:xfrm>
            <a:off x="5399747" y="55212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1" name="object 86"/>
          <p:cNvSpPr/>
          <p:nvPr/>
        </p:nvSpPr>
        <p:spPr>
          <a:xfrm>
            <a:off x="6251551" y="55023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2" name="object 74"/>
          <p:cNvSpPr/>
          <p:nvPr/>
        </p:nvSpPr>
        <p:spPr>
          <a:xfrm>
            <a:off x="2668469" y="519520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3" name="object 72"/>
          <p:cNvSpPr/>
          <p:nvPr/>
        </p:nvSpPr>
        <p:spPr>
          <a:xfrm>
            <a:off x="5959366" y="251737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40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80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4" name="object 70"/>
          <p:cNvSpPr/>
          <p:nvPr/>
        </p:nvSpPr>
        <p:spPr>
          <a:xfrm>
            <a:off x="5560113" y="213564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5" name="object 68"/>
          <p:cNvSpPr/>
          <p:nvPr/>
        </p:nvSpPr>
        <p:spPr>
          <a:xfrm>
            <a:off x="5148028" y="1723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6" name="object 66"/>
          <p:cNvSpPr/>
          <p:nvPr/>
        </p:nvSpPr>
        <p:spPr>
          <a:xfrm>
            <a:off x="6872003" y="34121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7" name="object 63"/>
          <p:cNvSpPr/>
          <p:nvPr/>
        </p:nvSpPr>
        <p:spPr>
          <a:xfrm>
            <a:off x="5880842" y="502152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6"/>
                </a:lnTo>
                <a:lnTo>
                  <a:pt x="1583" y="198179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6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2"/>
                </a:lnTo>
                <a:lnTo>
                  <a:pt x="49876" y="299561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6"/>
                </a:lnTo>
                <a:lnTo>
                  <a:pt x="196530" y="342926"/>
                </a:lnTo>
                <a:lnTo>
                  <a:pt x="209650" y="339004"/>
                </a:lnTo>
                <a:lnTo>
                  <a:pt x="222295" y="333936"/>
                </a:lnTo>
                <a:lnTo>
                  <a:pt x="234413" y="327778"/>
                </a:lnTo>
                <a:lnTo>
                  <a:pt x="245953" y="320583"/>
                </a:lnTo>
                <a:lnTo>
                  <a:pt x="256864" y="312409"/>
                </a:lnTo>
                <a:lnTo>
                  <a:pt x="267095" y="303311"/>
                </a:lnTo>
                <a:lnTo>
                  <a:pt x="276595" y="293343"/>
                </a:lnTo>
                <a:lnTo>
                  <a:pt x="285312" y="282562"/>
                </a:lnTo>
                <a:lnTo>
                  <a:pt x="293195" y="271023"/>
                </a:lnTo>
                <a:lnTo>
                  <a:pt x="300193" y="258781"/>
                </a:lnTo>
                <a:lnTo>
                  <a:pt x="306255" y="245892"/>
                </a:lnTo>
                <a:lnTo>
                  <a:pt x="311330" y="232411"/>
                </a:lnTo>
                <a:lnTo>
                  <a:pt x="315366" y="218394"/>
                </a:lnTo>
                <a:lnTo>
                  <a:pt x="318312" y="203896"/>
                </a:lnTo>
                <a:lnTo>
                  <a:pt x="320117" y="188973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9" y="93485"/>
                </a:lnTo>
                <a:lnTo>
                  <a:pt x="296006" y="80986"/>
                </a:lnTo>
                <a:lnTo>
                  <a:pt x="288459" y="69169"/>
                </a:lnTo>
                <a:lnTo>
                  <a:pt x="280058" y="58089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4"/>
                </a:lnTo>
                <a:lnTo>
                  <a:pt x="86318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8" name="object 62"/>
          <p:cNvSpPr/>
          <p:nvPr/>
        </p:nvSpPr>
        <p:spPr>
          <a:xfrm>
            <a:off x="4326962" y="34938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9" name="object 60"/>
          <p:cNvSpPr/>
          <p:nvPr/>
        </p:nvSpPr>
        <p:spPr>
          <a:xfrm>
            <a:off x="3451263" y="457102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0" name="object 58"/>
          <p:cNvSpPr/>
          <p:nvPr/>
        </p:nvSpPr>
        <p:spPr>
          <a:xfrm>
            <a:off x="7513462" y="204543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1" name="object 56"/>
          <p:cNvSpPr/>
          <p:nvPr/>
        </p:nvSpPr>
        <p:spPr>
          <a:xfrm>
            <a:off x="6553321" y="196196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2" name="object 54"/>
          <p:cNvSpPr/>
          <p:nvPr/>
        </p:nvSpPr>
        <p:spPr>
          <a:xfrm>
            <a:off x="7353097" y="275391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3" name="object 52"/>
          <p:cNvSpPr/>
          <p:nvPr/>
        </p:nvSpPr>
        <p:spPr>
          <a:xfrm>
            <a:off x="4696124" y="412086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4" name="object 50"/>
          <p:cNvSpPr/>
          <p:nvPr/>
        </p:nvSpPr>
        <p:spPr>
          <a:xfrm>
            <a:off x="4441297" y="46123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5" name="object 48"/>
          <p:cNvSpPr/>
          <p:nvPr/>
        </p:nvSpPr>
        <p:spPr>
          <a:xfrm>
            <a:off x="3130532" y="40499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6" name="object 42"/>
          <p:cNvSpPr/>
          <p:nvPr/>
        </p:nvSpPr>
        <p:spPr>
          <a:xfrm>
            <a:off x="5748103" y="33118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7" name="object 44"/>
          <p:cNvSpPr/>
          <p:nvPr/>
        </p:nvSpPr>
        <p:spPr>
          <a:xfrm>
            <a:off x="5560113" y="25802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8" name="object 46"/>
          <p:cNvSpPr/>
          <p:nvPr/>
        </p:nvSpPr>
        <p:spPr>
          <a:xfrm>
            <a:off x="5421508" y="296447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9" name="object 40"/>
          <p:cNvSpPr/>
          <p:nvPr/>
        </p:nvSpPr>
        <p:spPr>
          <a:xfrm>
            <a:off x="5213120" y="49216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0" name="object 38"/>
          <p:cNvSpPr/>
          <p:nvPr/>
        </p:nvSpPr>
        <p:spPr>
          <a:xfrm>
            <a:off x="7032365" y="221911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1" name="object 36"/>
          <p:cNvSpPr/>
          <p:nvPr/>
        </p:nvSpPr>
        <p:spPr>
          <a:xfrm>
            <a:off x="7385165" y="340218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6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7"/>
                </a:lnTo>
                <a:lnTo>
                  <a:pt x="310251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2" name="object 34"/>
          <p:cNvSpPr/>
          <p:nvPr/>
        </p:nvSpPr>
        <p:spPr>
          <a:xfrm>
            <a:off x="5038354" y="24830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3" name="object 32"/>
          <p:cNvSpPr/>
          <p:nvPr/>
        </p:nvSpPr>
        <p:spPr>
          <a:xfrm>
            <a:off x="7192732" y="159327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4" name="object 30"/>
          <p:cNvSpPr/>
          <p:nvPr/>
        </p:nvSpPr>
        <p:spPr>
          <a:xfrm>
            <a:off x="6201572" y="316997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5" name="object 28"/>
          <p:cNvSpPr/>
          <p:nvPr/>
        </p:nvSpPr>
        <p:spPr>
          <a:xfrm>
            <a:off x="4877989" y="532865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6" name="object 26"/>
          <p:cNvSpPr/>
          <p:nvPr/>
        </p:nvSpPr>
        <p:spPr>
          <a:xfrm>
            <a:off x="5581873" y="4521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7" name="object 24"/>
          <p:cNvSpPr/>
          <p:nvPr/>
        </p:nvSpPr>
        <p:spPr>
          <a:xfrm>
            <a:off x="3528670" y="35173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8" name="object 22"/>
          <p:cNvSpPr/>
          <p:nvPr/>
        </p:nvSpPr>
        <p:spPr>
          <a:xfrm>
            <a:off x="3252845" y="520650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9" name="object 20"/>
          <p:cNvSpPr/>
          <p:nvPr/>
        </p:nvSpPr>
        <p:spPr>
          <a:xfrm>
            <a:off x="3849401" y="4051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0" name="object 18"/>
          <p:cNvSpPr/>
          <p:nvPr/>
        </p:nvSpPr>
        <p:spPr>
          <a:xfrm>
            <a:off x="6713687" y="269105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1" name="object 6"/>
          <p:cNvSpPr txBox="1"/>
          <p:nvPr/>
        </p:nvSpPr>
        <p:spPr>
          <a:xfrm>
            <a:off x="1332125" y="3759280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grpSp>
        <p:nvGrpSpPr>
          <p:cNvPr id="112" name="Group 111"/>
          <p:cNvGrpSpPr/>
          <p:nvPr/>
        </p:nvGrpSpPr>
        <p:grpSpPr>
          <a:xfrm>
            <a:off x="2383438" y="1888930"/>
            <a:ext cx="6303362" cy="4054670"/>
            <a:chOff x="2343901" y="1923700"/>
            <a:chExt cx="6303362" cy="4054670"/>
          </a:xfrm>
        </p:grpSpPr>
        <p:sp>
          <p:nvSpPr>
            <p:cNvPr id="113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114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0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3" name="object 5"/>
          <p:cNvSpPr txBox="1"/>
          <p:nvPr/>
        </p:nvSpPr>
        <p:spPr>
          <a:xfrm>
            <a:off x="2101916" y="369650"/>
            <a:ext cx="6889684" cy="1166986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 marR="41909">
              <a:lnSpc>
                <a:spcPts val="3454"/>
              </a:lnSpc>
              <a:spcBef>
                <a:spcPts val="172"/>
              </a:spcBef>
            </a:pPr>
            <a:r>
              <a:rPr lang="en-US" sz="4800" baseline="2560" dirty="0" smtClean="0">
                <a:solidFill>
                  <a:srgbClr val="4E81BC"/>
                </a:solidFill>
                <a:latin typeface="+mj-lt"/>
                <a:cs typeface="Calibri"/>
              </a:rPr>
              <a:t>Spectral Clustering</a:t>
            </a:r>
            <a:endParaRPr sz="3200" dirty="0">
              <a:latin typeface="+mj-lt"/>
              <a:cs typeface="Calibri"/>
            </a:endParaRPr>
          </a:p>
          <a:p>
            <a:pPr marL="12700">
              <a:lnSpc>
                <a:spcPts val="2770"/>
              </a:lnSpc>
            </a:pPr>
            <a:r>
              <a:rPr lang="en-US" sz="3200" baseline="1137" dirty="0" smtClean="0">
                <a:solidFill>
                  <a:srgbClr val="7F7E7E"/>
                </a:solidFill>
                <a:cs typeface="Calibri"/>
              </a:rPr>
              <a:t>Transform the space into fewer dimensions by taking eigenvectors of the distances matrix</a:t>
            </a:r>
            <a:endParaRPr lang="en-US" sz="3200" baseline="1137" dirty="0">
              <a:solidFill>
                <a:srgbClr val="7F7E7E"/>
              </a:solidFill>
              <a:cs typeface="Calibri"/>
            </a:endParaRPr>
          </a:p>
        </p:txBody>
      </p:sp>
      <p:sp>
        <p:nvSpPr>
          <p:cNvPr id="84" name="object 3"/>
          <p:cNvSpPr txBox="1"/>
          <p:nvPr/>
        </p:nvSpPr>
        <p:spPr>
          <a:xfrm>
            <a:off x="5426815" y="6116930"/>
            <a:ext cx="542241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latin typeface="Calibri"/>
                <a:cs typeface="Calibri"/>
              </a:rPr>
              <a:t>Age</a:t>
            </a:r>
            <a:endParaRPr sz="2400">
              <a:latin typeface="Calibri"/>
              <a:cs typeface="Calibri"/>
            </a:endParaRPr>
          </a:p>
        </p:txBody>
      </p:sp>
      <p:sp>
        <p:nvSpPr>
          <p:cNvPr id="85" name="object 82"/>
          <p:cNvSpPr/>
          <p:nvPr/>
        </p:nvSpPr>
        <p:spPr>
          <a:xfrm>
            <a:off x="4414372" y="54871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6" name="object 84"/>
          <p:cNvSpPr/>
          <p:nvPr/>
        </p:nvSpPr>
        <p:spPr>
          <a:xfrm>
            <a:off x="5399747" y="55212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7" name="object 86"/>
          <p:cNvSpPr/>
          <p:nvPr/>
        </p:nvSpPr>
        <p:spPr>
          <a:xfrm>
            <a:off x="6251551" y="55023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8" name="object 74"/>
          <p:cNvSpPr/>
          <p:nvPr/>
        </p:nvSpPr>
        <p:spPr>
          <a:xfrm>
            <a:off x="2668469" y="519520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9" name="object 72"/>
          <p:cNvSpPr/>
          <p:nvPr/>
        </p:nvSpPr>
        <p:spPr>
          <a:xfrm>
            <a:off x="5959366" y="251737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40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80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0" name="object 70"/>
          <p:cNvSpPr/>
          <p:nvPr/>
        </p:nvSpPr>
        <p:spPr>
          <a:xfrm>
            <a:off x="5560113" y="213564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1" name="object 68"/>
          <p:cNvSpPr/>
          <p:nvPr/>
        </p:nvSpPr>
        <p:spPr>
          <a:xfrm>
            <a:off x="5148028" y="1723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2" name="object 66"/>
          <p:cNvSpPr/>
          <p:nvPr/>
        </p:nvSpPr>
        <p:spPr>
          <a:xfrm>
            <a:off x="6872003" y="34121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3" name="object 63"/>
          <p:cNvSpPr/>
          <p:nvPr/>
        </p:nvSpPr>
        <p:spPr>
          <a:xfrm>
            <a:off x="5880842" y="502152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6"/>
                </a:lnTo>
                <a:lnTo>
                  <a:pt x="1583" y="198179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6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2"/>
                </a:lnTo>
                <a:lnTo>
                  <a:pt x="49876" y="299561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6"/>
                </a:lnTo>
                <a:lnTo>
                  <a:pt x="196530" y="342926"/>
                </a:lnTo>
                <a:lnTo>
                  <a:pt x="209650" y="339004"/>
                </a:lnTo>
                <a:lnTo>
                  <a:pt x="222295" y="333936"/>
                </a:lnTo>
                <a:lnTo>
                  <a:pt x="234413" y="327778"/>
                </a:lnTo>
                <a:lnTo>
                  <a:pt x="245953" y="320583"/>
                </a:lnTo>
                <a:lnTo>
                  <a:pt x="256864" y="312409"/>
                </a:lnTo>
                <a:lnTo>
                  <a:pt x="267095" y="303311"/>
                </a:lnTo>
                <a:lnTo>
                  <a:pt x="276595" y="293343"/>
                </a:lnTo>
                <a:lnTo>
                  <a:pt x="285312" y="282562"/>
                </a:lnTo>
                <a:lnTo>
                  <a:pt x="293195" y="271023"/>
                </a:lnTo>
                <a:lnTo>
                  <a:pt x="300193" y="258781"/>
                </a:lnTo>
                <a:lnTo>
                  <a:pt x="306255" y="245892"/>
                </a:lnTo>
                <a:lnTo>
                  <a:pt x="311330" y="232411"/>
                </a:lnTo>
                <a:lnTo>
                  <a:pt x="315366" y="218394"/>
                </a:lnTo>
                <a:lnTo>
                  <a:pt x="318312" y="203896"/>
                </a:lnTo>
                <a:lnTo>
                  <a:pt x="320117" y="188973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9" y="93485"/>
                </a:lnTo>
                <a:lnTo>
                  <a:pt x="296006" y="80986"/>
                </a:lnTo>
                <a:lnTo>
                  <a:pt x="288459" y="69169"/>
                </a:lnTo>
                <a:lnTo>
                  <a:pt x="280058" y="58089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4"/>
                </a:lnTo>
                <a:lnTo>
                  <a:pt x="86318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4" name="object 62"/>
          <p:cNvSpPr/>
          <p:nvPr/>
        </p:nvSpPr>
        <p:spPr>
          <a:xfrm>
            <a:off x="4326962" y="34938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5" name="object 60"/>
          <p:cNvSpPr/>
          <p:nvPr/>
        </p:nvSpPr>
        <p:spPr>
          <a:xfrm>
            <a:off x="3451263" y="457102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6" name="object 58"/>
          <p:cNvSpPr/>
          <p:nvPr/>
        </p:nvSpPr>
        <p:spPr>
          <a:xfrm>
            <a:off x="7513462" y="204543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7" name="object 56"/>
          <p:cNvSpPr/>
          <p:nvPr/>
        </p:nvSpPr>
        <p:spPr>
          <a:xfrm>
            <a:off x="6553321" y="196196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8" name="object 54"/>
          <p:cNvSpPr/>
          <p:nvPr/>
        </p:nvSpPr>
        <p:spPr>
          <a:xfrm>
            <a:off x="7353097" y="275391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9" name="object 52"/>
          <p:cNvSpPr/>
          <p:nvPr/>
        </p:nvSpPr>
        <p:spPr>
          <a:xfrm>
            <a:off x="4696124" y="412086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0" name="object 50"/>
          <p:cNvSpPr/>
          <p:nvPr/>
        </p:nvSpPr>
        <p:spPr>
          <a:xfrm>
            <a:off x="4441297" y="46123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1" name="object 48"/>
          <p:cNvSpPr/>
          <p:nvPr/>
        </p:nvSpPr>
        <p:spPr>
          <a:xfrm>
            <a:off x="3130532" y="40499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2" name="object 42"/>
          <p:cNvSpPr/>
          <p:nvPr/>
        </p:nvSpPr>
        <p:spPr>
          <a:xfrm>
            <a:off x="5748103" y="33118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3" name="object 44"/>
          <p:cNvSpPr/>
          <p:nvPr/>
        </p:nvSpPr>
        <p:spPr>
          <a:xfrm>
            <a:off x="5560113" y="25802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4" name="object 46"/>
          <p:cNvSpPr/>
          <p:nvPr/>
        </p:nvSpPr>
        <p:spPr>
          <a:xfrm>
            <a:off x="5421508" y="296447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5" name="object 40"/>
          <p:cNvSpPr/>
          <p:nvPr/>
        </p:nvSpPr>
        <p:spPr>
          <a:xfrm>
            <a:off x="5213120" y="49216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6" name="object 38"/>
          <p:cNvSpPr/>
          <p:nvPr/>
        </p:nvSpPr>
        <p:spPr>
          <a:xfrm>
            <a:off x="7032365" y="221911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7" name="object 36"/>
          <p:cNvSpPr/>
          <p:nvPr/>
        </p:nvSpPr>
        <p:spPr>
          <a:xfrm>
            <a:off x="7385165" y="340218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6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7"/>
                </a:lnTo>
                <a:lnTo>
                  <a:pt x="310251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8" name="object 34"/>
          <p:cNvSpPr/>
          <p:nvPr/>
        </p:nvSpPr>
        <p:spPr>
          <a:xfrm>
            <a:off x="5038354" y="24830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9" name="object 32"/>
          <p:cNvSpPr/>
          <p:nvPr/>
        </p:nvSpPr>
        <p:spPr>
          <a:xfrm>
            <a:off x="7192732" y="159327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0" name="object 30"/>
          <p:cNvSpPr/>
          <p:nvPr/>
        </p:nvSpPr>
        <p:spPr>
          <a:xfrm>
            <a:off x="6201572" y="316997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1" name="object 28"/>
          <p:cNvSpPr/>
          <p:nvPr/>
        </p:nvSpPr>
        <p:spPr>
          <a:xfrm>
            <a:off x="4877989" y="532865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2" name="object 26"/>
          <p:cNvSpPr/>
          <p:nvPr/>
        </p:nvSpPr>
        <p:spPr>
          <a:xfrm>
            <a:off x="5581873" y="4521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3" name="object 24"/>
          <p:cNvSpPr/>
          <p:nvPr/>
        </p:nvSpPr>
        <p:spPr>
          <a:xfrm>
            <a:off x="3528670" y="35173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4" name="object 22"/>
          <p:cNvSpPr/>
          <p:nvPr/>
        </p:nvSpPr>
        <p:spPr>
          <a:xfrm>
            <a:off x="3252845" y="520650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5" name="object 20"/>
          <p:cNvSpPr/>
          <p:nvPr/>
        </p:nvSpPr>
        <p:spPr>
          <a:xfrm>
            <a:off x="3849401" y="4051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6" name="object 18"/>
          <p:cNvSpPr/>
          <p:nvPr/>
        </p:nvSpPr>
        <p:spPr>
          <a:xfrm>
            <a:off x="6713687" y="269105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7" name="object 6"/>
          <p:cNvSpPr txBox="1"/>
          <p:nvPr/>
        </p:nvSpPr>
        <p:spPr>
          <a:xfrm>
            <a:off x="1332125" y="3759280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grpSp>
        <p:nvGrpSpPr>
          <p:cNvPr id="118" name="Group 117"/>
          <p:cNvGrpSpPr/>
          <p:nvPr/>
        </p:nvGrpSpPr>
        <p:grpSpPr>
          <a:xfrm>
            <a:off x="2383438" y="1888930"/>
            <a:ext cx="6303362" cy="4054670"/>
            <a:chOff x="2343901" y="1923700"/>
            <a:chExt cx="6303362" cy="4054670"/>
          </a:xfrm>
        </p:grpSpPr>
        <p:sp>
          <p:nvSpPr>
            <p:cNvPr id="119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120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0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9" name="Object 8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1048646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1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3" name="object 5"/>
          <p:cNvSpPr txBox="1"/>
          <p:nvPr/>
        </p:nvSpPr>
        <p:spPr>
          <a:xfrm>
            <a:off x="2101916" y="369650"/>
            <a:ext cx="6889684" cy="1166986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 marR="41909">
              <a:lnSpc>
                <a:spcPts val="3454"/>
              </a:lnSpc>
              <a:spcBef>
                <a:spcPts val="172"/>
              </a:spcBef>
            </a:pPr>
            <a:r>
              <a:rPr lang="en-US" sz="4800" baseline="2560" dirty="0" smtClean="0">
                <a:solidFill>
                  <a:srgbClr val="4E81BC"/>
                </a:solidFill>
                <a:latin typeface="+mj-lt"/>
                <a:cs typeface="Calibri"/>
              </a:rPr>
              <a:t>Spectral Clustering</a:t>
            </a:r>
            <a:endParaRPr sz="3200" dirty="0">
              <a:latin typeface="+mj-lt"/>
              <a:cs typeface="Calibri"/>
            </a:endParaRPr>
          </a:p>
          <a:p>
            <a:pPr marL="12700">
              <a:lnSpc>
                <a:spcPts val="2770"/>
              </a:lnSpc>
            </a:pPr>
            <a:r>
              <a:rPr lang="en-US" sz="3200" baseline="1137" dirty="0" smtClean="0">
                <a:solidFill>
                  <a:srgbClr val="7F7E7E"/>
                </a:solidFill>
                <a:cs typeface="Calibri"/>
              </a:rPr>
              <a:t>Transform the space into fewer dimensions by taking eigenvectors of the distances matrix</a:t>
            </a:r>
            <a:endParaRPr lang="en-US" sz="3200" baseline="1137" dirty="0">
              <a:solidFill>
                <a:srgbClr val="7F7E7E"/>
              </a:solidFill>
              <a:cs typeface="Calibri"/>
            </a:endParaRPr>
          </a:p>
        </p:txBody>
      </p:sp>
      <p:sp>
        <p:nvSpPr>
          <p:cNvPr id="85" name="object 70"/>
          <p:cNvSpPr/>
          <p:nvPr/>
        </p:nvSpPr>
        <p:spPr>
          <a:xfrm>
            <a:off x="2383438" y="5943600"/>
            <a:ext cx="6303362" cy="0"/>
          </a:xfrm>
          <a:custGeom>
            <a:avLst/>
            <a:gdLst/>
            <a:ahLst/>
            <a:cxnLst/>
            <a:rect l="l" t="t" r="r" b="b"/>
            <a:pathLst>
              <a:path w="6303362">
                <a:moveTo>
                  <a:pt x="0" y="0"/>
                </a:moveTo>
                <a:lnTo>
                  <a:pt x="6303362" y="0"/>
                </a:lnTo>
              </a:path>
            </a:pathLst>
          </a:custGeom>
          <a:ln w="25399">
            <a:solidFill>
              <a:srgbClr val="6094C9"/>
            </a:solidFill>
            <a:headEnd type="none"/>
            <a:tailEnd type="arrow"/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6" name="object 52"/>
          <p:cNvSpPr/>
          <p:nvPr/>
        </p:nvSpPr>
        <p:spPr>
          <a:xfrm>
            <a:off x="4696124" y="412086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7" name="object 50"/>
          <p:cNvSpPr/>
          <p:nvPr/>
        </p:nvSpPr>
        <p:spPr>
          <a:xfrm>
            <a:off x="4441297" y="46123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cxnSp>
        <p:nvCxnSpPr>
          <p:cNvPr id="91" name="Straight Arrow Connector 90"/>
          <p:cNvCxnSpPr/>
          <p:nvPr/>
        </p:nvCxnSpPr>
        <p:spPr>
          <a:xfrm flipV="1">
            <a:off x="2398534" y="1981200"/>
            <a:ext cx="1716266" cy="3952008"/>
          </a:xfrm>
          <a:prstGeom prst="straightConnector1">
            <a:avLst/>
          </a:prstGeom>
          <a:ln w="25399">
            <a:solidFill>
              <a:srgbClr val="6094C9"/>
            </a:solidFill>
            <a:headEnd type="none"/>
            <a:tailEnd type="arrow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cxnSp>
      <p:sp>
        <p:nvSpPr>
          <p:cNvPr id="117" name="object 53"/>
          <p:cNvSpPr/>
          <p:nvPr/>
        </p:nvSpPr>
        <p:spPr>
          <a:xfrm>
            <a:off x="2668468" y="546242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232" y="183107"/>
                </a:lnTo>
                <a:lnTo>
                  <a:pt x="1583" y="198180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7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3"/>
                </a:lnTo>
                <a:lnTo>
                  <a:pt x="49876" y="299561"/>
                </a:lnTo>
                <a:lnTo>
                  <a:pt x="59830" y="309002"/>
                </a:lnTo>
                <a:lnTo>
                  <a:pt x="70485" y="317539"/>
                </a:lnTo>
                <a:lnTo>
                  <a:pt x="81788" y="325119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8" y="347110"/>
                </a:lnTo>
                <a:lnTo>
                  <a:pt x="182985" y="345647"/>
                </a:lnTo>
                <a:lnTo>
                  <a:pt x="196529" y="342927"/>
                </a:lnTo>
                <a:lnTo>
                  <a:pt x="209649" y="339005"/>
                </a:lnTo>
                <a:lnTo>
                  <a:pt x="222294" y="333937"/>
                </a:lnTo>
                <a:lnTo>
                  <a:pt x="234412" y="327778"/>
                </a:lnTo>
                <a:lnTo>
                  <a:pt x="245952" y="320584"/>
                </a:lnTo>
                <a:lnTo>
                  <a:pt x="256863" y="312410"/>
                </a:lnTo>
                <a:lnTo>
                  <a:pt x="267094" y="303312"/>
                </a:lnTo>
                <a:lnTo>
                  <a:pt x="276594" y="293344"/>
                </a:lnTo>
                <a:lnTo>
                  <a:pt x="285310" y="282563"/>
                </a:lnTo>
                <a:lnTo>
                  <a:pt x="293194" y="271024"/>
                </a:lnTo>
                <a:lnTo>
                  <a:pt x="300192" y="258782"/>
                </a:lnTo>
                <a:lnTo>
                  <a:pt x="306254" y="245893"/>
                </a:lnTo>
                <a:lnTo>
                  <a:pt x="311328" y="232412"/>
                </a:lnTo>
                <a:lnTo>
                  <a:pt x="315364" y="218395"/>
                </a:lnTo>
                <a:lnTo>
                  <a:pt x="318311" y="203897"/>
                </a:lnTo>
                <a:lnTo>
                  <a:pt x="320116" y="188974"/>
                </a:lnTo>
                <a:lnTo>
                  <a:pt x="320729" y="173680"/>
                </a:lnTo>
                <a:lnTo>
                  <a:pt x="320497" y="164255"/>
                </a:lnTo>
                <a:lnTo>
                  <a:pt x="319146" y="149182"/>
                </a:lnTo>
                <a:lnTo>
                  <a:pt x="316635" y="134513"/>
                </a:lnTo>
                <a:lnTo>
                  <a:pt x="313014" y="120304"/>
                </a:lnTo>
                <a:lnTo>
                  <a:pt x="308334" y="106609"/>
                </a:lnTo>
                <a:lnTo>
                  <a:pt x="302648" y="93485"/>
                </a:lnTo>
                <a:lnTo>
                  <a:pt x="296005" y="80987"/>
                </a:lnTo>
                <a:lnTo>
                  <a:pt x="288458" y="69169"/>
                </a:lnTo>
                <a:lnTo>
                  <a:pt x="280057" y="58089"/>
                </a:lnTo>
                <a:lnTo>
                  <a:pt x="270854" y="47800"/>
                </a:lnTo>
                <a:lnTo>
                  <a:pt x="260899" y="38360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1" y="251"/>
                </a:lnTo>
                <a:lnTo>
                  <a:pt x="137744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5" y="13424"/>
                </a:lnTo>
                <a:lnTo>
                  <a:pt x="86317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50"/>
                </a:lnTo>
                <a:lnTo>
                  <a:pt x="44135" y="54017"/>
                </a:lnTo>
                <a:lnTo>
                  <a:pt x="35418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9"/>
                </a:lnTo>
                <a:lnTo>
                  <a:pt x="5364" y="128966"/>
                </a:lnTo>
                <a:lnTo>
                  <a:pt x="2418" y="143464"/>
                </a:lnTo>
                <a:lnTo>
                  <a:pt x="613" y="15838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8" name="object 56"/>
          <p:cNvSpPr/>
          <p:nvPr/>
        </p:nvSpPr>
        <p:spPr>
          <a:xfrm>
            <a:off x="4326962" y="394718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9" name="object 59"/>
          <p:cNvSpPr/>
          <p:nvPr/>
        </p:nvSpPr>
        <p:spPr>
          <a:xfrm>
            <a:off x="3496571" y="486897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232" y="183106"/>
                </a:lnTo>
                <a:lnTo>
                  <a:pt x="1582" y="198179"/>
                </a:lnTo>
                <a:lnTo>
                  <a:pt x="4094" y="212848"/>
                </a:lnTo>
                <a:lnTo>
                  <a:pt x="7715" y="227057"/>
                </a:lnTo>
                <a:lnTo>
                  <a:pt x="12395" y="240752"/>
                </a:lnTo>
                <a:lnTo>
                  <a:pt x="18081" y="253876"/>
                </a:lnTo>
                <a:lnTo>
                  <a:pt x="24724" y="266374"/>
                </a:lnTo>
                <a:lnTo>
                  <a:pt x="32271" y="278192"/>
                </a:lnTo>
                <a:lnTo>
                  <a:pt x="40672" y="289272"/>
                </a:lnTo>
                <a:lnTo>
                  <a:pt x="49876" y="299560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8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8" y="347110"/>
                </a:lnTo>
                <a:lnTo>
                  <a:pt x="182985" y="345647"/>
                </a:lnTo>
                <a:lnTo>
                  <a:pt x="196530" y="342927"/>
                </a:lnTo>
                <a:lnTo>
                  <a:pt x="209650" y="339005"/>
                </a:lnTo>
                <a:lnTo>
                  <a:pt x="222294" y="333937"/>
                </a:lnTo>
                <a:lnTo>
                  <a:pt x="234412" y="327778"/>
                </a:lnTo>
                <a:lnTo>
                  <a:pt x="245952" y="320584"/>
                </a:lnTo>
                <a:lnTo>
                  <a:pt x="256864" y="312410"/>
                </a:lnTo>
                <a:lnTo>
                  <a:pt x="267095" y="303311"/>
                </a:lnTo>
                <a:lnTo>
                  <a:pt x="276594" y="293344"/>
                </a:lnTo>
                <a:lnTo>
                  <a:pt x="285311" y="282563"/>
                </a:lnTo>
                <a:lnTo>
                  <a:pt x="293195" y="271024"/>
                </a:lnTo>
                <a:lnTo>
                  <a:pt x="300193" y="258782"/>
                </a:lnTo>
                <a:lnTo>
                  <a:pt x="306255" y="245893"/>
                </a:lnTo>
                <a:lnTo>
                  <a:pt x="311330" y="232412"/>
                </a:lnTo>
                <a:lnTo>
                  <a:pt x="315366" y="218395"/>
                </a:lnTo>
                <a:lnTo>
                  <a:pt x="318312" y="203897"/>
                </a:lnTo>
                <a:lnTo>
                  <a:pt x="320117" y="188974"/>
                </a:lnTo>
                <a:lnTo>
                  <a:pt x="320730" y="173681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4" y="120303"/>
                </a:lnTo>
                <a:lnTo>
                  <a:pt x="308335" y="106608"/>
                </a:lnTo>
                <a:lnTo>
                  <a:pt x="302648" y="93484"/>
                </a:lnTo>
                <a:lnTo>
                  <a:pt x="296006" y="80986"/>
                </a:lnTo>
                <a:lnTo>
                  <a:pt x="288458" y="69169"/>
                </a:lnTo>
                <a:lnTo>
                  <a:pt x="280057" y="58088"/>
                </a:lnTo>
                <a:lnTo>
                  <a:pt x="270854" y="47800"/>
                </a:lnTo>
                <a:lnTo>
                  <a:pt x="260899" y="38359"/>
                </a:lnTo>
                <a:lnTo>
                  <a:pt x="250245" y="29821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1" y="251"/>
                </a:lnTo>
                <a:lnTo>
                  <a:pt x="137744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5" y="13424"/>
                </a:lnTo>
                <a:lnTo>
                  <a:pt x="86317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50"/>
                </a:lnTo>
                <a:lnTo>
                  <a:pt x="44135" y="54017"/>
                </a:lnTo>
                <a:lnTo>
                  <a:pt x="35418" y="64798"/>
                </a:lnTo>
                <a:lnTo>
                  <a:pt x="27535" y="76338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9"/>
                </a:lnTo>
                <a:lnTo>
                  <a:pt x="5364" y="128966"/>
                </a:lnTo>
                <a:lnTo>
                  <a:pt x="2418" y="143464"/>
                </a:lnTo>
                <a:lnTo>
                  <a:pt x="613" y="158388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0" name="object 64"/>
          <p:cNvSpPr/>
          <p:nvPr/>
        </p:nvSpPr>
        <p:spPr>
          <a:xfrm>
            <a:off x="2989197" y="4521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1" name="object 68"/>
          <p:cNvSpPr/>
          <p:nvPr/>
        </p:nvSpPr>
        <p:spPr>
          <a:xfrm>
            <a:off x="3528670" y="417424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1" name="object 26"/>
          <p:cNvSpPr/>
          <p:nvPr/>
        </p:nvSpPr>
        <p:spPr>
          <a:xfrm>
            <a:off x="5581873" y="4521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grpSp>
        <p:nvGrpSpPr>
          <p:cNvPr id="142" name="Group 141"/>
          <p:cNvGrpSpPr/>
          <p:nvPr/>
        </p:nvGrpSpPr>
        <p:grpSpPr>
          <a:xfrm>
            <a:off x="3336206" y="4921685"/>
            <a:ext cx="3262817" cy="947078"/>
            <a:chOff x="3336206" y="4921685"/>
            <a:chExt cx="3262817" cy="947078"/>
          </a:xfrm>
        </p:grpSpPr>
        <p:sp>
          <p:nvSpPr>
            <p:cNvPr id="75" name="object 82"/>
            <p:cNvSpPr/>
            <p:nvPr/>
          </p:nvSpPr>
          <p:spPr>
            <a:xfrm>
              <a:off x="4414372" y="5487188"/>
              <a:ext cx="347472" cy="347472"/>
            </a:xfrm>
            <a:custGeom>
              <a:avLst/>
              <a:gdLst/>
              <a:ahLst/>
              <a:cxnLst/>
              <a:rect l="l" t="t" r="r" b="b"/>
              <a:pathLst>
                <a:path w="320729" h="347361">
                  <a:moveTo>
                    <a:pt x="0" y="173680"/>
                  </a:moveTo>
                  <a:lnTo>
                    <a:pt x="613" y="158387"/>
                  </a:lnTo>
                  <a:lnTo>
                    <a:pt x="2418" y="143464"/>
                  </a:lnTo>
                  <a:lnTo>
                    <a:pt x="5364" y="128966"/>
                  </a:lnTo>
                  <a:lnTo>
                    <a:pt x="9400" y="114949"/>
                  </a:lnTo>
                  <a:lnTo>
                    <a:pt x="14475" y="101468"/>
                  </a:lnTo>
                  <a:lnTo>
                    <a:pt x="20537" y="88579"/>
                  </a:lnTo>
                  <a:lnTo>
                    <a:pt x="27535" y="76337"/>
                  </a:lnTo>
                  <a:lnTo>
                    <a:pt x="35418" y="64798"/>
                  </a:lnTo>
                  <a:lnTo>
                    <a:pt x="44135" y="54017"/>
                  </a:lnTo>
                  <a:lnTo>
                    <a:pt x="53635" y="44049"/>
                  </a:lnTo>
                  <a:lnTo>
                    <a:pt x="63866" y="34951"/>
                  </a:lnTo>
                  <a:lnTo>
                    <a:pt x="74777" y="26777"/>
                  </a:lnTo>
                  <a:lnTo>
                    <a:pt x="86317" y="19583"/>
                  </a:lnTo>
                  <a:lnTo>
                    <a:pt x="98435" y="13424"/>
                  </a:lnTo>
                  <a:lnTo>
                    <a:pt x="111080" y="8356"/>
                  </a:lnTo>
                  <a:lnTo>
                    <a:pt x="124200" y="4434"/>
                  </a:lnTo>
                  <a:lnTo>
                    <a:pt x="137744" y="1714"/>
                  </a:lnTo>
                  <a:lnTo>
                    <a:pt x="151661" y="251"/>
                  </a:lnTo>
                  <a:lnTo>
                    <a:pt x="160365" y="0"/>
                  </a:lnTo>
                  <a:lnTo>
                    <a:pt x="174485" y="664"/>
                  </a:lnTo>
                  <a:lnTo>
                    <a:pt x="188264" y="2619"/>
                  </a:lnTo>
                  <a:lnTo>
                    <a:pt x="201651" y="5810"/>
                  </a:lnTo>
                  <a:lnTo>
                    <a:pt x="214593" y="10181"/>
                  </a:lnTo>
                  <a:lnTo>
                    <a:pt x="227040" y="15677"/>
                  </a:lnTo>
                  <a:lnTo>
                    <a:pt x="238941" y="22242"/>
                  </a:lnTo>
                  <a:lnTo>
                    <a:pt x="250245" y="29822"/>
                  </a:lnTo>
                  <a:lnTo>
                    <a:pt x="260899" y="38359"/>
                  </a:lnTo>
                  <a:lnTo>
                    <a:pt x="270853" y="47800"/>
                  </a:lnTo>
                  <a:lnTo>
                    <a:pt x="280057" y="58089"/>
                  </a:lnTo>
                  <a:lnTo>
                    <a:pt x="288458" y="69169"/>
                  </a:lnTo>
                  <a:lnTo>
                    <a:pt x="296005" y="80986"/>
                  </a:lnTo>
                  <a:lnTo>
                    <a:pt x="302648" y="93485"/>
                  </a:lnTo>
                  <a:lnTo>
                    <a:pt x="308334" y="106609"/>
                  </a:lnTo>
                  <a:lnTo>
                    <a:pt x="313014" y="120303"/>
                  </a:lnTo>
                  <a:lnTo>
                    <a:pt x="316635" y="134513"/>
                  </a:lnTo>
                  <a:lnTo>
                    <a:pt x="319147" y="149182"/>
                  </a:lnTo>
                  <a:lnTo>
                    <a:pt x="320497" y="164254"/>
                  </a:lnTo>
                  <a:lnTo>
                    <a:pt x="320729" y="173680"/>
                  </a:lnTo>
                  <a:lnTo>
                    <a:pt x="320116" y="188974"/>
                  </a:lnTo>
                  <a:lnTo>
                    <a:pt x="318311" y="203897"/>
                  </a:lnTo>
                  <a:lnTo>
                    <a:pt x="315365" y="218395"/>
                  </a:lnTo>
                  <a:lnTo>
                    <a:pt x="311329" y="232412"/>
                  </a:lnTo>
                  <a:lnTo>
                    <a:pt x="306254" y="245893"/>
                  </a:lnTo>
                  <a:lnTo>
                    <a:pt x="300192" y="258782"/>
                  </a:lnTo>
                  <a:lnTo>
                    <a:pt x="293194" y="271024"/>
                  </a:lnTo>
                  <a:lnTo>
                    <a:pt x="285311" y="282563"/>
                  </a:lnTo>
                  <a:lnTo>
                    <a:pt x="276594" y="293344"/>
                  </a:lnTo>
                  <a:lnTo>
                    <a:pt x="267094" y="303311"/>
                  </a:lnTo>
                  <a:lnTo>
                    <a:pt x="256863" y="312410"/>
                  </a:lnTo>
                  <a:lnTo>
                    <a:pt x="245952" y="320584"/>
                  </a:lnTo>
                  <a:lnTo>
                    <a:pt x="234412" y="327778"/>
                  </a:lnTo>
                  <a:lnTo>
                    <a:pt x="222294" y="333937"/>
                  </a:lnTo>
                  <a:lnTo>
                    <a:pt x="209649" y="339005"/>
                  </a:lnTo>
                  <a:lnTo>
                    <a:pt x="196529" y="342927"/>
                  </a:lnTo>
                  <a:lnTo>
                    <a:pt x="182985" y="345647"/>
                  </a:lnTo>
                  <a:lnTo>
                    <a:pt x="169068" y="347110"/>
                  </a:lnTo>
                  <a:lnTo>
                    <a:pt x="160365" y="347361"/>
                  </a:lnTo>
                  <a:lnTo>
                    <a:pt x="146244" y="346697"/>
                  </a:lnTo>
                  <a:lnTo>
                    <a:pt x="132465" y="344742"/>
                  </a:lnTo>
                  <a:lnTo>
                    <a:pt x="119078" y="341551"/>
                  </a:lnTo>
                  <a:lnTo>
                    <a:pt x="106136" y="337180"/>
                  </a:lnTo>
                  <a:lnTo>
                    <a:pt x="93689" y="331684"/>
                  </a:lnTo>
                  <a:lnTo>
                    <a:pt x="81788" y="325119"/>
                  </a:lnTo>
                  <a:lnTo>
                    <a:pt x="70485" y="317539"/>
                  </a:lnTo>
                  <a:lnTo>
                    <a:pt x="59830" y="309002"/>
                  </a:lnTo>
                  <a:lnTo>
                    <a:pt x="49876" y="299561"/>
                  </a:lnTo>
                  <a:lnTo>
                    <a:pt x="40672" y="289272"/>
                  </a:lnTo>
                  <a:lnTo>
                    <a:pt x="32271" y="278192"/>
                  </a:lnTo>
                  <a:lnTo>
                    <a:pt x="24724" y="266375"/>
                  </a:lnTo>
                  <a:lnTo>
                    <a:pt x="18081" y="253876"/>
                  </a:lnTo>
                  <a:lnTo>
                    <a:pt x="12395" y="240752"/>
                  </a:lnTo>
                  <a:lnTo>
                    <a:pt x="7715" y="227058"/>
                  </a:lnTo>
                  <a:lnTo>
                    <a:pt x="4094" y="212848"/>
                  </a:lnTo>
                  <a:lnTo>
                    <a:pt x="1582" y="198179"/>
                  </a:lnTo>
                  <a:lnTo>
                    <a:pt x="232" y="183107"/>
                  </a:lnTo>
                  <a:lnTo>
                    <a:pt x="0" y="173680"/>
                  </a:lnTo>
                  <a:close/>
                </a:path>
              </a:pathLst>
            </a:custGeom>
            <a:solidFill>
              <a:srgbClr val="937AB1"/>
            </a:solidFill>
            <a:ln w="28575">
              <a:solidFill>
                <a:srgbClr val="6F5B88"/>
              </a:solidFill>
            </a:ln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76" name="object 84"/>
            <p:cNvSpPr/>
            <p:nvPr/>
          </p:nvSpPr>
          <p:spPr>
            <a:xfrm>
              <a:off x="5399747" y="5521291"/>
              <a:ext cx="347472" cy="347472"/>
            </a:xfrm>
            <a:custGeom>
              <a:avLst/>
              <a:gdLst/>
              <a:ahLst/>
              <a:cxnLst/>
              <a:rect l="l" t="t" r="r" b="b"/>
              <a:pathLst>
                <a:path w="320729" h="347361">
                  <a:moveTo>
                    <a:pt x="0" y="173680"/>
                  </a:moveTo>
                  <a:lnTo>
                    <a:pt x="613" y="158387"/>
                  </a:lnTo>
                  <a:lnTo>
                    <a:pt x="2418" y="143464"/>
                  </a:lnTo>
                  <a:lnTo>
                    <a:pt x="5364" y="128966"/>
                  </a:lnTo>
                  <a:lnTo>
                    <a:pt x="9400" y="114949"/>
                  </a:lnTo>
                  <a:lnTo>
                    <a:pt x="14475" y="101468"/>
                  </a:lnTo>
                  <a:lnTo>
                    <a:pt x="20537" y="88579"/>
                  </a:lnTo>
                  <a:lnTo>
                    <a:pt x="27535" y="76337"/>
                  </a:lnTo>
                  <a:lnTo>
                    <a:pt x="35418" y="64798"/>
                  </a:lnTo>
                  <a:lnTo>
                    <a:pt x="44135" y="54017"/>
                  </a:lnTo>
                  <a:lnTo>
                    <a:pt x="53635" y="44049"/>
                  </a:lnTo>
                  <a:lnTo>
                    <a:pt x="63866" y="34951"/>
                  </a:lnTo>
                  <a:lnTo>
                    <a:pt x="74777" y="26777"/>
                  </a:lnTo>
                  <a:lnTo>
                    <a:pt x="86317" y="19583"/>
                  </a:lnTo>
                  <a:lnTo>
                    <a:pt x="98435" y="13424"/>
                  </a:lnTo>
                  <a:lnTo>
                    <a:pt x="111080" y="8356"/>
                  </a:lnTo>
                  <a:lnTo>
                    <a:pt x="124200" y="4434"/>
                  </a:lnTo>
                  <a:lnTo>
                    <a:pt x="137744" y="1714"/>
                  </a:lnTo>
                  <a:lnTo>
                    <a:pt x="151661" y="251"/>
                  </a:lnTo>
                  <a:lnTo>
                    <a:pt x="160365" y="0"/>
                  </a:lnTo>
                  <a:lnTo>
                    <a:pt x="174485" y="664"/>
                  </a:lnTo>
                  <a:lnTo>
                    <a:pt x="188264" y="2619"/>
                  </a:lnTo>
                  <a:lnTo>
                    <a:pt x="201651" y="5810"/>
                  </a:lnTo>
                  <a:lnTo>
                    <a:pt x="214593" y="10181"/>
                  </a:lnTo>
                  <a:lnTo>
                    <a:pt x="227040" y="15677"/>
                  </a:lnTo>
                  <a:lnTo>
                    <a:pt x="238941" y="22242"/>
                  </a:lnTo>
                  <a:lnTo>
                    <a:pt x="250245" y="29822"/>
                  </a:lnTo>
                  <a:lnTo>
                    <a:pt x="260899" y="38359"/>
                  </a:lnTo>
                  <a:lnTo>
                    <a:pt x="270853" y="47800"/>
                  </a:lnTo>
                  <a:lnTo>
                    <a:pt x="280057" y="58089"/>
                  </a:lnTo>
                  <a:lnTo>
                    <a:pt x="288458" y="69169"/>
                  </a:lnTo>
                  <a:lnTo>
                    <a:pt x="296005" y="80986"/>
                  </a:lnTo>
                  <a:lnTo>
                    <a:pt x="302648" y="93485"/>
                  </a:lnTo>
                  <a:lnTo>
                    <a:pt x="308334" y="106609"/>
                  </a:lnTo>
                  <a:lnTo>
                    <a:pt x="313014" y="120303"/>
                  </a:lnTo>
                  <a:lnTo>
                    <a:pt x="316635" y="134513"/>
                  </a:lnTo>
                  <a:lnTo>
                    <a:pt x="319147" y="149182"/>
                  </a:lnTo>
                  <a:lnTo>
                    <a:pt x="320497" y="164254"/>
                  </a:lnTo>
                  <a:lnTo>
                    <a:pt x="320729" y="173680"/>
                  </a:lnTo>
                  <a:lnTo>
                    <a:pt x="320116" y="188974"/>
                  </a:lnTo>
                  <a:lnTo>
                    <a:pt x="318311" y="203897"/>
                  </a:lnTo>
                  <a:lnTo>
                    <a:pt x="315365" y="218395"/>
                  </a:lnTo>
                  <a:lnTo>
                    <a:pt x="311329" y="232412"/>
                  </a:lnTo>
                  <a:lnTo>
                    <a:pt x="306254" y="245893"/>
                  </a:lnTo>
                  <a:lnTo>
                    <a:pt x="300192" y="258782"/>
                  </a:lnTo>
                  <a:lnTo>
                    <a:pt x="293194" y="271024"/>
                  </a:lnTo>
                  <a:lnTo>
                    <a:pt x="285311" y="282563"/>
                  </a:lnTo>
                  <a:lnTo>
                    <a:pt x="276594" y="293344"/>
                  </a:lnTo>
                  <a:lnTo>
                    <a:pt x="267094" y="303311"/>
                  </a:lnTo>
                  <a:lnTo>
                    <a:pt x="256863" y="312410"/>
                  </a:lnTo>
                  <a:lnTo>
                    <a:pt x="245952" y="320584"/>
                  </a:lnTo>
                  <a:lnTo>
                    <a:pt x="234412" y="327778"/>
                  </a:lnTo>
                  <a:lnTo>
                    <a:pt x="222294" y="333937"/>
                  </a:lnTo>
                  <a:lnTo>
                    <a:pt x="209649" y="339005"/>
                  </a:lnTo>
                  <a:lnTo>
                    <a:pt x="196529" y="342927"/>
                  </a:lnTo>
                  <a:lnTo>
                    <a:pt x="182985" y="345647"/>
                  </a:lnTo>
                  <a:lnTo>
                    <a:pt x="169068" y="347110"/>
                  </a:lnTo>
                  <a:lnTo>
                    <a:pt x="160365" y="347361"/>
                  </a:lnTo>
                  <a:lnTo>
                    <a:pt x="146244" y="346697"/>
                  </a:lnTo>
                  <a:lnTo>
                    <a:pt x="132465" y="344742"/>
                  </a:lnTo>
                  <a:lnTo>
                    <a:pt x="119078" y="341551"/>
                  </a:lnTo>
                  <a:lnTo>
                    <a:pt x="106136" y="337180"/>
                  </a:lnTo>
                  <a:lnTo>
                    <a:pt x="93689" y="331684"/>
                  </a:lnTo>
                  <a:lnTo>
                    <a:pt x="81788" y="325119"/>
                  </a:lnTo>
                  <a:lnTo>
                    <a:pt x="70485" y="317539"/>
                  </a:lnTo>
                  <a:lnTo>
                    <a:pt x="59830" y="309002"/>
                  </a:lnTo>
                  <a:lnTo>
                    <a:pt x="49876" y="299561"/>
                  </a:lnTo>
                  <a:lnTo>
                    <a:pt x="40672" y="289272"/>
                  </a:lnTo>
                  <a:lnTo>
                    <a:pt x="32271" y="278192"/>
                  </a:lnTo>
                  <a:lnTo>
                    <a:pt x="24724" y="266375"/>
                  </a:lnTo>
                  <a:lnTo>
                    <a:pt x="18081" y="253876"/>
                  </a:lnTo>
                  <a:lnTo>
                    <a:pt x="12395" y="240752"/>
                  </a:lnTo>
                  <a:lnTo>
                    <a:pt x="7715" y="227058"/>
                  </a:lnTo>
                  <a:lnTo>
                    <a:pt x="4094" y="212848"/>
                  </a:lnTo>
                  <a:lnTo>
                    <a:pt x="1582" y="198179"/>
                  </a:lnTo>
                  <a:lnTo>
                    <a:pt x="232" y="183106"/>
                  </a:lnTo>
                  <a:lnTo>
                    <a:pt x="0" y="173680"/>
                  </a:lnTo>
                  <a:close/>
                </a:path>
              </a:pathLst>
            </a:custGeom>
            <a:solidFill>
              <a:srgbClr val="937AB1"/>
            </a:solidFill>
            <a:ln w="28575">
              <a:solidFill>
                <a:srgbClr val="6F5B88"/>
              </a:solidFill>
            </a:ln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77" name="object 86"/>
            <p:cNvSpPr/>
            <p:nvPr/>
          </p:nvSpPr>
          <p:spPr>
            <a:xfrm>
              <a:off x="6251551" y="5502337"/>
              <a:ext cx="347472" cy="347472"/>
            </a:xfrm>
            <a:custGeom>
              <a:avLst/>
              <a:gdLst/>
              <a:ahLst/>
              <a:cxnLst/>
              <a:rect l="l" t="t" r="r" b="b"/>
              <a:pathLst>
                <a:path w="320729" h="347361">
                  <a:moveTo>
                    <a:pt x="0" y="173680"/>
                  </a:moveTo>
                  <a:lnTo>
                    <a:pt x="613" y="158387"/>
                  </a:lnTo>
                  <a:lnTo>
                    <a:pt x="2418" y="143464"/>
                  </a:lnTo>
                  <a:lnTo>
                    <a:pt x="5364" y="128966"/>
                  </a:lnTo>
                  <a:lnTo>
                    <a:pt x="9400" y="114949"/>
                  </a:lnTo>
                  <a:lnTo>
                    <a:pt x="14475" y="101468"/>
                  </a:lnTo>
                  <a:lnTo>
                    <a:pt x="20537" y="88579"/>
                  </a:lnTo>
                  <a:lnTo>
                    <a:pt x="27535" y="76337"/>
                  </a:lnTo>
                  <a:lnTo>
                    <a:pt x="35418" y="64798"/>
                  </a:lnTo>
                  <a:lnTo>
                    <a:pt x="44135" y="54017"/>
                  </a:lnTo>
                  <a:lnTo>
                    <a:pt x="53635" y="44049"/>
                  </a:lnTo>
                  <a:lnTo>
                    <a:pt x="63866" y="34951"/>
                  </a:lnTo>
                  <a:lnTo>
                    <a:pt x="74777" y="26777"/>
                  </a:lnTo>
                  <a:lnTo>
                    <a:pt x="86317" y="19583"/>
                  </a:lnTo>
                  <a:lnTo>
                    <a:pt x="98435" y="13424"/>
                  </a:lnTo>
                  <a:lnTo>
                    <a:pt x="111080" y="8356"/>
                  </a:lnTo>
                  <a:lnTo>
                    <a:pt x="124200" y="4434"/>
                  </a:lnTo>
                  <a:lnTo>
                    <a:pt x="137744" y="1714"/>
                  </a:lnTo>
                  <a:lnTo>
                    <a:pt x="151661" y="251"/>
                  </a:lnTo>
                  <a:lnTo>
                    <a:pt x="160364" y="0"/>
                  </a:lnTo>
                  <a:lnTo>
                    <a:pt x="174485" y="664"/>
                  </a:lnTo>
                  <a:lnTo>
                    <a:pt x="188264" y="2619"/>
                  </a:lnTo>
                  <a:lnTo>
                    <a:pt x="201651" y="5810"/>
                  </a:lnTo>
                  <a:lnTo>
                    <a:pt x="214593" y="10181"/>
                  </a:lnTo>
                  <a:lnTo>
                    <a:pt x="227040" y="15677"/>
                  </a:lnTo>
                  <a:lnTo>
                    <a:pt x="238941" y="22242"/>
                  </a:lnTo>
                  <a:lnTo>
                    <a:pt x="250244" y="29822"/>
                  </a:lnTo>
                  <a:lnTo>
                    <a:pt x="260899" y="38359"/>
                  </a:lnTo>
                  <a:lnTo>
                    <a:pt x="270853" y="47800"/>
                  </a:lnTo>
                  <a:lnTo>
                    <a:pt x="280057" y="58089"/>
                  </a:lnTo>
                  <a:lnTo>
                    <a:pt x="288458" y="69169"/>
                  </a:lnTo>
                  <a:lnTo>
                    <a:pt x="296005" y="80986"/>
                  </a:lnTo>
                  <a:lnTo>
                    <a:pt x="302647" y="93485"/>
                  </a:lnTo>
                  <a:lnTo>
                    <a:pt x="308334" y="106609"/>
                  </a:lnTo>
                  <a:lnTo>
                    <a:pt x="313014" y="120303"/>
                  </a:lnTo>
                  <a:lnTo>
                    <a:pt x="316635" y="134513"/>
                  </a:lnTo>
                  <a:lnTo>
                    <a:pt x="319146" y="149182"/>
                  </a:lnTo>
                  <a:lnTo>
                    <a:pt x="320497" y="164255"/>
                  </a:lnTo>
                  <a:lnTo>
                    <a:pt x="320729" y="173680"/>
                  </a:lnTo>
                  <a:lnTo>
                    <a:pt x="320116" y="188974"/>
                  </a:lnTo>
                  <a:lnTo>
                    <a:pt x="318311" y="203897"/>
                  </a:lnTo>
                  <a:lnTo>
                    <a:pt x="315364" y="218395"/>
                  </a:lnTo>
                  <a:lnTo>
                    <a:pt x="311328" y="232412"/>
                  </a:lnTo>
                  <a:lnTo>
                    <a:pt x="306254" y="245893"/>
                  </a:lnTo>
                  <a:lnTo>
                    <a:pt x="300192" y="258782"/>
                  </a:lnTo>
                  <a:lnTo>
                    <a:pt x="293194" y="271024"/>
                  </a:lnTo>
                  <a:lnTo>
                    <a:pt x="285310" y="282563"/>
                  </a:lnTo>
                  <a:lnTo>
                    <a:pt x="276593" y="293344"/>
                  </a:lnTo>
                  <a:lnTo>
                    <a:pt x="267094" y="303312"/>
                  </a:lnTo>
                  <a:lnTo>
                    <a:pt x="256863" y="312410"/>
                  </a:lnTo>
                  <a:lnTo>
                    <a:pt x="245952" y="320584"/>
                  </a:lnTo>
                  <a:lnTo>
                    <a:pt x="234412" y="327778"/>
                  </a:lnTo>
                  <a:lnTo>
                    <a:pt x="222294" y="333937"/>
                  </a:lnTo>
                  <a:lnTo>
                    <a:pt x="209649" y="339005"/>
                  </a:lnTo>
                  <a:lnTo>
                    <a:pt x="196529" y="342927"/>
                  </a:lnTo>
                  <a:lnTo>
                    <a:pt x="182985" y="345647"/>
                  </a:lnTo>
                  <a:lnTo>
                    <a:pt x="169068" y="347110"/>
                  </a:lnTo>
                  <a:lnTo>
                    <a:pt x="160364" y="347361"/>
                  </a:lnTo>
                  <a:lnTo>
                    <a:pt x="146244" y="346697"/>
                  </a:lnTo>
                  <a:lnTo>
                    <a:pt x="132465" y="344742"/>
                  </a:lnTo>
                  <a:lnTo>
                    <a:pt x="119078" y="341551"/>
                  </a:lnTo>
                  <a:lnTo>
                    <a:pt x="106136" y="337180"/>
                  </a:lnTo>
                  <a:lnTo>
                    <a:pt x="93689" y="331684"/>
                  </a:lnTo>
                  <a:lnTo>
                    <a:pt x="81788" y="325119"/>
                  </a:lnTo>
                  <a:lnTo>
                    <a:pt x="70484" y="317539"/>
                  </a:lnTo>
                  <a:lnTo>
                    <a:pt x="59830" y="309002"/>
                  </a:lnTo>
                  <a:lnTo>
                    <a:pt x="49876" y="299561"/>
                  </a:lnTo>
                  <a:lnTo>
                    <a:pt x="40672" y="289272"/>
                  </a:lnTo>
                  <a:lnTo>
                    <a:pt x="32271" y="278192"/>
                  </a:lnTo>
                  <a:lnTo>
                    <a:pt x="24724" y="266375"/>
                  </a:lnTo>
                  <a:lnTo>
                    <a:pt x="18081" y="253876"/>
                  </a:lnTo>
                  <a:lnTo>
                    <a:pt x="12395" y="240752"/>
                  </a:lnTo>
                  <a:lnTo>
                    <a:pt x="7715" y="227058"/>
                  </a:lnTo>
                  <a:lnTo>
                    <a:pt x="4094" y="212848"/>
                  </a:lnTo>
                  <a:lnTo>
                    <a:pt x="1582" y="198179"/>
                  </a:lnTo>
                  <a:lnTo>
                    <a:pt x="232" y="183106"/>
                  </a:lnTo>
                  <a:lnTo>
                    <a:pt x="0" y="173680"/>
                  </a:lnTo>
                  <a:close/>
                </a:path>
              </a:pathLst>
            </a:custGeom>
            <a:solidFill>
              <a:srgbClr val="937AB1"/>
            </a:solidFill>
            <a:ln w="28575">
              <a:solidFill>
                <a:srgbClr val="6F5B88"/>
              </a:solidFill>
            </a:ln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78" name="object 63"/>
            <p:cNvSpPr/>
            <p:nvPr/>
          </p:nvSpPr>
          <p:spPr>
            <a:xfrm>
              <a:off x="5880842" y="5021529"/>
              <a:ext cx="347472" cy="347472"/>
            </a:xfrm>
            <a:custGeom>
              <a:avLst/>
              <a:gdLst/>
              <a:ahLst/>
              <a:cxnLst/>
              <a:rect l="l" t="t" r="r" b="b"/>
              <a:pathLst>
                <a:path w="320730" h="347361">
                  <a:moveTo>
                    <a:pt x="0" y="173680"/>
                  </a:moveTo>
                  <a:lnTo>
                    <a:pt x="232" y="183106"/>
                  </a:lnTo>
                  <a:lnTo>
                    <a:pt x="1583" y="198179"/>
                  </a:lnTo>
                  <a:lnTo>
                    <a:pt x="4094" y="212848"/>
                  </a:lnTo>
                  <a:lnTo>
                    <a:pt x="7715" y="227058"/>
                  </a:lnTo>
                  <a:lnTo>
                    <a:pt x="12395" y="240752"/>
                  </a:lnTo>
                  <a:lnTo>
                    <a:pt x="18082" y="253876"/>
                  </a:lnTo>
                  <a:lnTo>
                    <a:pt x="24724" y="266375"/>
                  </a:lnTo>
                  <a:lnTo>
                    <a:pt x="32272" y="278192"/>
                  </a:lnTo>
                  <a:lnTo>
                    <a:pt x="40673" y="289272"/>
                  </a:lnTo>
                  <a:lnTo>
                    <a:pt x="49876" y="299561"/>
                  </a:lnTo>
                  <a:lnTo>
                    <a:pt x="59830" y="309001"/>
                  </a:lnTo>
                  <a:lnTo>
                    <a:pt x="70485" y="317539"/>
                  </a:lnTo>
                  <a:lnTo>
                    <a:pt x="81788" y="325118"/>
                  </a:lnTo>
                  <a:lnTo>
                    <a:pt x="93689" y="331684"/>
                  </a:lnTo>
                  <a:lnTo>
                    <a:pt x="106136" y="337180"/>
                  </a:lnTo>
                  <a:lnTo>
                    <a:pt x="119079" y="341551"/>
                  </a:lnTo>
                  <a:lnTo>
                    <a:pt x="132465" y="344742"/>
                  </a:lnTo>
                  <a:lnTo>
                    <a:pt x="146244" y="346697"/>
                  </a:lnTo>
                  <a:lnTo>
                    <a:pt x="160365" y="347361"/>
                  </a:lnTo>
                  <a:lnTo>
                    <a:pt x="169069" y="347110"/>
                  </a:lnTo>
                  <a:lnTo>
                    <a:pt x="182986" y="345646"/>
                  </a:lnTo>
                  <a:lnTo>
                    <a:pt x="196530" y="342926"/>
                  </a:lnTo>
                  <a:lnTo>
                    <a:pt x="209650" y="339004"/>
                  </a:lnTo>
                  <a:lnTo>
                    <a:pt x="222295" y="333936"/>
                  </a:lnTo>
                  <a:lnTo>
                    <a:pt x="234413" y="327778"/>
                  </a:lnTo>
                  <a:lnTo>
                    <a:pt x="245953" y="320583"/>
                  </a:lnTo>
                  <a:lnTo>
                    <a:pt x="256864" y="312409"/>
                  </a:lnTo>
                  <a:lnTo>
                    <a:pt x="267095" y="303311"/>
                  </a:lnTo>
                  <a:lnTo>
                    <a:pt x="276595" y="293343"/>
                  </a:lnTo>
                  <a:lnTo>
                    <a:pt x="285312" y="282562"/>
                  </a:lnTo>
                  <a:lnTo>
                    <a:pt x="293195" y="271023"/>
                  </a:lnTo>
                  <a:lnTo>
                    <a:pt x="300193" y="258781"/>
                  </a:lnTo>
                  <a:lnTo>
                    <a:pt x="306255" y="245892"/>
                  </a:lnTo>
                  <a:lnTo>
                    <a:pt x="311330" y="232411"/>
                  </a:lnTo>
                  <a:lnTo>
                    <a:pt x="315366" y="218394"/>
                  </a:lnTo>
                  <a:lnTo>
                    <a:pt x="318312" y="203896"/>
                  </a:lnTo>
                  <a:lnTo>
                    <a:pt x="320117" y="188973"/>
                  </a:lnTo>
                  <a:lnTo>
                    <a:pt x="320730" y="173680"/>
                  </a:lnTo>
                  <a:lnTo>
                    <a:pt x="320498" y="164254"/>
                  </a:lnTo>
                  <a:lnTo>
                    <a:pt x="319147" y="149181"/>
                  </a:lnTo>
                  <a:lnTo>
                    <a:pt x="316636" y="134512"/>
                  </a:lnTo>
                  <a:lnTo>
                    <a:pt x="313015" y="120303"/>
                  </a:lnTo>
                  <a:lnTo>
                    <a:pt x="308335" y="106609"/>
                  </a:lnTo>
                  <a:lnTo>
                    <a:pt x="302649" y="93485"/>
                  </a:lnTo>
                  <a:lnTo>
                    <a:pt x="296006" y="80986"/>
                  </a:lnTo>
                  <a:lnTo>
                    <a:pt x="288459" y="69169"/>
                  </a:lnTo>
                  <a:lnTo>
                    <a:pt x="280058" y="58089"/>
                  </a:lnTo>
                  <a:lnTo>
                    <a:pt x="270854" y="47800"/>
                  </a:lnTo>
                  <a:lnTo>
                    <a:pt x="260900" y="38359"/>
                  </a:lnTo>
                  <a:lnTo>
                    <a:pt x="250245" y="29822"/>
                  </a:lnTo>
                  <a:lnTo>
                    <a:pt x="238942" y="22242"/>
                  </a:lnTo>
                  <a:lnTo>
                    <a:pt x="227041" y="15677"/>
                  </a:lnTo>
                  <a:lnTo>
                    <a:pt x="214594" y="10181"/>
                  </a:lnTo>
                  <a:lnTo>
                    <a:pt x="201651" y="5810"/>
                  </a:lnTo>
                  <a:lnTo>
                    <a:pt x="188265" y="2619"/>
                  </a:lnTo>
                  <a:lnTo>
                    <a:pt x="174486" y="664"/>
                  </a:lnTo>
                  <a:lnTo>
                    <a:pt x="160365" y="0"/>
                  </a:lnTo>
                  <a:lnTo>
                    <a:pt x="151662" y="251"/>
                  </a:lnTo>
                  <a:lnTo>
                    <a:pt x="137745" y="1714"/>
                  </a:lnTo>
                  <a:lnTo>
                    <a:pt x="124200" y="4434"/>
                  </a:lnTo>
                  <a:lnTo>
                    <a:pt x="111080" y="8356"/>
                  </a:lnTo>
                  <a:lnTo>
                    <a:pt x="98436" y="13424"/>
                  </a:lnTo>
                  <a:lnTo>
                    <a:pt x="86318" y="19583"/>
                  </a:lnTo>
                  <a:lnTo>
                    <a:pt x="74777" y="26777"/>
                  </a:lnTo>
                  <a:lnTo>
                    <a:pt x="63866" y="34951"/>
                  </a:lnTo>
                  <a:lnTo>
                    <a:pt x="53635" y="44049"/>
                  </a:lnTo>
                  <a:lnTo>
                    <a:pt x="44136" y="54017"/>
                  </a:lnTo>
                  <a:lnTo>
                    <a:pt x="35419" y="64798"/>
                  </a:lnTo>
                  <a:lnTo>
                    <a:pt x="27535" y="76337"/>
                  </a:lnTo>
                  <a:lnTo>
                    <a:pt x="20537" y="88579"/>
                  </a:lnTo>
                  <a:lnTo>
                    <a:pt x="14475" y="101468"/>
                  </a:lnTo>
                  <a:lnTo>
                    <a:pt x="9400" y="114948"/>
                  </a:lnTo>
                  <a:lnTo>
                    <a:pt x="5364" y="128965"/>
                  </a:lnTo>
                  <a:lnTo>
                    <a:pt x="2418" y="143463"/>
                  </a:lnTo>
                  <a:lnTo>
                    <a:pt x="613" y="158386"/>
                  </a:lnTo>
                  <a:lnTo>
                    <a:pt x="0" y="173680"/>
                  </a:lnTo>
                  <a:close/>
                </a:path>
              </a:pathLst>
            </a:custGeom>
            <a:solidFill>
              <a:srgbClr val="937AB1"/>
            </a:solidFill>
            <a:ln w="28575">
              <a:solidFill>
                <a:srgbClr val="6F5B88"/>
              </a:solidFill>
            </a:ln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79" name="object 40"/>
            <p:cNvSpPr/>
            <p:nvPr/>
          </p:nvSpPr>
          <p:spPr>
            <a:xfrm>
              <a:off x="5213120" y="4921685"/>
              <a:ext cx="347472" cy="347472"/>
            </a:xfrm>
            <a:custGeom>
              <a:avLst/>
              <a:gdLst/>
              <a:ahLst/>
              <a:cxnLst/>
              <a:rect l="l" t="t" r="r" b="b"/>
              <a:pathLst>
                <a:path w="320729" h="347361">
                  <a:moveTo>
                    <a:pt x="0" y="173681"/>
                  </a:moveTo>
                  <a:lnTo>
                    <a:pt x="613" y="158387"/>
                  </a:lnTo>
                  <a:lnTo>
                    <a:pt x="2418" y="143464"/>
                  </a:lnTo>
                  <a:lnTo>
                    <a:pt x="5364" y="128966"/>
                  </a:lnTo>
                  <a:lnTo>
                    <a:pt x="9400" y="114949"/>
                  </a:lnTo>
                  <a:lnTo>
                    <a:pt x="14475" y="101468"/>
                  </a:lnTo>
                  <a:lnTo>
                    <a:pt x="20537" y="88579"/>
                  </a:lnTo>
                  <a:lnTo>
                    <a:pt x="27535" y="76337"/>
                  </a:lnTo>
                  <a:lnTo>
                    <a:pt x="35418" y="64798"/>
                  </a:lnTo>
                  <a:lnTo>
                    <a:pt x="44135" y="54017"/>
                  </a:lnTo>
                  <a:lnTo>
                    <a:pt x="53635" y="44050"/>
                  </a:lnTo>
                  <a:lnTo>
                    <a:pt x="63866" y="34951"/>
                  </a:lnTo>
                  <a:lnTo>
                    <a:pt x="74777" y="26777"/>
                  </a:lnTo>
                  <a:lnTo>
                    <a:pt x="86317" y="19583"/>
                  </a:lnTo>
                  <a:lnTo>
                    <a:pt x="98435" y="13424"/>
                  </a:lnTo>
                  <a:lnTo>
                    <a:pt x="111080" y="8356"/>
                  </a:lnTo>
                  <a:lnTo>
                    <a:pt x="124200" y="4434"/>
                  </a:lnTo>
                  <a:lnTo>
                    <a:pt x="137744" y="1714"/>
                  </a:lnTo>
                  <a:lnTo>
                    <a:pt x="151661" y="251"/>
                  </a:lnTo>
                  <a:lnTo>
                    <a:pt x="160365" y="0"/>
                  </a:lnTo>
                  <a:lnTo>
                    <a:pt x="174485" y="664"/>
                  </a:lnTo>
                  <a:lnTo>
                    <a:pt x="188264" y="2619"/>
                  </a:lnTo>
                  <a:lnTo>
                    <a:pt x="201651" y="5810"/>
                  </a:lnTo>
                  <a:lnTo>
                    <a:pt x="214593" y="10181"/>
                  </a:lnTo>
                  <a:lnTo>
                    <a:pt x="227040" y="15677"/>
                  </a:lnTo>
                  <a:lnTo>
                    <a:pt x="238941" y="22242"/>
                  </a:lnTo>
                  <a:lnTo>
                    <a:pt x="250245" y="29822"/>
                  </a:lnTo>
                  <a:lnTo>
                    <a:pt x="260899" y="38359"/>
                  </a:lnTo>
                  <a:lnTo>
                    <a:pt x="270853" y="47800"/>
                  </a:lnTo>
                  <a:lnTo>
                    <a:pt x="280057" y="58089"/>
                  </a:lnTo>
                  <a:lnTo>
                    <a:pt x="288458" y="69169"/>
                  </a:lnTo>
                  <a:lnTo>
                    <a:pt x="296005" y="80986"/>
                  </a:lnTo>
                  <a:lnTo>
                    <a:pt x="302648" y="93485"/>
                  </a:lnTo>
                  <a:lnTo>
                    <a:pt x="308334" y="106609"/>
                  </a:lnTo>
                  <a:lnTo>
                    <a:pt x="313014" y="120303"/>
                  </a:lnTo>
                  <a:lnTo>
                    <a:pt x="316635" y="134513"/>
                  </a:lnTo>
                  <a:lnTo>
                    <a:pt x="319147" y="149182"/>
                  </a:lnTo>
                  <a:lnTo>
                    <a:pt x="320497" y="164254"/>
                  </a:lnTo>
                  <a:lnTo>
                    <a:pt x="320729" y="173681"/>
                  </a:lnTo>
                  <a:lnTo>
                    <a:pt x="320116" y="188974"/>
                  </a:lnTo>
                  <a:lnTo>
                    <a:pt x="318311" y="203897"/>
                  </a:lnTo>
                  <a:lnTo>
                    <a:pt x="315365" y="218395"/>
                  </a:lnTo>
                  <a:lnTo>
                    <a:pt x="311329" y="232412"/>
                  </a:lnTo>
                  <a:lnTo>
                    <a:pt x="306254" y="245893"/>
                  </a:lnTo>
                  <a:lnTo>
                    <a:pt x="300192" y="258782"/>
                  </a:lnTo>
                  <a:lnTo>
                    <a:pt x="293194" y="271024"/>
                  </a:lnTo>
                  <a:lnTo>
                    <a:pt x="285311" y="282563"/>
                  </a:lnTo>
                  <a:lnTo>
                    <a:pt x="276594" y="293344"/>
                  </a:lnTo>
                  <a:lnTo>
                    <a:pt x="267094" y="303311"/>
                  </a:lnTo>
                  <a:lnTo>
                    <a:pt x="256863" y="312410"/>
                  </a:lnTo>
                  <a:lnTo>
                    <a:pt x="245952" y="320584"/>
                  </a:lnTo>
                  <a:lnTo>
                    <a:pt x="234412" y="327778"/>
                  </a:lnTo>
                  <a:lnTo>
                    <a:pt x="222294" y="333937"/>
                  </a:lnTo>
                  <a:lnTo>
                    <a:pt x="209649" y="339005"/>
                  </a:lnTo>
                  <a:lnTo>
                    <a:pt x="196529" y="342927"/>
                  </a:lnTo>
                  <a:lnTo>
                    <a:pt x="182985" y="345647"/>
                  </a:lnTo>
                  <a:lnTo>
                    <a:pt x="169068" y="347110"/>
                  </a:lnTo>
                  <a:lnTo>
                    <a:pt x="160365" y="347361"/>
                  </a:lnTo>
                  <a:lnTo>
                    <a:pt x="146244" y="346697"/>
                  </a:lnTo>
                  <a:lnTo>
                    <a:pt x="132465" y="344742"/>
                  </a:lnTo>
                  <a:lnTo>
                    <a:pt x="119078" y="341551"/>
                  </a:lnTo>
                  <a:lnTo>
                    <a:pt x="106136" y="337180"/>
                  </a:lnTo>
                  <a:lnTo>
                    <a:pt x="93689" y="331684"/>
                  </a:lnTo>
                  <a:lnTo>
                    <a:pt x="81788" y="325119"/>
                  </a:lnTo>
                  <a:lnTo>
                    <a:pt x="70484" y="317539"/>
                  </a:lnTo>
                  <a:lnTo>
                    <a:pt x="59830" y="309002"/>
                  </a:lnTo>
                  <a:lnTo>
                    <a:pt x="49876" y="299561"/>
                  </a:lnTo>
                  <a:lnTo>
                    <a:pt x="40672" y="289272"/>
                  </a:lnTo>
                  <a:lnTo>
                    <a:pt x="32271" y="278192"/>
                  </a:lnTo>
                  <a:lnTo>
                    <a:pt x="24724" y="266375"/>
                  </a:lnTo>
                  <a:lnTo>
                    <a:pt x="18081" y="253876"/>
                  </a:lnTo>
                  <a:lnTo>
                    <a:pt x="12395" y="240752"/>
                  </a:lnTo>
                  <a:lnTo>
                    <a:pt x="7715" y="227058"/>
                  </a:lnTo>
                  <a:lnTo>
                    <a:pt x="4094" y="212848"/>
                  </a:lnTo>
                  <a:lnTo>
                    <a:pt x="1582" y="198179"/>
                  </a:lnTo>
                  <a:lnTo>
                    <a:pt x="232" y="183107"/>
                  </a:lnTo>
                  <a:lnTo>
                    <a:pt x="0" y="173681"/>
                  </a:lnTo>
                  <a:close/>
                </a:path>
              </a:pathLst>
            </a:custGeom>
            <a:solidFill>
              <a:srgbClr val="937AB1"/>
            </a:solidFill>
            <a:ln w="28575">
              <a:solidFill>
                <a:srgbClr val="6F5B88"/>
              </a:solidFill>
            </a:ln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80" name="object 28"/>
            <p:cNvSpPr/>
            <p:nvPr/>
          </p:nvSpPr>
          <p:spPr>
            <a:xfrm>
              <a:off x="4877989" y="5328656"/>
              <a:ext cx="347472" cy="347472"/>
            </a:xfrm>
            <a:custGeom>
              <a:avLst/>
              <a:gdLst/>
              <a:ahLst/>
              <a:cxnLst/>
              <a:rect l="l" t="t" r="r" b="b"/>
              <a:pathLst>
                <a:path w="320730" h="347361">
                  <a:moveTo>
                    <a:pt x="0" y="173680"/>
                  </a:moveTo>
                  <a:lnTo>
                    <a:pt x="613" y="158387"/>
                  </a:lnTo>
                  <a:lnTo>
                    <a:pt x="2418" y="143464"/>
                  </a:lnTo>
                  <a:lnTo>
                    <a:pt x="5364" y="128966"/>
                  </a:lnTo>
                  <a:lnTo>
                    <a:pt x="9400" y="114949"/>
                  </a:lnTo>
                  <a:lnTo>
                    <a:pt x="14475" y="101468"/>
                  </a:lnTo>
                  <a:lnTo>
                    <a:pt x="20537" y="88579"/>
                  </a:lnTo>
                  <a:lnTo>
                    <a:pt x="27535" y="76337"/>
                  </a:lnTo>
                  <a:lnTo>
                    <a:pt x="35418" y="64798"/>
                  </a:lnTo>
                  <a:lnTo>
                    <a:pt x="44135" y="54017"/>
                  </a:lnTo>
                  <a:lnTo>
                    <a:pt x="53635" y="44049"/>
                  </a:lnTo>
                  <a:lnTo>
                    <a:pt x="63866" y="34951"/>
                  </a:lnTo>
                  <a:lnTo>
                    <a:pt x="74777" y="26777"/>
                  </a:lnTo>
                  <a:lnTo>
                    <a:pt x="86317" y="19583"/>
                  </a:lnTo>
                  <a:lnTo>
                    <a:pt x="98435" y="13424"/>
                  </a:lnTo>
                  <a:lnTo>
                    <a:pt x="111080" y="8356"/>
                  </a:lnTo>
                  <a:lnTo>
                    <a:pt x="124200" y="4434"/>
                  </a:lnTo>
                  <a:lnTo>
                    <a:pt x="137744" y="1714"/>
                  </a:lnTo>
                  <a:lnTo>
                    <a:pt x="151661" y="251"/>
                  </a:lnTo>
                  <a:lnTo>
                    <a:pt x="160364" y="0"/>
                  </a:lnTo>
                  <a:lnTo>
                    <a:pt x="174485" y="664"/>
                  </a:lnTo>
                  <a:lnTo>
                    <a:pt x="188264" y="2619"/>
                  </a:lnTo>
                  <a:lnTo>
                    <a:pt x="201651" y="5810"/>
                  </a:lnTo>
                  <a:lnTo>
                    <a:pt x="214593" y="10181"/>
                  </a:lnTo>
                  <a:lnTo>
                    <a:pt x="227040" y="15677"/>
                  </a:lnTo>
                  <a:lnTo>
                    <a:pt x="238941" y="22242"/>
                  </a:lnTo>
                  <a:lnTo>
                    <a:pt x="250244" y="29822"/>
                  </a:lnTo>
                  <a:lnTo>
                    <a:pt x="260899" y="38359"/>
                  </a:lnTo>
                  <a:lnTo>
                    <a:pt x="270853" y="47800"/>
                  </a:lnTo>
                  <a:lnTo>
                    <a:pt x="280057" y="58088"/>
                  </a:lnTo>
                  <a:lnTo>
                    <a:pt x="288458" y="69169"/>
                  </a:lnTo>
                  <a:lnTo>
                    <a:pt x="296005" y="80986"/>
                  </a:lnTo>
                  <a:lnTo>
                    <a:pt x="302648" y="93485"/>
                  </a:lnTo>
                  <a:lnTo>
                    <a:pt x="308334" y="106609"/>
                  </a:lnTo>
                  <a:lnTo>
                    <a:pt x="313014" y="120303"/>
                  </a:lnTo>
                  <a:lnTo>
                    <a:pt x="316635" y="134513"/>
                  </a:lnTo>
                  <a:lnTo>
                    <a:pt x="319147" y="149182"/>
                  </a:lnTo>
                  <a:lnTo>
                    <a:pt x="320497" y="164254"/>
                  </a:lnTo>
                  <a:lnTo>
                    <a:pt x="320730" y="173680"/>
                  </a:lnTo>
                  <a:lnTo>
                    <a:pt x="320116" y="188974"/>
                  </a:lnTo>
                  <a:lnTo>
                    <a:pt x="318311" y="203897"/>
                  </a:lnTo>
                  <a:lnTo>
                    <a:pt x="315365" y="218395"/>
                  </a:lnTo>
                  <a:lnTo>
                    <a:pt x="311329" y="232412"/>
                  </a:lnTo>
                  <a:lnTo>
                    <a:pt x="306254" y="245893"/>
                  </a:lnTo>
                  <a:lnTo>
                    <a:pt x="300192" y="258782"/>
                  </a:lnTo>
                  <a:lnTo>
                    <a:pt x="293194" y="271024"/>
                  </a:lnTo>
                  <a:lnTo>
                    <a:pt x="285311" y="282563"/>
                  </a:lnTo>
                  <a:lnTo>
                    <a:pt x="276594" y="293344"/>
                  </a:lnTo>
                  <a:lnTo>
                    <a:pt x="267094" y="303311"/>
                  </a:lnTo>
                  <a:lnTo>
                    <a:pt x="256863" y="312410"/>
                  </a:lnTo>
                  <a:lnTo>
                    <a:pt x="245952" y="320584"/>
                  </a:lnTo>
                  <a:lnTo>
                    <a:pt x="234412" y="327778"/>
                  </a:lnTo>
                  <a:lnTo>
                    <a:pt x="222294" y="333937"/>
                  </a:lnTo>
                  <a:lnTo>
                    <a:pt x="209649" y="339005"/>
                  </a:lnTo>
                  <a:lnTo>
                    <a:pt x="196529" y="342927"/>
                  </a:lnTo>
                  <a:lnTo>
                    <a:pt x="182985" y="345647"/>
                  </a:lnTo>
                  <a:lnTo>
                    <a:pt x="169068" y="347110"/>
                  </a:lnTo>
                  <a:lnTo>
                    <a:pt x="160364" y="347361"/>
                  </a:lnTo>
                  <a:lnTo>
                    <a:pt x="146244" y="346697"/>
                  </a:lnTo>
                  <a:lnTo>
                    <a:pt x="132465" y="344742"/>
                  </a:lnTo>
                  <a:lnTo>
                    <a:pt x="119078" y="341551"/>
                  </a:lnTo>
                  <a:lnTo>
                    <a:pt x="106136" y="337180"/>
                  </a:lnTo>
                  <a:lnTo>
                    <a:pt x="93689" y="331684"/>
                  </a:lnTo>
                  <a:lnTo>
                    <a:pt x="81788" y="325119"/>
                  </a:lnTo>
                  <a:lnTo>
                    <a:pt x="70484" y="317539"/>
                  </a:lnTo>
                  <a:lnTo>
                    <a:pt x="59830" y="309002"/>
                  </a:lnTo>
                  <a:lnTo>
                    <a:pt x="49876" y="299561"/>
                  </a:lnTo>
                  <a:lnTo>
                    <a:pt x="40672" y="289272"/>
                  </a:lnTo>
                  <a:lnTo>
                    <a:pt x="32271" y="278192"/>
                  </a:lnTo>
                  <a:lnTo>
                    <a:pt x="24724" y="266375"/>
                  </a:lnTo>
                  <a:lnTo>
                    <a:pt x="18081" y="253876"/>
                  </a:lnTo>
                  <a:lnTo>
                    <a:pt x="12395" y="240752"/>
                  </a:lnTo>
                  <a:lnTo>
                    <a:pt x="7715" y="227058"/>
                  </a:lnTo>
                  <a:lnTo>
                    <a:pt x="4094" y="212848"/>
                  </a:lnTo>
                  <a:lnTo>
                    <a:pt x="1582" y="198179"/>
                  </a:lnTo>
                  <a:lnTo>
                    <a:pt x="232" y="183106"/>
                  </a:lnTo>
                  <a:lnTo>
                    <a:pt x="0" y="173680"/>
                  </a:lnTo>
                  <a:close/>
                </a:path>
              </a:pathLst>
            </a:custGeom>
            <a:solidFill>
              <a:srgbClr val="937AB1"/>
            </a:solidFill>
            <a:ln w="28575">
              <a:solidFill>
                <a:srgbClr val="6F5B88"/>
              </a:solidFill>
            </a:ln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122" name="object 69"/>
            <p:cNvSpPr/>
            <p:nvPr/>
          </p:nvSpPr>
          <p:spPr>
            <a:xfrm>
              <a:off x="3336206" y="5487189"/>
              <a:ext cx="347472" cy="347472"/>
            </a:xfrm>
            <a:custGeom>
              <a:avLst/>
              <a:gdLst/>
              <a:ahLst/>
              <a:cxnLst/>
              <a:rect l="l" t="t" r="r" b="b"/>
              <a:pathLst>
                <a:path w="320729" h="347362">
                  <a:moveTo>
                    <a:pt x="0" y="173681"/>
                  </a:moveTo>
                  <a:lnTo>
                    <a:pt x="232" y="183107"/>
                  </a:lnTo>
                  <a:lnTo>
                    <a:pt x="1583" y="198180"/>
                  </a:lnTo>
                  <a:lnTo>
                    <a:pt x="4094" y="212849"/>
                  </a:lnTo>
                  <a:lnTo>
                    <a:pt x="7715" y="227058"/>
                  </a:lnTo>
                  <a:lnTo>
                    <a:pt x="12395" y="240752"/>
                  </a:lnTo>
                  <a:lnTo>
                    <a:pt x="18082" y="253877"/>
                  </a:lnTo>
                  <a:lnTo>
                    <a:pt x="24724" y="266375"/>
                  </a:lnTo>
                  <a:lnTo>
                    <a:pt x="32272" y="278192"/>
                  </a:lnTo>
                  <a:lnTo>
                    <a:pt x="40673" y="289273"/>
                  </a:lnTo>
                  <a:lnTo>
                    <a:pt x="49876" y="299561"/>
                  </a:lnTo>
                  <a:lnTo>
                    <a:pt x="59830" y="309002"/>
                  </a:lnTo>
                  <a:lnTo>
                    <a:pt x="70485" y="317539"/>
                  </a:lnTo>
                  <a:lnTo>
                    <a:pt x="81788" y="325119"/>
                  </a:lnTo>
                  <a:lnTo>
                    <a:pt x="93689" y="331684"/>
                  </a:lnTo>
                  <a:lnTo>
                    <a:pt x="106136" y="337180"/>
                  </a:lnTo>
                  <a:lnTo>
                    <a:pt x="119079" y="341551"/>
                  </a:lnTo>
                  <a:lnTo>
                    <a:pt x="132465" y="344742"/>
                  </a:lnTo>
                  <a:lnTo>
                    <a:pt x="146244" y="346697"/>
                  </a:lnTo>
                  <a:lnTo>
                    <a:pt x="160365" y="347362"/>
                  </a:lnTo>
                  <a:lnTo>
                    <a:pt x="169068" y="347110"/>
                  </a:lnTo>
                  <a:lnTo>
                    <a:pt x="182985" y="345647"/>
                  </a:lnTo>
                  <a:lnTo>
                    <a:pt x="196529" y="342927"/>
                  </a:lnTo>
                  <a:lnTo>
                    <a:pt x="209649" y="339005"/>
                  </a:lnTo>
                  <a:lnTo>
                    <a:pt x="222294" y="333937"/>
                  </a:lnTo>
                  <a:lnTo>
                    <a:pt x="234412" y="327778"/>
                  </a:lnTo>
                  <a:lnTo>
                    <a:pt x="245952" y="320584"/>
                  </a:lnTo>
                  <a:lnTo>
                    <a:pt x="256863" y="312410"/>
                  </a:lnTo>
                  <a:lnTo>
                    <a:pt x="267094" y="303312"/>
                  </a:lnTo>
                  <a:lnTo>
                    <a:pt x="276594" y="293344"/>
                  </a:lnTo>
                  <a:lnTo>
                    <a:pt x="285310" y="282563"/>
                  </a:lnTo>
                  <a:lnTo>
                    <a:pt x="293194" y="271024"/>
                  </a:lnTo>
                  <a:lnTo>
                    <a:pt x="300192" y="258782"/>
                  </a:lnTo>
                  <a:lnTo>
                    <a:pt x="306254" y="245893"/>
                  </a:lnTo>
                  <a:lnTo>
                    <a:pt x="311328" y="232412"/>
                  </a:lnTo>
                  <a:lnTo>
                    <a:pt x="315364" y="218395"/>
                  </a:lnTo>
                  <a:lnTo>
                    <a:pt x="318311" y="203897"/>
                  </a:lnTo>
                  <a:lnTo>
                    <a:pt x="320116" y="188974"/>
                  </a:lnTo>
                  <a:lnTo>
                    <a:pt x="320729" y="173681"/>
                  </a:lnTo>
                  <a:lnTo>
                    <a:pt x="320497" y="164255"/>
                  </a:lnTo>
                  <a:lnTo>
                    <a:pt x="319146" y="149182"/>
                  </a:lnTo>
                  <a:lnTo>
                    <a:pt x="316635" y="134513"/>
                  </a:lnTo>
                  <a:lnTo>
                    <a:pt x="313014" y="120304"/>
                  </a:lnTo>
                  <a:lnTo>
                    <a:pt x="308334" y="106609"/>
                  </a:lnTo>
                  <a:lnTo>
                    <a:pt x="302648" y="93485"/>
                  </a:lnTo>
                  <a:lnTo>
                    <a:pt x="296005" y="80986"/>
                  </a:lnTo>
                  <a:lnTo>
                    <a:pt x="288458" y="69169"/>
                  </a:lnTo>
                  <a:lnTo>
                    <a:pt x="280057" y="58089"/>
                  </a:lnTo>
                  <a:lnTo>
                    <a:pt x="270854" y="47800"/>
                  </a:lnTo>
                  <a:lnTo>
                    <a:pt x="260899" y="38360"/>
                  </a:lnTo>
                  <a:lnTo>
                    <a:pt x="250245" y="29822"/>
                  </a:lnTo>
                  <a:lnTo>
                    <a:pt x="238942" y="22242"/>
                  </a:lnTo>
                  <a:lnTo>
                    <a:pt x="227041" y="15677"/>
                  </a:lnTo>
                  <a:lnTo>
                    <a:pt x="214594" y="10181"/>
                  </a:lnTo>
                  <a:lnTo>
                    <a:pt x="201651" y="5810"/>
                  </a:lnTo>
                  <a:lnTo>
                    <a:pt x="188265" y="2619"/>
                  </a:lnTo>
                  <a:lnTo>
                    <a:pt x="174486" y="664"/>
                  </a:lnTo>
                  <a:lnTo>
                    <a:pt x="160365" y="0"/>
                  </a:lnTo>
                  <a:lnTo>
                    <a:pt x="151661" y="251"/>
                  </a:lnTo>
                  <a:lnTo>
                    <a:pt x="137744" y="1714"/>
                  </a:lnTo>
                  <a:lnTo>
                    <a:pt x="124200" y="4434"/>
                  </a:lnTo>
                  <a:lnTo>
                    <a:pt x="111080" y="8356"/>
                  </a:lnTo>
                  <a:lnTo>
                    <a:pt x="98435" y="13424"/>
                  </a:lnTo>
                  <a:lnTo>
                    <a:pt x="86317" y="19583"/>
                  </a:lnTo>
                  <a:lnTo>
                    <a:pt x="74777" y="26777"/>
                  </a:lnTo>
                  <a:lnTo>
                    <a:pt x="63866" y="34951"/>
                  </a:lnTo>
                  <a:lnTo>
                    <a:pt x="53635" y="44050"/>
                  </a:lnTo>
                  <a:lnTo>
                    <a:pt x="44135" y="54017"/>
                  </a:lnTo>
                  <a:lnTo>
                    <a:pt x="35418" y="64798"/>
                  </a:lnTo>
                  <a:lnTo>
                    <a:pt x="27535" y="76337"/>
                  </a:lnTo>
                  <a:lnTo>
                    <a:pt x="20537" y="88579"/>
                  </a:lnTo>
                  <a:lnTo>
                    <a:pt x="14475" y="101468"/>
                  </a:lnTo>
                  <a:lnTo>
                    <a:pt x="9400" y="114949"/>
                  </a:lnTo>
                  <a:lnTo>
                    <a:pt x="5364" y="128966"/>
                  </a:lnTo>
                  <a:lnTo>
                    <a:pt x="2418" y="143464"/>
                  </a:lnTo>
                  <a:lnTo>
                    <a:pt x="613" y="158387"/>
                  </a:lnTo>
                  <a:lnTo>
                    <a:pt x="0" y="173681"/>
                  </a:lnTo>
                  <a:close/>
                </a:path>
              </a:pathLst>
            </a:custGeom>
            <a:solidFill>
              <a:srgbClr val="937AB1"/>
            </a:solidFill>
            <a:ln w="28575">
              <a:solidFill>
                <a:srgbClr val="6F5B88"/>
              </a:solidFill>
            </a:ln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  <p:sp>
        <p:nvSpPr>
          <p:cNvPr id="123" name="object 72"/>
          <p:cNvSpPr/>
          <p:nvPr/>
        </p:nvSpPr>
        <p:spPr>
          <a:xfrm>
            <a:off x="4009764" y="443867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4" name="object 46"/>
          <p:cNvSpPr/>
          <p:nvPr/>
        </p:nvSpPr>
        <p:spPr>
          <a:xfrm>
            <a:off x="6280095" y="385564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5" name="object 44"/>
          <p:cNvSpPr/>
          <p:nvPr/>
        </p:nvSpPr>
        <p:spPr>
          <a:xfrm>
            <a:off x="5902602" y="404323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6" name="object 42"/>
          <p:cNvSpPr/>
          <p:nvPr/>
        </p:nvSpPr>
        <p:spPr>
          <a:xfrm>
            <a:off x="5074440" y="412086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7" name="object 38"/>
          <p:cNvSpPr/>
          <p:nvPr/>
        </p:nvSpPr>
        <p:spPr>
          <a:xfrm>
            <a:off x="7032365" y="400056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8" name="object 40"/>
          <p:cNvSpPr/>
          <p:nvPr/>
        </p:nvSpPr>
        <p:spPr>
          <a:xfrm>
            <a:off x="7385165" y="417424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1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7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1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1"/>
                </a:lnTo>
                <a:lnTo>
                  <a:pt x="27689" y="268889"/>
                </a:lnTo>
                <a:lnTo>
                  <a:pt x="35632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8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50" y="291973"/>
                </a:lnTo>
                <a:lnTo>
                  <a:pt x="302221" y="281377"/>
                </a:lnTo>
                <a:lnTo>
                  <a:pt x="310252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9" name="object 34"/>
          <p:cNvSpPr/>
          <p:nvPr/>
        </p:nvSpPr>
        <p:spPr>
          <a:xfrm>
            <a:off x="7727248" y="320997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0" name="object 28"/>
          <p:cNvSpPr/>
          <p:nvPr/>
        </p:nvSpPr>
        <p:spPr>
          <a:xfrm>
            <a:off x="6553321" y="316997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1" name="object 30"/>
          <p:cNvSpPr/>
          <p:nvPr/>
        </p:nvSpPr>
        <p:spPr>
          <a:xfrm>
            <a:off x="6201572" y="316997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2" name="object 32"/>
          <p:cNvSpPr/>
          <p:nvPr/>
        </p:nvSpPr>
        <p:spPr>
          <a:xfrm>
            <a:off x="6711636" y="353073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3" name="object 26"/>
          <p:cNvSpPr/>
          <p:nvPr/>
        </p:nvSpPr>
        <p:spPr>
          <a:xfrm>
            <a:off x="7841227" y="377350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4" name="object 18"/>
          <p:cNvSpPr/>
          <p:nvPr/>
        </p:nvSpPr>
        <p:spPr>
          <a:xfrm>
            <a:off x="5799001" y="356419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5" name="object 20"/>
          <p:cNvSpPr/>
          <p:nvPr/>
        </p:nvSpPr>
        <p:spPr>
          <a:xfrm>
            <a:off x="5560113" y="338365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6" name="object 14"/>
          <p:cNvSpPr/>
          <p:nvPr/>
        </p:nvSpPr>
        <p:spPr>
          <a:xfrm>
            <a:off x="7192732" y="32992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4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7" name="object 12"/>
          <p:cNvSpPr/>
          <p:nvPr/>
        </p:nvSpPr>
        <p:spPr>
          <a:xfrm>
            <a:off x="5038354" y="368196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8" name="object 10"/>
          <p:cNvSpPr/>
          <p:nvPr/>
        </p:nvSpPr>
        <p:spPr>
          <a:xfrm>
            <a:off x="7224802" y="218621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9" name="object 3"/>
          <p:cNvSpPr/>
          <p:nvPr/>
        </p:nvSpPr>
        <p:spPr>
          <a:xfrm>
            <a:off x="5533851" y="402932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232" y="183106"/>
                </a:lnTo>
                <a:lnTo>
                  <a:pt x="1582" y="198179"/>
                </a:lnTo>
                <a:lnTo>
                  <a:pt x="4094" y="212848"/>
                </a:lnTo>
                <a:lnTo>
                  <a:pt x="7715" y="227057"/>
                </a:lnTo>
                <a:lnTo>
                  <a:pt x="12395" y="240752"/>
                </a:lnTo>
                <a:lnTo>
                  <a:pt x="18081" y="253876"/>
                </a:lnTo>
                <a:lnTo>
                  <a:pt x="24724" y="266374"/>
                </a:lnTo>
                <a:lnTo>
                  <a:pt x="32271" y="278192"/>
                </a:lnTo>
                <a:lnTo>
                  <a:pt x="40672" y="289272"/>
                </a:lnTo>
                <a:lnTo>
                  <a:pt x="49876" y="299560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8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8" y="347110"/>
                </a:lnTo>
                <a:lnTo>
                  <a:pt x="182985" y="345647"/>
                </a:lnTo>
                <a:lnTo>
                  <a:pt x="196530" y="342927"/>
                </a:lnTo>
                <a:lnTo>
                  <a:pt x="209650" y="339005"/>
                </a:lnTo>
                <a:lnTo>
                  <a:pt x="222294" y="333937"/>
                </a:lnTo>
                <a:lnTo>
                  <a:pt x="234412" y="327778"/>
                </a:lnTo>
                <a:lnTo>
                  <a:pt x="245952" y="320584"/>
                </a:lnTo>
                <a:lnTo>
                  <a:pt x="256864" y="312410"/>
                </a:lnTo>
                <a:lnTo>
                  <a:pt x="267095" y="303311"/>
                </a:lnTo>
                <a:lnTo>
                  <a:pt x="276594" y="293344"/>
                </a:lnTo>
                <a:lnTo>
                  <a:pt x="285311" y="282563"/>
                </a:lnTo>
                <a:lnTo>
                  <a:pt x="293195" y="271024"/>
                </a:lnTo>
                <a:lnTo>
                  <a:pt x="300193" y="258782"/>
                </a:lnTo>
                <a:lnTo>
                  <a:pt x="306255" y="245893"/>
                </a:lnTo>
                <a:lnTo>
                  <a:pt x="311330" y="232412"/>
                </a:lnTo>
                <a:lnTo>
                  <a:pt x="315366" y="218395"/>
                </a:lnTo>
                <a:lnTo>
                  <a:pt x="318312" y="203897"/>
                </a:lnTo>
                <a:lnTo>
                  <a:pt x="320117" y="188974"/>
                </a:lnTo>
                <a:lnTo>
                  <a:pt x="320730" y="173681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4" y="120303"/>
                </a:lnTo>
                <a:lnTo>
                  <a:pt x="308335" y="106608"/>
                </a:lnTo>
                <a:lnTo>
                  <a:pt x="302648" y="93484"/>
                </a:lnTo>
                <a:lnTo>
                  <a:pt x="296006" y="80986"/>
                </a:lnTo>
                <a:lnTo>
                  <a:pt x="288458" y="69169"/>
                </a:lnTo>
                <a:lnTo>
                  <a:pt x="280057" y="58088"/>
                </a:lnTo>
                <a:lnTo>
                  <a:pt x="270854" y="47800"/>
                </a:lnTo>
                <a:lnTo>
                  <a:pt x="260899" y="38359"/>
                </a:lnTo>
                <a:lnTo>
                  <a:pt x="250245" y="29821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1" y="251"/>
                </a:lnTo>
                <a:lnTo>
                  <a:pt x="137744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5" y="13424"/>
                </a:lnTo>
                <a:lnTo>
                  <a:pt x="86317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50"/>
                </a:lnTo>
                <a:lnTo>
                  <a:pt x="44135" y="54017"/>
                </a:lnTo>
                <a:lnTo>
                  <a:pt x="35418" y="64798"/>
                </a:lnTo>
                <a:lnTo>
                  <a:pt x="27535" y="76338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9"/>
                </a:lnTo>
                <a:lnTo>
                  <a:pt x="5364" y="128966"/>
                </a:lnTo>
                <a:lnTo>
                  <a:pt x="2418" y="143464"/>
                </a:lnTo>
                <a:lnTo>
                  <a:pt x="613" y="158388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0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" name="object 70"/>
          <p:cNvSpPr/>
          <p:nvPr/>
        </p:nvSpPr>
        <p:spPr>
          <a:xfrm>
            <a:off x="2383438" y="5943600"/>
            <a:ext cx="6303362" cy="0"/>
          </a:xfrm>
          <a:custGeom>
            <a:avLst/>
            <a:gdLst/>
            <a:ahLst/>
            <a:cxnLst/>
            <a:rect l="l" t="t" r="r" b="b"/>
            <a:pathLst>
              <a:path w="6303362">
                <a:moveTo>
                  <a:pt x="0" y="0"/>
                </a:moveTo>
                <a:lnTo>
                  <a:pt x="6303362" y="0"/>
                </a:lnTo>
              </a:path>
            </a:pathLst>
          </a:custGeom>
          <a:ln w="25399">
            <a:solidFill>
              <a:srgbClr val="6094C9"/>
            </a:solidFill>
            <a:headEnd type="none"/>
            <a:tailEnd type="arrow"/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cxnSp>
        <p:nvCxnSpPr>
          <p:cNvPr id="74" name="Straight Arrow Connector 73"/>
          <p:cNvCxnSpPr/>
          <p:nvPr/>
        </p:nvCxnSpPr>
        <p:spPr>
          <a:xfrm flipV="1">
            <a:off x="2398534" y="3200400"/>
            <a:ext cx="3162058" cy="2732808"/>
          </a:xfrm>
          <a:prstGeom prst="straightConnector1">
            <a:avLst/>
          </a:prstGeom>
          <a:ln w="25399">
            <a:solidFill>
              <a:srgbClr val="6094C9"/>
            </a:solidFill>
            <a:headEnd type="none"/>
            <a:tailEnd type="arrow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cxnSp>
      <p:sp>
        <p:nvSpPr>
          <p:cNvPr id="76" name="object 82"/>
          <p:cNvSpPr/>
          <p:nvPr/>
        </p:nvSpPr>
        <p:spPr>
          <a:xfrm>
            <a:off x="4414372" y="54871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7" name="object 84"/>
          <p:cNvSpPr/>
          <p:nvPr/>
        </p:nvSpPr>
        <p:spPr>
          <a:xfrm>
            <a:off x="5399747" y="55212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8" name="object 86"/>
          <p:cNvSpPr/>
          <p:nvPr/>
        </p:nvSpPr>
        <p:spPr>
          <a:xfrm>
            <a:off x="6251551" y="55023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9" name="object 63"/>
          <p:cNvSpPr/>
          <p:nvPr/>
        </p:nvSpPr>
        <p:spPr>
          <a:xfrm>
            <a:off x="5880842" y="502152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6"/>
                </a:lnTo>
                <a:lnTo>
                  <a:pt x="1583" y="198179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6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2"/>
                </a:lnTo>
                <a:lnTo>
                  <a:pt x="49876" y="299561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6"/>
                </a:lnTo>
                <a:lnTo>
                  <a:pt x="196530" y="342926"/>
                </a:lnTo>
                <a:lnTo>
                  <a:pt x="209650" y="339004"/>
                </a:lnTo>
                <a:lnTo>
                  <a:pt x="222295" y="333936"/>
                </a:lnTo>
                <a:lnTo>
                  <a:pt x="234413" y="327778"/>
                </a:lnTo>
                <a:lnTo>
                  <a:pt x="245953" y="320583"/>
                </a:lnTo>
                <a:lnTo>
                  <a:pt x="256864" y="312409"/>
                </a:lnTo>
                <a:lnTo>
                  <a:pt x="267095" y="303311"/>
                </a:lnTo>
                <a:lnTo>
                  <a:pt x="276595" y="293343"/>
                </a:lnTo>
                <a:lnTo>
                  <a:pt x="285312" y="282562"/>
                </a:lnTo>
                <a:lnTo>
                  <a:pt x="293195" y="271023"/>
                </a:lnTo>
                <a:lnTo>
                  <a:pt x="300193" y="258781"/>
                </a:lnTo>
                <a:lnTo>
                  <a:pt x="306255" y="245892"/>
                </a:lnTo>
                <a:lnTo>
                  <a:pt x="311330" y="232411"/>
                </a:lnTo>
                <a:lnTo>
                  <a:pt x="315366" y="218394"/>
                </a:lnTo>
                <a:lnTo>
                  <a:pt x="318312" y="203896"/>
                </a:lnTo>
                <a:lnTo>
                  <a:pt x="320117" y="188973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9" y="93485"/>
                </a:lnTo>
                <a:lnTo>
                  <a:pt x="296006" y="80986"/>
                </a:lnTo>
                <a:lnTo>
                  <a:pt x="288459" y="69169"/>
                </a:lnTo>
                <a:lnTo>
                  <a:pt x="280058" y="58089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4"/>
                </a:lnTo>
                <a:lnTo>
                  <a:pt x="86318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0" name="object 40"/>
          <p:cNvSpPr/>
          <p:nvPr/>
        </p:nvSpPr>
        <p:spPr>
          <a:xfrm>
            <a:off x="5213120" y="49216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1" name="object 28"/>
          <p:cNvSpPr/>
          <p:nvPr/>
        </p:nvSpPr>
        <p:spPr>
          <a:xfrm>
            <a:off x="4877989" y="532865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2" name="object 69"/>
          <p:cNvSpPr/>
          <p:nvPr/>
        </p:nvSpPr>
        <p:spPr>
          <a:xfrm>
            <a:off x="3336206" y="548718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1"/>
                </a:moveTo>
                <a:lnTo>
                  <a:pt x="232" y="183107"/>
                </a:lnTo>
                <a:lnTo>
                  <a:pt x="1583" y="198180"/>
                </a:lnTo>
                <a:lnTo>
                  <a:pt x="4094" y="212849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7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3"/>
                </a:lnTo>
                <a:lnTo>
                  <a:pt x="49876" y="299561"/>
                </a:lnTo>
                <a:lnTo>
                  <a:pt x="59830" y="309002"/>
                </a:lnTo>
                <a:lnTo>
                  <a:pt x="70485" y="317539"/>
                </a:lnTo>
                <a:lnTo>
                  <a:pt x="81788" y="325119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2"/>
                </a:lnTo>
                <a:lnTo>
                  <a:pt x="169068" y="347110"/>
                </a:lnTo>
                <a:lnTo>
                  <a:pt x="182985" y="345647"/>
                </a:lnTo>
                <a:lnTo>
                  <a:pt x="196529" y="342927"/>
                </a:lnTo>
                <a:lnTo>
                  <a:pt x="209649" y="339005"/>
                </a:lnTo>
                <a:lnTo>
                  <a:pt x="222294" y="333937"/>
                </a:lnTo>
                <a:lnTo>
                  <a:pt x="234412" y="327778"/>
                </a:lnTo>
                <a:lnTo>
                  <a:pt x="245952" y="320584"/>
                </a:lnTo>
                <a:lnTo>
                  <a:pt x="256863" y="312410"/>
                </a:lnTo>
                <a:lnTo>
                  <a:pt x="267094" y="303312"/>
                </a:lnTo>
                <a:lnTo>
                  <a:pt x="276594" y="293344"/>
                </a:lnTo>
                <a:lnTo>
                  <a:pt x="285310" y="282563"/>
                </a:lnTo>
                <a:lnTo>
                  <a:pt x="293194" y="271024"/>
                </a:lnTo>
                <a:lnTo>
                  <a:pt x="300192" y="258782"/>
                </a:lnTo>
                <a:lnTo>
                  <a:pt x="306254" y="245893"/>
                </a:lnTo>
                <a:lnTo>
                  <a:pt x="311328" y="232412"/>
                </a:lnTo>
                <a:lnTo>
                  <a:pt x="315364" y="218395"/>
                </a:lnTo>
                <a:lnTo>
                  <a:pt x="318311" y="203897"/>
                </a:lnTo>
                <a:lnTo>
                  <a:pt x="320116" y="188974"/>
                </a:lnTo>
                <a:lnTo>
                  <a:pt x="320729" y="173681"/>
                </a:lnTo>
                <a:lnTo>
                  <a:pt x="320497" y="164255"/>
                </a:lnTo>
                <a:lnTo>
                  <a:pt x="319146" y="149182"/>
                </a:lnTo>
                <a:lnTo>
                  <a:pt x="316635" y="134513"/>
                </a:lnTo>
                <a:lnTo>
                  <a:pt x="313014" y="120304"/>
                </a:lnTo>
                <a:lnTo>
                  <a:pt x="308334" y="106609"/>
                </a:lnTo>
                <a:lnTo>
                  <a:pt x="302648" y="93485"/>
                </a:lnTo>
                <a:lnTo>
                  <a:pt x="296005" y="80986"/>
                </a:lnTo>
                <a:lnTo>
                  <a:pt x="288458" y="69169"/>
                </a:lnTo>
                <a:lnTo>
                  <a:pt x="280057" y="58089"/>
                </a:lnTo>
                <a:lnTo>
                  <a:pt x="270854" y="47800"/>
                </a:lnTo>
                <a:lnTo>
                  <a:pt x="260899" y="38360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1" y="251"/>
                </a:lnTo>
                <a:lnTo>
                  <a:pt x="137744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5" y="13424"/>
                </a:lnTo>
                <a:lnTo>
                  <a:pt x="86317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50"/>
                </a:lnTo>
                <a:lnTo>
                  <a:pt x="44135" y="54017"/>
                </a:lnTo>
                <a:lnTo>
                  <a:pt x="35418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9"/>
                </a:lnTo>
                <a:lnTo>
                  <a:pt x="5364" y="128966"/>
                </a:lnTo>
                <a:lnTo>
                  <a:pt x="2418" y="143464"/>
                </a:lnTo>
                <a:lnTo>
                  <a:pt x="613" y="15838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0" name="object 28"/>
          <p:cNvSpPr/>
          <p:nvPr/>
        </p:nvSpPr>
        <p:spPr>
          <a:xfrm>
            <a:off x="2989197" y="566086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1" name="object 30"/>
          <p:cNvSpPr/>
          <p:nvPr/>
        </p:nvSpPr>
        <p:spPr>
          <a:xfrm>
            <a:off x="5853655" y="571095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2" name="object 32"/>
          <p:cNvSpPr/>
          <p:nvPr/>
        </p:nvSpPr>
        <p:spPr>
          <a:xfrm>
            <a:off x="5198720" y="457432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3" name="object 34"/>
          <p:cNvSpPr/>
          <p:nvPr/>
        </p:nvSpPr>
        <p:spPr>
          <a:xfrm>
            <a:off x="6904072" y="55212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4" name="object 36"/>
          <p:cNvSpPr/>
          <p:nvPr/>
        </p:nvSpPr>
        <p:spPr>
          <a:xfrm>
            <a:off x="4326962" y="47451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5" name="object 40"/>
          <p:cNvSpPr/>
          <p:nvPr/>
        </p:nvSpPr>
        <p:spPr>
          <a:xfrm>
            <a:off x="3849401" y="553726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6" name="object 41"/>
          <p:cNvSpPr/>
          <p:nvPr/>
        </p:nvSpPr>
        <p:spPr>
          <a:xfrm>
            <a:off x="4753710" y="457147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1"/>
                </a:moveTo>
                <a:lnTo>
                  <a:pt x="232" y="183108"/>
                </a:lnTo>
                <a:lnTo>
                  <a:pt x="1583" y="198181"/>
                </a:lnTo>
                <a:lnTo>
                  <a:pt x="4094" y="212849"/>
                </a:lnTo>
                <a:lnTo>
                  <a:pt x="7715" y="227059"/>
                </a:lnTo>
                <a:lnTo>
                  <a:pt x="12395" y="240753"/>
                </a:lnTo>
                <a:lnTo>
                  <a:pt x="18082" y="253878"/>
                </a:lnTo>
                <a:lnTo>
                  <a:pt x="24724" y="266376"/>
                </a:lnTo>
                <a:lnTo>
                  <a:pt x="32272" y="278193"/>
                </a:lnTo>
                <a:lnTo>
                  <a:pt x="40673" y="289273"/>
                </a:lnTo>
                <a:lnTo>
                  <a:pt x="49876" y="299562"/>
                </a:lnTo>
                <a:lnTo>
                  <a:pt x="59830" y="309003"/>
                </a:lnTo>
                <a:lnTo>
                  <a:pt x="70485" y="317540"/>
                </a:lnTo>
                <a:lnTo>
                  <a:pt x="81788" y="325120"/>
                </a:lnTo>
                <a:lnTo>
                  <a:pt x="93689" y="331685"/>
                </a:lnTo>
                <a:lnTo>
                  <a:pt x="106136" y="337181"/>
                </a:lnTo>
                <a:lnTo>
                  <a:pt x="119079" y="341552"/>
                </a:lnTo>
                <a:lnTo>
                  <a:pt x="132465" y="344743"/>
                </a:lnTo>
                <a:lnTo>
                  <a:pt x="146244" y="346698"/>
                </a:lnTo>
                <a:lnTo>
                  <a:pt x="160365" y="347362"/>
                </a:lnTo>
                <a:lnTo>
                  <a:pt x="169068" y="347111"/>
                </a:lnTo>
                <a:lnTo>
                  <a:pt x="182985" y="345648"/>
                </a:lnTo>
                <a:lnTo>
                  <a:pt x="196529" y="342928"/>
                </a:lnTo>
                <a:lnTo>
                  <a:pt x="209649" y="339006"/>
                </a:lnTo>
                <a:lnTo>
                  <a:pt x="222294" y="333938"/>
                </a:lnTo>
                <a:lnTo>
                  <a:pt x="234411" y="327779"/>
                </a:lnTo>
                <a:lnTo>
                  <a:pt x="245952" y="320585"/>
                </a:lnTo>
                <a:lnTo>
                  <a:pt x="256863" y="312411"/>
                </a:lnTo>
                <a:lnTo>
                  <a:pt x="267094" y="303312"/>
                </a:lnTo>
                <a:lnTo>
                  <a:pt x="276593" y="293345"/>
                </a:lnTo>
                <a:lnTo>
                  <a:pt x="285310" y="282564"/>
                </a:lnTo>
                <a:lnTo>
                  <a:pt x="293193" y="271025"/>
                </a:lnTo>
                <a:lnTo>
                  <a:pt x="300192" y="258783"/>
                </a:lnTo>
                <a:lnTo>
                  <a:pt x="306254" y="245894"/>
                </a:lnTo>
                <a:lnTo>
                  <a:pt x="311328" y="232413"/>
                </a:lnTo>
                <a:lnTo>
                  <a:pt x="315364" y="218396"/>
                </a:lnTo>
                <a:lnTo>
                  <a:pt x="318311" y="203898"/>
                </a:lnTo>
                <a:lnTo>
                  <a:pt x="320116" y="188974"/>
                </a:lnTo>
                <a:lnTo>
                  <a:pt x="320729" y="173681"/>
                </a:lnTo>
                <a:lnTo>
                  <a:pt x="320497" y="164255"/>
                </a:lnTo>
                <a:lnTo>
                  <a:pt x="319146" y="149182"/>
                </a:lnTo>
                <a:lnTo>
                  <a:pt x="316635" y="134513"/>
                </a:lnTo>
                <a:lnTo>
                  <a:pt x="313013" y="120304"/>
                </a:lnTo>
                <a:lnTo>
                  <a:pt x="308334" y="106609"/>
                </a:lnTo>
                <a:lnTo>
                  <a:pt x="302647" y="93485"/>
                </a:lnTo>
                <a:lnTo>
                  <a:pt x="296005" y="80986"/>
                </a:lnTo>
                <a:lnTo>
                  <a:pt x="288457" y="69169"/>
                </a:lnTo>
                <a:lnTo>
                  <a:pt x="280056" y="58089"/>
                </a:lnTo>
                <a:lnTo>
                  <a:pt x="270853" y="47800"/>
                </a:lnTo>
                <a:lnTo>
                  <a:pt x="260899" y="38359"/>
                </a:lnTo>
                <a:lnTo>
                  <a:pt x="250244" y="29822"/>
                </a:lnTo>
                <a:lnTo>
                  <a:pt x="238941" y="22242"/>
                </a:lnTo>
                <a:lnTo>
                  <a:pt x="227040" y="15677"/>
                </a:lnTo>
                <a:lnTo>
                  <a:pt x="214593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1" y="251"/>
                </a:lnTo>
                <a:lnTo>
                  <a:pt x="137744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5" y="13424"/>
                </a:lnTo>
                <a:lnTo>
                  <a:pt x="86317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50"/>
                </a:lnTo>
                <a:lnTo>
                  <a:pt x="44135" y="54017"/>
                </a:lnTo>
                <a:lnTo>
                  <a:pt x="35418" y="64798"/>
                </a:lnTo>
                <a:lnTo>
                  <a:pt x="27535" y="76338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9"/>
                </a:lnTo>
                <a:lnTo>
                  <a:pt x="5364" y="128966"/>
                </a:lnTo>
                <a:lnTo>
                  <a:pt x="2418" y="143464"/>
                </a:lnTo>
                <a:lnTo>
                  <a:pt x="613" y="158388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7" name="object 46"/>
          <p:cNvSpPr/>
          <p:nvPr/>
        </p:nvSpPr>
        <p:spPr>
          <a:xfrm>
            <a:off x="4647693" y="544272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8" name="object 48"/>
          <p:cNvSpPr/>
          <p:nvPr/>
        </p:nvSpPr>
        <p:spPr>
          <a:xfrm>
            <a:off x="3496571" y="536358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9" name="object 52"/>
          <p:cNvSpPr/>
          <p:nvPr/>
        </p:nvSpPr>
        <p:spPr>
          <a:xfrm>
            <a:off x="5359085" y="513982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0" name="object 54"/>
          <p:cNvSpPr/>
          <p:nvPr/>
        </p:nvSpPr>
        <p:spPr>
          <a:xfrm>
            <a:off x="7171053" y="532865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7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8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50" y="291973"/>
                </a:lnTo>
                <a:lnTo>
                  <a:pt x="302221" y="281377"/>
                </a:lnTo>
                <a:lnTo>
                  <a:pt x="310252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1" name="object 58"/>
          <p:cNvSpPr/>
          <p:nvPr/>
        </p:nvSpPr>
        <p:spPr>
          <a:xfrm>
            <a:off x="5560113" y="467416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2" name="object 62"/>
          <p:cNvSpPr/>
          <p:nvPr/>
        </p:nvSpPr>
        <p:spPr>
          <a:xfrm>
            <a:off x="5581873" y="533215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3" name="object 66"/>
          <p:cNvSpPr/>
          <p:nvPr/>
        </p:nvSpPr>
        <p:spPr>
          <a:xfrm>
            <a:off x="3970743" y="509536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4" name="object 69"/>
          <p:cNvSpPr/>
          <p:nvPr/>
        </p:nvSpPr>
        <p:spPr>
          <a:xfrm>
            <a:off x="4006234" y="571095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7"/>
                </a:lnTo>
                <a:lnTo>
                  <a:pt x="1583" y="198180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7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3"/>
                </a:lnTo>
                <a:lnTo>
                  <a:pt x="49876" y="299561"/>
                </a:lnTo>
                <a:lnTo>
                  <a:pt x="59830" y="309002"/>
                </a:lnTo>
                <a:lnTo>
                  <a:pt x="70485" y="317539"/>
                </a:lnTo>
                <a:lnTo>
                  <a:pt x="81788" y="325119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7"/>
                </a:lnTo>
                <a:lnTo>
                  <a:pt x="196530" y="342927"/>
                </a:lnTo>
                <a:lnTo>
                  <a:pt x="209650" y="339005"/>
                </a:lnTo>
                <a:lnTo>
                  <a:pt x="222295" y="333937"/>
                </a:lnTo>
                <a:lnTo>
                  <a:pt x="234413" y="327778"/>
                </a:lnTo>
                <a:lnTo>
                  <a:pt x="245953" y="320584"/>
                </a:lnTo>
                <a:lnTo>
                  <a:pt x="256864" y="312410"/>
                </a:lnTo>
                <a:lnTo>
                  <a:pt x="267095" y="303311"/>
                </a:lnTo>
                <a:lnTo>
                  <a:pt x="276595" y="293344"/>
                </a:lnTo>
                <a:lnTo>
                  <a:pt x="285311" y="282563"/>
                </a:lnTo>
                <a:lnTo>
                  <a:pt x="293195" y="271024"/>
                </a:lnTo>
                <a:lnTo>
                  <a:pt x="300193" y="258782"/>
                </a:lnTo>
                <a:lnTo>
                  <a:pt x="306255" y="245893"/>
                </a:lnTo>
                <a:lnTo>
                  <a:pt x="311330" y="232412"/>
                </a:lnTo>
                <a:lnTo>
                  <a:pt x="315366" y="218395"/>
                </a:lnTo>
                <a:lnTo>
                  <a:pt x="318312" y="203897"/>
                </a:lnTo>
                <a:lnTo>
                  <a:pt x="320117" y="188974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8" y="93484"/>
                </a:lnTo>
                <a:lnTo>
                  <a:pt x="296006" y="80986"/>
                </a:lnTo>
                <a:lnTo>
                  <a:pt x="288458" y="69169"/>
                </a:lnTo>
                <a:lnTo>
                  <a:pt x="280057" y="58088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1" y="251"/>
                </a:lnTo>
                <a:lnTo>
                  <a:pt x="137744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5" y="13424"/>
                </a:lnTo>
                <a:lnTo>
                  <a:pt x="86317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50"/>
                </a:lnTo>
                <a:lnTo>
                  <a:pt x="44135" y="54017"/>
                </a:lnTo>
                <a:lnTo>
                  <a:pt x="35418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9"/>
                </a:lnTo>
                <a:lnTo>
                  <a:pt x="5364" y="128966"/>
                </a:lnTo>
                <a:lnTo>
                  <a:pt x="2418" y="143464"/>
                </a:lnTo>
                <a:lnTo>
                  <a:pt x="613" y="15838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5" name="object 71"/>
          <p:cNvSpPr/>
          <p:nvPr/>
        </p:nvSpPr>
        <p:spPr>
          <a:xfrm>
            <a:off x="6361937" y="51978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232" y="183106"/>
                </a:lnTo>
                <a:lnTo>
                  <a:pt x="1582" y="198179"/>
                </a:lnTo>
                <a:lnTo>
                  <a:pt x="4094" y="212848"/>
                </a:lnTo>
                <a:lnTo>
                  <a:pt x="7715" y="227057"/>
                </a:lnTo>
                <a:lnTo>
                  <a:pt x="12395" y="240752"/>
                </a:lnTo>
                <a:lnTo>
                  <a:pt x="18081" y="253876"/>
                </a:lnTo>
                <a:lnTo>
                  <a:pt x="24724" y="266374"/>
                </a:lnTo>
                <a:lnTo>
                  <a:pt x="32271" y="278192"/>
                </a:lnTo>
                <a:lnTo>
                  <a:pt x="40672" y="289272"/>
                </a:lnTo>
                <a:lnTo>
                  <a:pt x="49876" y="299560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8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7" y="347110"/>
                </a:lnTo>
                <a:lnTo>
                  <a:pt x="182984" y="345647"/>
                </a:lnTo>
                <a:lnTo>
                  <a:pt x="196529" y="342927"/>
                </a:lnTo>
                <a:lnTo>
                  <a:pt x="209649" y="339005"/>
                </a:lnTo>
                <a:lnTo>
                  <a:pt x="222293" y="333937"/>
                </a:lnTo>
                <a:lnTo>
                  <a:pt x="234411" y="327778"/>
                </a:lnTo>
                <a:lnTo>
                  <a:pt x="245952" y="320584"/>
                </a:lnTo>
                <a:lnTo>
                  <a:pt x="256863" y="312410"/>
                </a:lnTo>
                <a:lnTo>
                  <a:pt x="267094" y="303312"/>
                </a:lnTo>
                <a:lnTo>
                  <a:pt x="276593" y="293344"/>
                </a:lnTo>
                <a:lnTo>
                  <a:pt x="285310" y="282563"/>
                </a:lnTo>
                <a:lnTo>
                  <a:pt x="293193" y="271024"/>
                </a:lnTo>
                <a:lnTo>
                  <a:pt x="300192" y="258782"/>
                </a:lnTo>
                <a:lnTo>
                  <a:pt x="306254" y="245893"/>
                </a:lnTo>
                <a:lnTo>
                  <a:pt x="311328" y="232412"/>
                </a:lnTo>
                <a:lnTo>
                  <a:pt x="315364" y="218395"/>
                </a:lnTo>
                <a:lnTo>
                  <a:pt x="318311" y="203897"/>
                </a:lnTo>
                <a:lnTo>
                  <a:pt x="320116" y="188974"/>
                </a:lnTo>
                <a:lnTo>
                  <a:pt x="320729" y="173681"/>
                </a:lnTo>
                <a:lnTo>
                  <a:pt x="320497" y="164255"/>
                </a:lnTo>
                <a:lnTo>
                  <a:pt x="319146" y="149182"/>
                </a:lnTo>
                <a:lnTo>
                  <a:pt x="316635" y="134513"/>
                </a:lnTo>
                <a:lnTo>
                  <a:pt x="313014" y="120304"/>
                </a:lnTo>
                <a:lnTo>
                  <a:pt x="308334" y="106609"/>
                </a:lnTo>
                <a:lnTo>
                  <a:pt x="302648" y="93485"/>
                </a:lnTo>
                <a:lnTo>
                  <a:pt x="296005" y="80986"/>
                </a:lnTo>
                <a:lnTo>
                  <a:pt x="288458" y="69169"/>
                </a:lnTo>
                <a:lnTo>
                  <a:pt x="280057" y="58089"/>
                </a:lnTo>
                <a:lnTo>
                  <a:pt x="270854" y="47800"/>
                </a:lnTo>
                <a:lnTo>
                  <a:pt x="260899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1" y="251"/>
                </a:lnTo>
                <a:lnTo>
                  <a:pt x="137744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5" y="13424"/>
                </a:lnTo>
                <a:lnTo>
                  <a:pt x="86317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50"/>
                </a:lnTo>
                <a:lnTo>
                  <a:pt x="44135" y="54017"/>
                </a:lnTo>
                <a:lnTo>
                  <a:pt x="35418" y="64798"/>
                </a:lnTo>
                <a:lnTo>
                  <a:pt x="27535" y="76338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9"/>
                </a:lnTo>
                <a:lnTo>
                  <a:pt x="5364" y="128966"/>
                </a:lnTo>
                <a:lnTo>
                  <a:pt x="2418" y="143464"/>
                </a:lnTo>
                <a:lnTo>
                  <a:pt x="613" y="158388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6" name="object 18"/>
          <p:cNvSpPr/>
          <p:nvPr/>
        </p:nvSpPr>
        <p:spPr>
          <a:xfrm>
            <a:off x="6302027" y="479246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7" name="object 20"/>
          <p:cNvSpPr/>
          <p:nvPr/>
        </p:nvSpPr>
        <p:spPr>
          <a:xfrm>
            <a:off x="6201572" y="460305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8" name="object 16"/>
          <p:cNvSpPr/>
          <p:nvPr/>
        </p:nvSpPr>
        <p:spPr>
          <a:xfrm>
            <a:off x="7727248" y="422411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1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5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9" name="object 12"/>
          <p:cNvSpPr/>
          <p:nvPr/>
        </p:nvSpPr>
        <p:spPr>
          <a:xfrm>
            <a:off x="6622759" y="390832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5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0" name="object 14"/>
          <p:cNvSpPr/>
          <p:nvPr/>
        </p:nvSpPr>
        <p:spPr>
          <a:xfrm>
            <a:off x="6711636" y="42556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1" name="object 10"/>
          <p:cNvSpPr/>
          <p:nvPr/>
        </p:nvSpPr>
        <p:spPr>
          <a:xfrm>
            <a:off x="7841227" y="536358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2" name="object 7"/>
          <p:cNvSpPr/>
          <p:nvPr/>
        </p:nvSpPr>
        <p:spPr>
          <a:xfrm>
            <a:off x="7192732" y="373938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232" y="183106"/>
                </a:lnTo>
                <a:lnTo>
                  <a:pt x="1582" y="198179"/>
                </a:lnTo>
                <a:lnTo>
                  <a:pt x="4094" y="212848"/>
                </a:lnTo>
                <a:lnTo>
                  <a:pt x="7715" y="227057"/>
                </a:lnTo>
                <a:lnTo>
                  <a:pt x="12395" y="240752"/>
                </a:lnTo>
                <a:lnTo>
                  <a:pt x="18081" y="253876"/>
                </a:lnTo>
                <a:lnTo>
                  <a:pt x="24724" y="266374"/>
                </a:lnTo>
                <a:lnTo>
                  <a:pt x="32271" y="278192"/>
                </a:lnTo>
                <a:lnTo>
                  <a:pt x="40672" y="289272"/>
                </a:lnTo>
                <a:lnTo>
                  <a:pt x="49876" y="299560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8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8" y="347110"/>
                </a:lnTo>
                <a:lnTo>
                  <a:pt x="182985" y="345647"/>
                </a:lnTo>
                <a:lnTo>
                  <a:pt x="196530" y="342927"/>
                </a:lnTo>
                <a:lnTo>
                  <a:pt x="209650" y="339005"/>
                </a:lnTo>
                <a:lnTo>
                  <a:pt x="222294" y="333937"/>
                </a:lnTo>
                <a:lnTo>
                  <a:pt x="234412" y="327778"/>
                </a:lnTo>
                <a:lnTo>
                  <a:pt x="245952" y="320584"/>
                </a:lnTo>
                <a:lnTo>
                  <a:pt x="256864" y="312410"/>
                </a:lnTo>
                <a:lnTo>
                  <a:pt x="267095" y="303311"/>
                </a:lnTo>
                <a:lnTo>
                  <a:pt x="276594" y="293344"/>
                </a:lnTo>
                <a:lnTo>
                  <a:pt x="285311" y="282563"/>
                </a:lnTo>
                <a:lnTo>
                  <a:pt x="293195" y="271024"/>
                </a:lnTo>
                <a:lnTo>
                  <a:pt x="300193" y="258782"/>
                </a:lnTo>
                <a:lnTo>
                  <a:pt x="306255" y="245893"/>
                </a:lnTo>
                <a:lnTo>
                  <a:pt x="311330" y="232412"/>
                </a:lnTo>
                <a:lnTo>
                  <a:pt x="315366" y="218395"/>
                </a:lnTo>
                <a:lnTo>
                  <a:pt x="318312" y="203897"/>
                </a:lnTo>
                <a:lnTo>
                  <a:pt x="320117" y="188974"/>
                </a:lnTo>
                <a:lnTo>
                  <a:pt x="320730" y="173681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4" y="120303"/>
                </a:lnTo>
                <a:lnTo>
                  <a:pt x="308335" y="106608"/>
                </a:lnTo>
                <a:lnTo>
                  <a:pt x="302648" y="93484"/>
                </a:lnTo>
                <a:lnTo>
                  <a:pt x="296006" y="80986"/>
                </a:lnTo>
                <a:lnTo>
                  <a:pt x="288458" y="69169"/>
                </a:lnTo>
                <a:lnTo>
                  <a:pt x="280057" y="58088"/>
                </a:lnTo>
                <a:lnTo>
                  <a:pt x="270854" y="47800"/>
                </a:lnTo>
                <a:lnTo>
                  <a:pt x="260899" y="38359"/>
                </a:lnTo>
                <a:lnTo>
                  <a:pt x="250245" y="29821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1" y="251"/>
                </a:lnTo>
                <a:lnTo>
                  <a:pt x="137744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5" y="13424"/>
                </a:lnTo>
                <a:lnTo>
                  <a:pt x="86317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50"/>
                </a:lnTo>
                <a:lnTo>
                  <a:pt x="44135" y="54017"/>
                </a:lnTo>
                <a:lnTo>
                  <a:pt x="35418" y="64798"/>
                </a:lnTo>
                <a:lnTo>
                  <a:pt x="27535" y="76338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9"/>
                </a:lnTo>
                <a:lnTo>
                  <a:pt x="5364" y="128966"/>
                </a:lnTo>
                <a:lnTo>
                  <a:pt x="2418" y="143464"/>
                </a:lnTo>
                <a:lnTo>
                  <a:pt x="613" y="158388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3" name="object 6"/>
          <p:cNvSpPr/>
          <p:nvPr/>
        </p:nvSpPr>
        <p:spPr>
          <a:xfrm>
            <a:off x="7224802" y="467416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4" name="object 3"/>
          <p:cNvSpPr/>
          <p:nvPr/>
        </p:nvSpPr>
        <p:spPr>
          <a:xfrm>
            <a:off x="6201572" y="356570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232" y="183105"/>
                </a:lnTo>
                <a:lnTo>
                  <a:pt x="1582" y="198178"/>
                </a:lnTo>
                <a:lnTo>
                  <a:pt x="4094" y="212847"/>
                </a:lnTo>
                <a:lnTo>
                  <a:pt x="7715" y="227057"/>
                </a:lnTo>
                <a:lnTo>
                  <a:pt x="12394" y="240751"/>
                </a:lnTo>
                <a:lnTo>
                  <a:pt x="18081" y="253875"/>
                </a:lnTo>
                <a:lnTo>
                  <a:pt x="24723" y="266374"/>
                </a:lnTo>
                <a:lnTo>
                  <a:pt x="32271" y="278191"/>
                </a:lnTo>
                <a:lnTo>
                  <a:pt x="40671" y="289272"/>
                </a:lnTo>
                <a:lnTo>
                  <a:pt x="49875" y="299560"/>
                </a:lnTo>
                <a:lnTo>
                  <a:pt x="59829" y="309001"/>
                </a:lnTo>
                <a:lnTo>
                  <a:pt x="70483" y="317539"/>
                </a:lnTo>
                <a:lnTo>
                  <a:pt x="81787" y="325118"/>
                </a:lnTo>
                <a:lnTo>
                  <a:pt x="93687" y="331683"/>
                </a:lnTo>
                <a:lnTo>
                  <a:pt x="106135" y="337180"/>
                </a:lnTo>
                <a:lnTo>
                  <a:pt x="119077" y="341551"/>
                </a:lnTo>
                <a:lnTo>
                  <a:pt x="132464" y="344742"/>
                </a:lnTo>
                <a:lnTo>
                  <a:pt x="146243" y="346697"/>
                </a:lnTo>
                <a:lnTo>
                  <a:pt x="160364" y="347361"/>
                </a:lnTo>
                <a:lnTo>
                  <a:pt x="169067" y="347110"/>
                </a:lnTo>
                <a:lnTo>
                  <a:pt x="182984" y="345647"/>
                </a:lnTo>
                <a:lnTo>
                  <a:pt x="196528" y="342927"/>
                </a:lnTo>
                <a:lnTo>
                  <a:pt x="209648" y="339005"/>
                </a:lnTo>
                <a:lnTo>
                  <a:pt x="222293" y="333937"/>
                </a:lnTo>
                <a:lnTo>
                  <a:pt x="234411" y="327778"/>
                </a:lnTo>
                <a:lnTo>
                  <a:pt x="245951" y="320584"/>
                </a:lnTo>
                <a:lnTo>
                  <a:pt x="256862" y="312410"/>
                </a:lnTo>
                <a:lnTo>
                  <a:pt x="267093" y="303311"/>
                </a:lnTo>
                <a:lnTo>
                  <a:pt x="276593" y="293344"/>
                </a:lnTo>
                <a:lnTo>
                  <a:pt x="285310" y="282563"/>
                </a:lnTo>
                <a:lnTo>
                  <a:pt x="293193" y="271024"/>
                </a:lnTo>
                <a:lnTo>
                  <a:pt x="300192" y="258782"/>
                </a:lnTo>
                <a:lnTo>
                  <a:pt x="306254" y="245893"/>
                </a:lnTo>
                <a:lnTo>
                  <a:pt x="311328" y="232412"/>
                </a:lnTo>
                <a:lnTo>
                  <a:pt x="315364" y="218395"/>
                </a:lnTo>
                <a:lnTo>
                  <a:pt x="318311" y="203897"/>
                </a:lnTo>
                <a:lnTo>
                  <a:pt x="320116" y="188974"/>
                </a:lnTo>
                <a:lnTo>
                  <a:pt x="320729" y="173681"/>
                </a:lnTo>
                <a:lnTo>
                  <a:pt x="320497" y="164254"/>
                </a:lnTo>
                <a:lnTo>
                  <a:pt x="319146" y="149181"/>
                </a:lnTo>
                <a:lnTo>
                  <a:pt x="316634" y="134512"/>
                </a:lnTo>
                <a:lnTo>
                  <a:pt x="313013" y="120303"/>
                </a:lnTo>
                <a:lnTo>
                  <a:pt x="308334" y="106608"/>
                </a:lnTo>
                <a:lnTo>
                  <a:pt x="302647" y="93484"/>
                </a:lnTo>
                <a:lnTo>
                  <a:pt x="296004" y="80986"/>
                </a:lnTo>
                <a:lnTo>
                  <a:pt x="288457" y="69169"/>
                </a:lnTo>
                <a:lnTo>
                  <a:pt x="280056" y="58088"/>
                </a:lnTo>
                <a:lnTo>
                  <a:pt x="270853" y="47800"/>
                </a:lnTo>
                <a:lnTo>
                  <a:pt x="260898" y="38359"/>
                </a:lnTo>
                <a:lnTo>
                  <a:pt x="250244" y="29821"/>
                </a:lnTo>
                <a:lnTo>
                  <a:pt x="238940" y="22242"/>
                </a:lnTo>
                <a:lnTo>
                  <a:pt x="227040" y="15677"/>
                </a:lnTo>
                <a:lnTo>
                  <a:pt x="214592" y="10181"/>
                </a:lnTo>
                <a:lnTo>
                  <a:pt x="201650" y="5810"/>
                </a:lnTo>
                <a:lnTo>
                  <a:pt x="188264" y="2619"/>
                </a:lnTo>
                <a:lnTo>
                  <a:pt x="174484" y="664"/>
                </a:lnTo>
                <a:lnTo>
                  <a:pt x="160364" y="0"/>
                </a:lnTo>
                <a:lnTo>
                  <a:pt x="151661" y="251"/>
                </a:lnTo>
                <a:lnTo>
                  <a:pt x="137743" y="1714"/>
                </a:lnTo>
                <a:lnTo>
                  <a:pt x="124199" y="4434"/>
                </a:lnTo>
                <a:lnTo>
                  <a:pt x="111079" y="8356"/>
                </a:lnTo>
                <a:lnTo>
                  <a:pt x="98435" y="13424"/>
                </a:lnTo>
                <a:lnTo>
                  <a:pt x="86317" y="19583"/>
                </a:lnTo>
                <a:lnTo>
                  <a:pt x="74777" y="26777"/>
                </a:lnTo>
                <a:lnTo>
                  <a:pt x="63865" y="34951"/>
                </a:lnTo>
                <a:lnTo>
                  <a:pt x="53634" y="44049"/>
                </a:lnTo>
                <a:lnTo>
                  <a:pt x="44135" y="54017"/>
                </a:lnTo>
                <a:lnTo>
                  <a:pt x="35418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9"/>
                </a:lnTo>
                <a:lnTo>
                  <a:pt x="5364" y="128966"/>
                </a:lnTo>
                <a:lnTo>
                  <a:pt x="2418" y="143464"/>
                </a:lnTo>
                <a:lnTo>
                  <a:pt x="613" y="15838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5" name="object 5"/>
          <p:cNvSpPr txBox="1"/>
          <p:nvPr/>
        </p:nvSpPr>
        <p:spPr>
          <a:xfrm>
            <a:off x="2101916" y="369650"/>
            <a:ext cx="6889684" cy="1166986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 marR="41909">
              <a:lnSpc>
                <a:spcPts val="3454"/>
              </a:lnSpc>
              <a:spcBef>
                <a:spcPts val="172"/>
              </a:spcBef>
            </a:pPr>
            <a:r>
              <a:rPr lang="en-US" sz="4800" baseline="2560" dirty="0" smtClean="0">
                <a:solidFill>
                  <a:srgbClr val="4E81BC"/>
                </a:solidFill>
                <a:latin typeface="+mj-lt"/>
                <a:cs typeface="Calibri"/>
              </a:rPr>
              <a:t>Spectral Clustering</a:t>
            </a:r>
            <a:endParaRPr sz="3200" dirty="0">
              <a:latin typeface="+mj-lt"/>
              <a:cs typeface="Calibri"/>
            </a:endParaRPr>
          </a:p>
          <a:p>
            <a:pPr marL="12700">
              <a:lnSpc>
                <a:spcPts val="2770"/>
              </a:lnSpc>
            </a:pPr>
            <a:r>
              <a:rPr lang="en-US" sz="3200" baseline="1137" dirty="0" smtClean="0">
                <a:solidFill>
                  <a:srgbClr val="7F7E7E"/>
                </a:solidFill>
                <a:cs typeface="Calibri"/>
              </a:rPr>
              <a:t>Transform the space into fewer dimensions by taking eigenvectors of the distances matrix</a:t>
            </a:r>
            <a:endParaRPr lang="en-US" sz="3200" baseline="1137" dirty="0">
              <a:solidFill>
                <a:srgbClr val="7F7E7E"/>
              </a:solidFill>
              <a:cs typeface="Calibri"/>
            </a:endParaRPr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0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3" name="Straight Arrow Connector 72"/>
          <p:cNvCxnSpPr/>
          <p:nvPr/>
        </p:nvCxnSpPr>
        <p:spPr>
          <a:xfrm flipV="1">
            <a:off x="2398534" y="5021529"/>
            <a:ext cx="4772160" cy="911679"/>
          </a:xfrm>
          <a:prstGeom prst="straightConnector1">
            <a:avLst/>
          </a:prstGeom>
          <a:ln w="25399">
            <a:solidFill>
              <a:srgbClr val="6094C9"/>
            </a:solidFill>
            <a:headEnd type="none"/>
            <a:tailEnd type="arrow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cxnSp>
      <p:sp>
        <p:nvSpPr>
          <p:cNvPr id="74" name="object 70"/>
          <p:cNvSpPr/>
          <p:nvPr/>
        </p:nvSpPr>
        <p:spPr>
          <a:xfrm>
            <a:off x="2383438" y="5943600"/>
            <a:ext cx="6303362" cy="0"/>
          </a:xfrm>
          <a:custGeom>
            <a:avLst/>
            <a:gdLst/>
            <a:ahLst/>
            <a:cxnLst/>
            <a:rect l="l" t="t" r="r" b="b"/>
            <a:pathLst>
              <a:path w="6303362">
                <a:moveTo>
                  <a:pt x="0" y="0"/>
                </a:moveTo>
                <a:lnTo>
                  <a:pt x="6303362" y="0"/>
                </a:lnTo>
              </a:path>
            </a:pathLst>
          </a:custGeom>
          <a:ln w="25399">
            <a:solidFill>
              <a:srgbClr val="6094C9"/>
            </a:solidFill>
            <a:headEnd type="none"/>
            <a:tailEnd type="arrow"/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0" name="object 44"/>
          <p:cNvSpPr/>
          <p:nvPr/>
        </p:nvSpPr>
        <p:spPr>
          <a:xfrm>
            <a:off x="5239383" y="5790092"/>
            <a:ext cx="347472" cy="347361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1" name="object 14"/>
          <p:cNvSpPr/>
          <p:nvPr/>
        </p:nvSpPr>
        <p:spPr>
          <a:xfrm>
            <a:off x="5169750" y="597950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2" name="object 20"/>
          <p:cNvSpPr/>
          <p:nvPr/>
        </p:nvSpPr>
        <p:spPr>
          <a:xfrm>
            <a:off x="4353225" y="561356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3" name="object 26"/>
          <p:cNvSpPr/>
          <p:nvPr/>
        </p:nvSpPr>
        <p:spPr>
          <a:xfrm>
            <a:off x="7698278" y="56292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4" name="object 28"/>
          <p:cNvSpPr/>
          <p:nvPr/>
        </p:nvSpPr>
        <p:spPr>
          <a:xfrm>
            <a:off x="6593786" y="531350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5" name="object 32"/>
          <p:cNvSpPr/>
          <p:nvPr/>
        </p:nvSpPr>
        <p:spPr>
          <a:xfrm>
            <a:off x="4724741" y="597665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6" name="object 38"/>
          <p:cNvSpPr/>
          <p:nvPr/>
        </p:nvSpPr>
        <p:spPr>
          <a:xfrm>
            <a:off x="3578489" y="602396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7" name="object 40"/>
          <p:cNvSpPr/>
          <p:nvPr/>
        </p:nvSpPr>
        <p:spPr>
          <a:xfrm>
            <a:off x="6273057" y="619764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4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8" name="object 42"/>
          <p:cNvSpPr/>
          <p:nvPr/>
        </p:nvSpPr>
        <p:spPr>
          <a:xfrm>
            <a:off x="6172602" y="60082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9" name="object 46"/>
          <p:cNvSpPr/>
          <p:nvPr/>
        </p:nvSpPr>
        <p:spPr>
          <a:xfrm>
            <a:off x="7163764" y="514456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0" name="object 52"/>
          <p:cNvSpPr/>
          <p:nvPr/>
        </p:nvSpPr>
        <p:spPr>
          <a:xfrm>
            <a:off x="5531142" y="607934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1" name="object 54"/>
          <p:cNvSpPr/>
          <p:nvPr/>
        </p:nvSpPr>
        <p:spPr>
          <a:xfrm>
            <a:off x="7195832" y="607934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2" name="object 55"/>
          <p:cNvSpPr/>
          <p:nvPr/>
        </p:nvSpPr>
        <p:spPr>
          <a:xfrm>
            <a:off x="6172602" y="497088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1"/>
                </a:moveTo>
                <a:lnTo>
                  <a:pt x="232" y="183108"/>
                </a:lnTo>
                <a:lnTo>
                  <a:pt x="1583" y="198181"/>
                </a:lnTo>
                <a:lnTo>
                  <a:pt x="4094" y="212849"/>
                </a:lnTo>
                <a:lnTo>
                  <a:pt x="7715" y="227059"/>
                </a:lnTo>
                <a:lnTo>
                  <a:pt x="12395" y="240753"/>
                </a:lnTo>
                <a:lnTo>
                  <a:pt x="18082" y="253878"/>
                </a:lnTo>
                <a:lnTo>
                  <a:pt x="24724" y="266376"/>
                </a:lnTo>
                <a:lnTo>
                  <a:pt x="32272" y="278193"/>
                </a:lnTo>
                <a:lnTo>
                  <a:pt x="40673" y="289273"/>
                </a:lnTo>
                <a:lnTo>
                  <a:pt x="49876" y="299562"/>
                </a:lnTo>
                <a:lnTo>
                  <a:pt x="59830" y="309003"/>
                </a:lnTo>
                <a:lnTo>
                  <a:pt x="70485" y="317540"/>
                </a:lnTo>
                <a:lnTo>
                  <a:pt x="81788" y="325120"/>
                </a:lnTo>
                <a:lnTo>
                  <a:pt x="93689" y="331685"/>
                </a:lnTo>
                <a:lnTo>
                  <a:pt x="106136" y="337181"/>
                </a:lnTo>
                <a:lnTo>
                  <a:pt x="119079" y="341552"/>
                </a:lnTo>
                <a:lnTo>
                  <a:pt x="132465" y="344743"/>
                </a:lnTo>
                <a:lnTo>
                  <a:pt x="146244" y="346698"/>
                </a:lnTo>
                <a:lnTo>
                  <a:pt x="160365" y="347362"/>
                </a:lnTo>
                <a:lnTo>
                  <a:pt x="169069" y="347111"/>
                </a:lnTo>
                <a:lnTo>
                  <a:pt x="182986" y="345648"/>
                </a:lnTo>
                <a:lnTo>
                  <a:pt x="196530" y="342928"/>
                </a:lnTo>
                <a:lnTo>
                  <a:pt x="209650" y="339006"/>
                </a:lnTo>
                <a:lnTo>
                  <a:pt x="222295" y="333938"/>
                </a:lnTo>
                <a:lnTo>
                  <a:pt x="234413" y="327779"/>
                </a:lnTo>
                <a:lnTo>
                  <a:pt x="245953" y="320585"/>
                </a:lnTo>
                <a:lnTo>
                  <a:pt x="256864" y="312411"/>
                </a:lnTo>
                <a:lnTo>
                  <a:pt x="267095" y="303312"/>
                </a:lnTo>
                <a:lnTo>
                  <a:pt x="276595" y="293345"/>
                </a:lnTo>
                <a:lnTo>
                  <a:pt x="285312" y="282563"/>
                </a:lnTo>
                <a:lnTo>
                  <a:pt x="293195" y="271024"/>
                </a:lnTo>
                <a:lnTo>
                  <a:pt x="300193" y="258782"/>
                </a:lnTo>
                <a:lnTo>
                  <a:pt x="306255" y="245893"/>
                </a:lnTo>
                <a:lnTo>
                  <a:pt x="311330" y="232413"/>
                </a:lnTo>
                <a:lnTo>
                  <a:pt x="315366" y="218396"/>
                </a:lnTo>
                <a:lnTo>
                  <a:pt x="318312" y="203898"/>
                </a:lnTo>
                <a:lnTo>
                  <a:pt x="320117" y="188974"/>
                </a:lnTo>
                <a:lnTo>
                  <a:pt x="320730" y="173681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4" y="120303"/>
                </a:lnTo>
                <a:lnTo>
                  <a:pt x="308335" y="106608"/>
                </a:lnTo>
                <a:lnTo>
                  <a:pt x="302648" y="93484"/>
                </a:lnTo>
                <a:lnTo>
                  <a:pt x="296006" y="80986"/>
                </a:lnTo>
                <a:lnTo>
                  <a:pt x="288458" y="69169"/>
                </a:lnTo>
                <a:lnTo>
                  <a:pt x="280057" y="58088"/>
                </a:lnTo>
                <a:lnTo>
                  <a:pt x="270854" y="47800"/>
                </a:lnTo>
                <a:lnTo>
                  <a:pt x="260899" y="38359"/>
                </a:lnTo>
                <a:lnTo>
                  <a:pt x="250245" y="29821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1" y="251"/>
                </a:lnTo>
                <a:lnTo>
                  <a:pt x="137744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5" y="13424"/>
                </a:lnTo>
                <a:lnTo>
                  <a:pt x="86317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50"/>
                </a:lnTo>
                <a:lnTo>
                  <a:pt x="44135" y="54017"/>
                </a:lnTo>
                <a:lnTo>
                  <a:pt x="35418" y="64798"/>
                </a:lnTo>
                <a:lnTo>
                  <a:pt x="27535" y="76338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9"/>
                </a:lnTo>
                <a:lnTo>
                  <a:pt x="5364" y="128966"/>
                </a:lnTo>
                <a:lnTo>
                  <a:pt x="2418" y="143464"/>
                </a:lnTo>
                <a:lnTo>
                  <a:pt x="613" y="158388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3" name="object 64"/>
          <p:cNvSpPr/>
          <p:nvPr/>
        </p:nvSpPr>
        <p:spPr>
          <a:xfrm>
            <a:off x="3970743" y="509536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4" name="object 72"/>
          <p:cNvSpPr/>
          <p:nvPr/>
        </p:nvSpPr>
        <p:spPr>
          <a:xfrm>
            <a:off x="6682667" y="566086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6" name="object 69"/>
          <p:cNvSpPr/>
          <p:nvPr/>
        </p:nvSpPr>
        <p:spPr>
          <a:xfrm>
            <a:off x="3336206" y="548718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1"/>
                </a:moveTo>
                <a:lnTo>
                  <a:pt x="232" y="183107"/>
                </a:lnTo>
                <a:lnTo>
                  <a:pt x="1583" y="198180"/>
                </a:lnTo>
                <a:lnTo>
                  <a:pt x="4094" y="212849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7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3"/>
                </a:lnTo>
                <a:lnTo>
                  <a:pt x="49876" y="299561"/>
                </a:lnTo>
                <a:lnTo>
                  <a:pt x="59830" y="309002"/>
                </a:lnTo>
                <a:lnTo>
                  <a:pt x="70485" y="317539"/>
                </a:lnTo>
                <a:lnTo>
                  <a:pt x="81788" y="325119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2"/>
                </a:lnTo>
                <a:lnTo>
                  <a:pt x="169068" y="347110"/>
                </a:lnTo>
                <a:lnTo>
                  <a:pt x="182985" y="345647"/>
                </a:lnTo>
                <a:lnTo>
                  <a:pt x="196529" y="342927"/>
                </a:lnTo>
                <a:lnTo>
                  <a:pt x="209649" y="339005"/>
                </a:lnTo>
                <a:lnTo>
                  <a:pt x="222294" y="333937"/>
                </a:lnTo>
                <a:lnTo>
                  <a:pt x="234412" y="327778"/>
                </a:lnTo>
                <a:lnTo>
                  <a:pt x="245952" y="320584"/>
                </a:lnTo>
                <a:lnTo>
                  <a:pt x="256863" y="312410"/>
                </a:lnTo>
                <a:lnTo>
                  <a:pt x="267094" y="303312"/>
                </a:lnTo>
                <a:lnTo>
                  <a:pt x="276594" y="293344"/>
                </a:lnTo>
                <a:lnTo>
                  <a:pt x="285310" y="282563"/>
                </a:lnTo>
                <a:lnTo>
                  <a:pt x="293194" y="271024"/>
                </a:lnTo>
                <a:lnTo>
                  <a:pt x="300192" y="258782"/>
                </a:lnTo>
                <a:lnTo>
                  <a:pt x="306254" y="245893"/>
                </a:lnTo>
                <a:lnTo>
                  <a:pt x="311328" y="232412"/>
                </a:lnTo>
                <a:lnTo>
                  <a:pt x="315364" y="218395"/>
                </a:lnTo>
                <a:lnTo>
                  <a:pt x="318311" y="203897"/>
                </a:lnTo>
                <a:lnTo>
                  <a:pt x="320116" y="188974"/>
                </a:lnTo>
                <a:lnTo>
                  <a:pt x="320729" y="173681"/>
                </a:lnTo>
                <a:lnTo>
                  <a:pt x="320497" y="164255"/>
                </a:lnTo>
                <a:lnTo>
                  <a:pt x="319146" y="149182"/>
                </a:lnTo>
                <a:lnTo>
                  <a:pt x="316635" y="134513"/>
                </a:lnTo>
                <a:lnTo>
                  <a:pt x="313014" y="120304"/>
                </a:lnTo>
                <a:lnTo>
                  <a:pt x="308334" y="106609"/>
                </a:lnTo>
                <a:lnTo>
                  <a:pt x="302648" y="93485"/>
                </a:lnTo>
                <a:lnTo>
                  <a:pt x="296005" y="80986"/>
                </a:lnTo>
                <a:lnTo>
                  <a:pt x="288458" y="69169"/>
                </a:lnTo>
                <a:lnTo>
                  <a:pt x="280057" y="58089"/>
                </a:lnTo>
                <a:lnTo>
                  <a:pt x="270854" y="47800"/>
                </a:lnTo>
                <a:lnTo>
                  <a:pt x="260899" y="38360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1" y="251"/>
                </a:lnTo>
                <a:lnTo>
                  <a:pt x="137744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5" y="13424"/>
                </a:lnTo>
                <a:lnTo>
                  <a:pt x="86317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50"/>
                </a:lnTo>
                <a:lnTo>
                  <a:pt x="44135" y="54017"/>
                </a:lnTo>
                <a:lnTo>
                  <a:pt x="35418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9"/>
                </a:lnTo>
                <a:lnTo>
                  <a:pt x="5364" y="128966"/>
                </a:lnTo>
                <a:lnTo>
                  <a:pt x="2418" y="143464"/>
                </a:lnTo>
                <a:lnTo>
                  <a:pt x="613" y="15838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7" name="object 82"/>
          <p:cNvSpPr/>
          <p:nvPr/>
        </p:nvSpPr>
        <p:spPr>
          <a:xfrm>
            <a:off x="4414372" y="54871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8" name="object 84"/>
          <p:cNvSpPr/>
          <p:nvPr/>
        </p:nvSpPr>
        <p:spPr>
          <a:xfrm>
            <a:off x="5399747" y="55212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9" name="object 86"/>
          <p:cNvSpPr/>
          <p:nvPr/>
        </p:nvSpPr>
        <p:spPr>
          <a:xfrm>
            <a:off x="6251551" y="55023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0" name="object 63"/>
          <p:cNvSpPr/>
          <p:nvPr/>
        </p:nvSpPr>
        <p:spPr>
          <a:xfrm>
            <a:off x="5880842" y="502152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6"/>
                </a:lnTo>
                <a:lnTo>
                  <a:pt x="1583" y="198179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6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2"/>
                </a:lnTo>
                <a:lnTo>
                  <a:pt x="49876" y="299561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6"/>
                </a:lnTo>
                <a:lnTo>
                  <a:pt x="196530" y="342926"/>
                </a:lnTo>
                <a:lnTo>
                  <a:pt x="209650" y="339004"/>
                </a:lnTo>
                <a:lnTo>
                  <a:pt x="222295" y="333936"/>
                </a:lnTo>
                <a:lnTo>
                  <a:pt x="234413" y="327778"/>
                </a:lnTo>
                <a:lnTo>
                  <a:pt x="245953" y="320583"/>
                </a:lnTo>
                <a:lnTo>
                  <a:pt x="256864" y="312409"/>
                </a:lnTo>
                <a:lnTo>
                  <a:pt x="267095" y="303311"/>
                </a:lnTo>
                <a:lnTo>
                  <a:pt x="276595" y="293343"/>
                </a:lnTo>
                <a:lnTo>
                  <a:pt x="285312" y="282562"/>
                </a:lnTo>
                <a:lnTo>
                  <a:pt x="293195" y="271023"/>
                </a:lnTo>
                <a:lnTo>
                  <a:pt x="300193" y="258781"/>
                </a:lnTo>
                <a:lnTo>
                  <a:pt x="306255" y="245892"/>
                </a:lnTo>
                <a:lnTo>
                  <a:pt x="311330" y="232411"/>
                </a:lnTo>
                <a:lnTo>
                  <a:pt x="315366" y="218394"/>
                </a:lnTo>
                <a:lnTo>
                  <a:pt x="318312" y="203896"/>
                </a:lnTo>
                <a:lnTo>
                  <a:pt x="320117" y="188973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9" y="93485"/>
                </a:lnTo>
                <a:lnTo>
                  <a:pt x="296006" y="80986"/>
                </a:lnTo>
                <a:lnTo>
                  <a:pt x="288459" y="69169"/>
                </a:lnTo>
                <a:lnTo>
                  <a:pt x="280058" y="58089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4"/>
                </a:lnTo>
                <a:lnTo>
                  <a:pt x="86318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1" name="object 28"/>
          <p:cNvSpPr/>
          <p:nvPr/>
        </p:nvSpPr>
        <p:spPr>
          <a:xfrm>
            <a:off x="4877989" y="532865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2" name="object 28"/>
          <p:cNvSpPr/>
          <p:nvPr/>
        </p:nvSpPr>
        <p:spPr>
          <a:xfrm>
            <a:off x="2989197" y="566086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3" name="object 30"/>
          <p:cNvSpPr/>
          <p:nvPr/>
        </p:nvSpPr>
        <p:spPr>
          <a:xfrm>
            <a:off x="5853655" y="571095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4" name="object 34"/>
          <p:cNvSpPr/>
          <p:nvPr/>
        </p:nvSpPr>
        <p:spPr>
          <a:xfrm>
            <a:off x="6904072" y="55212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5" name="object 40"/>
          <p:cNvSpPr/>
          <p:nvPr/>
        </p:nvSpPr>
        <p:spPr>
          <a:xfrm>
            <a:off x="3849401" y="553726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6" name="object 46"/>
          <p:cNvSpPr/>
          <p:nvPr/>
        </p:nvSpPr>
        <p:spPr>
          <a:xfrm>
            <a:off x="4647693" y="544272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7" name="object 52"/>
          <p:cNvSpPr/>
          <p:nvPr/>
        </p:nvSpPr>
        <p:spPr>
          <a:xfrm>
            <a:off x="5359085" y="513982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8" name="object 54"/>
          <p:cNvSpPr/>
          <p:nvPr/>
        </p:nvSpPr>
        <p:spPr>
          <a:xfrm>
            <a:off x="7171053" y="532865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7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8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50" y="291973"/>
                </a:lnTo>
                <a:lnTo>
                  <a:pt x="302221" y="281377"/>
                </a:lnTo>
                <a:lnTo>
                  <a:pt x="310252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9" name="object 62"/>
          <p:cNvSpPr/>
          <p:nvPr/>
        </p:nvSpPr>
        <p:spPr>
          <a:xfrm>
            <a:off x="5581873" y="533215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0" name="object 69"/>
          <p:cNvSpPr/>
          <p:nvPr/>
        </p:nvSpPr>
        <p:spPr>
          <a:xfrm>
            <a:off x="4006234" y="571095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7"/>
                </a:lnTo>
                <a:lnTo>
                  <a:pt x="1583" y="198180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7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3"/>
                </a:lnTo>
                <a:lnTo>
                  <a:pt x="49876" y="299561"/>
                </a:lnTo>
                <a:lnTo>
                  <a:pt x="59830" y="309002"/>
                </a:lnTo>
                <a:lnTo>
                  <a:pt x="70485" y="317539"/>
                </a:lnTo>
                <a:lnTo>
                  <a:pt x="81788" y="325119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7"/>
                </a:lnTo>
                <a:lnTo>
                  <a:pt x="196530" y="342927"/>
                </a:lnTo>
                <a:lnTo>
                  <a:pt x="209650" y="339005"/>
                </a:lnTo>
                <a:lnTo>
                  <a:pt x="222295" y="333937"/>
                </a:lnTo>
                <a:lnTo>
                  <a:pt x="234413" y="327778"/>
                </a:lnTo>
                <a:lnTo>
                  <a:pt x="245953" y="320584"/>
                </a:lnTo>
                <a:lnTo>
                  <a:pt x="256864" y="312410"/>
                </a:lnTo>
                <a:lnTo>
                  <a:pt x="267095" y="303311"/>
                </a:lnTo>
                <a:lnTo>
                  <a:pt x="276595" y="293344"/>
                </a:lnTo>
                <a:lnTo>
                  <a:pt x="285311" y="282563"/>
                </a:lnTo>
                <a:lnTo>
                  <a:pt x="293195" y="271024"/>
                </a:lnTo>
                <a:lnTo>
                  <a:pt x="300193" y="258782"/>
                </a:lnTo>
                <a:lnTo>
                  <a:pt x="306255" y="245893"/>
                </a:lnTo>
                <a:lnTo>
                  <a:pt x="311330" y="232412"/>
                </a:lnTo>
                <a:lnTo>
                  <a:pt x="315366" y="218395"/>
                </a:lnTo>
                <a:lnTo>
                  <a:pt x="318312" y="203897"/>
                </a:lnTo>
                <a:lnTo>
                  <a:pt x="320117" y="188974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8" y="93484"/>
                </a:lnTo>
                <a:lnTo>
                  <a:pt x="296006" y="80986"/>
                </a:lnTo>
                <a:lnTo>
                  <a:pt x="288458" y="69169"/>
                </a:lnTo>
                <a:lnTo>
                  <a:pt x="280057" y="58088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1" y="251"/>
                </a:lnTo>
                <a:lnTo>
                  <a:pt x="137744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5" y="13424"/>
                </a:lnTo>
                <a:lnTo>
                  <a:pt x="86317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50"/>
                </a:lnTo>
                <a:lnTo>
                  <a:pt x="44135" y="54017"/>
                </a:lnTo>
                <a:lnTo>
                  <a:pt x="35418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9"/>
                </a:lnTo>
                <a:lnTo>
                  <a:pt x="5364" y="128966"/>
                </a:lnTo>
                <a:lnTo>
                  <a:pt x="2418" y="143464"/>
                </a:lnTo>
                <a:lnTo>
                  <a:pt x="613" y="15838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1" name="object 71"/>
          <p:cNvSpPr/>
          <p:nvPr/>
        </p:nvSpPr>
        <p:spPr>
          <a:xfrm>
            <a:off x="6361937" y="51978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232" y="183106"/>
                </a:lnTo>
                <a:lnTo>
                  <a:pt x="1582" y="198179"/>
                </a:lnTo>
                <a:lnTo>
                  <a:pt x="4094" y="212848"/>
                </a:lnTo>
                <a:lnTo>
                  <a:pt x="7715" y="227057"/>
                </a:lnTo>
                <a:lnTo>
                  <a:pt x="12395" y="240752"/>
                </a:lnTo>
                <a:lnTo>
                  <a:pt x="18081" y="253876"/>
                </a:lnTo>
                <a:lnTo>
                  <a:pt x="24724" y="266374"/>
                </a:lnTo>
                <a:lnTo>
                  <a:pt x="32271" y="278192"/>
                </a:lnTo>
                <a:lnTo>
                  <a:pt x="40672" y="289272"/>
                </a:lnTo>
                <a:lnTo>
                  <a:pt x="49876" y="299560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8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7" y="347110"/>
                </a:lnTo>
                <a:lnTo>
                  <a:pt x="182984" y="345647"/>
                </a:lnTo>
                <a:lnTo>
                  <a:pt x="196529" y="342927"/>
                </a:lnTo>
                <a:lnTo>
                  <a:pt x="209649" y="339005"/>
                </a:lnTo>
                <a:lnTo>
                  <a:pt x="222293" y="333937"/>
                </a:lnTo>
                <a:lnTo>
                  <a:pt x="234411" y="327778"/>
                </a:lnTo>
                <a:lnTo>
                  <a:pt x="245952" y="320584"/>
                </a:lnTo>
                <a:lnTo>
                  <a:pt x="256863" y="312410"/>
                </a:lnTo>
                <a:lnTo>
                  <a:pt x="267094" y="303312"/>
                </a:lnTo>
                <a:lnTo>
                  <a:pt x="276593" y="293344"/>
                </a:lnTo>
                <a:lnTo>
                  <a:pt x="285310" y="282563"/>
                </a:lnTo>
                <a:lnTo>
                  <a:pt x="293193" y="271024"/>
                </a:lnTo>
                <a:lnTo>
                  <a:pt x="300192" y="258782"/>
                </a:lnTo>
                <a:lnTo>
                  <a:pt x="306254" y="245893"/>
                </a:lnTo>
                <a:lnTo>
                  <a:pt x="311328" y="232412"/>
                </a:lnTo>
                <a:lnTo>
                  <a:pt x="315364" y="218395"/>
                </a:lnTo>
                <a:lnTo>
                  <a:pt x="318311" y="203897"/>
                </a:lnTo>
                <a:lnTo>
                  <a:pt x="320116" y="188974"/>
                </a:lnTo>
                <a:lnTo>
                  <a:pt x="320729" y="173681"/>
                </a:lnTo>
                <a:lnTo>
                  <a:pt x="320497" y="164255"/>
                </a:lnTo>
                <a:lnTo>
                  <a:pt x="319146" y="149182"/>
                </a:lnTo>
                <a:lnTo>
                  <a:pt x="316635" y="134513"/>
                </a:lnTo>
                <a:lnTo>
                  <a:pt x="313014" y="120304"/>
                </a:lnTo>
                <a:lnTo>
                  <a:pt x="308334" y="106609"/>
                </a:lnTo>
                <a:lnTo>
                  <a:pt x="302648" y="93485"/>
                </a:lnTo>
                <a:lnTo>
                  <a:pt x="296005" y="80986"/>
                </a:lnTo>
                <a:lnTo>
                  <a:pt x="288458" y="69169"/>
                </a:lnTo>
                <a:lnTo>
                  <a:pt x="280057" y="58089"/>
                </a:lnTo>
                <a:lnTo>
                  <a:pt x="270854" y="47800"/>
                </a:lnTo>
                <a:lnTo>
                  <a:pt x="260899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1" y="251"/>
                </a:lnTo>
                <a:lnTo>
                  <a:pt x="137744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5" y="13424"/>
                </a:lnTo>
                <a:lnTo>
                  <a:pt x="86317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50"/>
                </a:lnTo>
                <a:lnTo>
                  <a:pt x="44135" y="54017"/>
                </a:lnTo>
                <a:lnTo>
                  <a:pt x="35418" y="64798"/>
                </a:lnTo>
                <a:lnTo>
                  <a:pt x="27535" y="76338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9"/>
                </a:lnTo>
                <a:lnTo>
                  <a:pt x="5364" y="128966"/>
                </a:lnTo>
                <a:lnTo>
                  <a:pt x="2418" y="143464"/>
                </a:lnTo>
                <a:lnTo>
                  <a:pt x="613" y="158388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2" name="object 10"/>
          <p:cNvSpPr/>
          <p:nvPr/>
        </p:nvSpPr>
        <p:spPr>
          <a:xfrm>
            <a:off x="7841227" y="536358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3" name="object 5"/>
          <p:cNvSpPr txBox="1"/>
          <p:nvPr/>
        </p:nvSpPr>
        <p:spPr>
          <a:xfrm>
            <a:off x="2101916" y="369650"/>
            <a:ext cx="6889684" cy="1166986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 marR="41909">
              <a:lnSpc>
                <a:spcPts val="3454"/>
              </a:lnSpc>
              <a:spcBef>
                <a:spcPts val="172"/>
              </a:spcBef>
            </a:pPr>
            <a:r>
              <a:rPr lang="en-US" sz="4800" baseline="2560" dirty="0" smtClean="0">
                <a:solidFill>
                  <a:srgbClr val="4E81BC"/>
                </a:solidFill>
                <a:latin typeface="+mj-lt"/>
                <a:cs typeface="Calibri"/>
              </a:rPr>
              <a:t>Spectral Clustering</a:t>
            </a:r>
            <a:endParaRPr sz="3200" dirty="0">
              <a:latin typeface="+mj-lt"/>
              <a:cs typeface="Calibri"/>
            </a:endParaRPr>
          </a:p>
          <a:p>
            <a:pPr marL="12700">
              <a:lnSpc>
                <a:spcPts val="2770"/>
              </a:lnSpc>
            </a:pPr>
            <a:r>
              <a:rPr lang="en-US" sz="3200" baseline="1137" dirty="0" smtClean="0">
                <a:solidFill>
                  <a:srgbClr val="7F7E7E"/>
                </a:solidFill>
                <a:cs typeface="Calibri"/>
              </a:rPr>
              <a:t>Transform the space into fewer dimensions by taking eigenvectors of the distances matrix</a:t>
            </a:r>
            <a:endParaRPr lang="en-US" sz="3200" baseline="1137" dirty="0">
              <a:solidFill>
                <a:srgbClr val="7F7E7E"/>
              </a:solidFill>
              <a:cs typeface="Calibri"/>
            </a:endParaRPr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0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1" name="Object 80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8476411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3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9" name="object 5"/>
          <p:cNvSpPr txBox="1"/>
          <p:nvPr/>
        </p:nvSpPr>
        <p:spPr>
          <a:xfrm>
            <a:off x="2101916" y="369650"/>
            <a:ext cx="6889684" cy="1166986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 marR="41909">
              <a:lnSpc>
                <a:spcPts val="3454"/>
              </a:lnSpc>
              <a:spcBef>
                <a:spcPts val="172"/>
              </a:spcBef>
            </a:pPr>
            <a:r>
              <a:rPr lang="en-US" sz="4800" baseline="2560" dirty="0" smtClean="0">
                <a:solidFill>
                  <a:srgbClr val="4E81BC"/>
                </a:solidFill>
                <a:latin typeface="+mj-lt"/>
                <a:cs typeface="Calibri"/>
              </a:rPr>
              <a:t>Spectral Clustering</a:t>
            </a:r>
            <a:endParaRPr sz="3200" dirty="0">
              <a:latin typeface="+mj-lt"/>
              <a:cs typeface="Calibri"/>
            </a:endParaRPr>
          </a:p>
          <a:p>
            <a:pPr marL="12700">
              <a:lnSpc>
                <a:spcPts val="2770"/>
              </a:lnSpc>
            </a:pPr>
            <a:r>
              <a:rPr lang="en-US" sz="3200" baseline="1137" dirty="0" smtClean="0">
                <a:solidFill>
                  <a:srgbClr val="7F7E7E"/>
                </a:solidFill>
                <a:cs typeface="Calibri"/>
              </a:rPr>
              <a:t>Transform the space into fewer dimensions by taking eigenvectors of the distances matrix</a:t>
            </a:r>
            <a:endParaRPr lang="en-US" sz="3200" baseline="1137" dirty="0">
              <a:solidFill>
                <a:srgbClr val="7F7E7E"/>
              </a:solidFill>
              <a:cs typeface="Calibri"/>
            </a:endParaRPr>
          </a:p>
        </p:txBody>
      </p:sp>
      <p:sp>
        <p:nvSpPr>
          <p:cNvPr id="80" name="object 70"/>
          <p:cNvSpPr/>
          <p:nvPr/>
        </p:nvSpPr>
        <p:spPr>
          <a:xfrm>
            <a:off x="2383438" y="5943600"/>
            <a:ext cx="6303362" cy="0"/>
          </a:xfrm>
          <a:custGeom>
            <a:avLst/>
            <a:gdLst/>
            <a:ahLst/>
            <a:cxnLst/>
            <a:rect l="l" t="t" r="r" b="b"/>
            <a:pathLst>
              <a:path w="6303362">
                <a:moveTo>
                  <a:pt x="0" y="0"/>
                </a:moveTo>
                <a:lnTo>
                  <a:pt x="6303362" y="0"/>
                </a:lnTo>
              </a:path>
            </a:pathLst>
          </a:custGeom>
          <a:ln w="25399">
            <a:solidFill>
              <a:srgbClr val="6094C9"/>
            </a:solidFill>
            <a:headEnd type="none"/>
            <a:tailEnd type="arrow"/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6" name="object 16"/>
          <p:cNvSpPr/>
          <p:nvPr/>
        </p:nvSpPr>
        <p:spPr>
          <a:xfrm>
            <a:off x="2668469" y="583455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7" name="object 17"/>
          <p:cNvSpPr/>
          <p:nvPr/>
        </p:nvSpPr>
        <p:spPr>
          <a:xfrm>
            <a:off x="6273057" y="576957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232" y="183106"/>
                </a:lnTo>
                <a:lnTo>
                  <a:pt x="1582" y="198179"/>
                </a:lnTo>
                <a:lnTo>
                  <a:pt x="4094" y="212848"/>
                </a:lnTo>
                <a:lnTo>
                  <a:pt x="7715" y="227057"/>
                </a:lnTo>
                <a:lnTo>
                  <a:pt x="12394" y="240752"/>
                </a:lnTo>
                <a:lnTo>
                  <a:pt x="18081" y="253876"/>
                </a:lnTo>
                <a:lnTo>
                  <a:pt x="24723" y="266374"/>
                </a:lnTo>
                <a:lnTo>
                  <a:pt x="32271" y="278192"/>
                </a:lnTo>
                <a:lnTo>
                  <a:pt x="40672" y="289272"/>
                </a:lnTo>
                <a:lnTo>
                  <a:pt x="49875" y="299561"/>
                </a:lnTo>
                <a:lnTo>
                  <a:pt x="59829" y="309001"/>
                </a:lnTo>
                <a:lnTo>
                  <a:pt x="70484" y="317539"/>
                </a:lnTo>
                <a:lnTo>
                  <a:pt x="81787" y="325118"/>
                </a:lnTo>
                <a:lnTo>
                  <a:pt x="93688" y="331684"/>
                </a:lnTo>
                <a:lnTo>
                  <a:pt x="106135" y="337180"/>
                </a:lnTo>
                <a:lnTo>
                  <a:pt x="119077" y="341551"/>
                </a:lnTo>
                <a:lnTo>
                  <a:pt x="132464" y="344742"/>
                </a:lnTo>
                <a:lnTo>
                  <a:pt x="146243" y="346697"/>
                </a:lnTo>
                <a:lnTo>
                  <a:pt x="160364" y="347361"/>
                </a:lnTo>
                <a:lnTo>
                  <a:pt x="169067" y="347110"/>
                </a:lnTo>
                <a:lnTo>
                  <a:pt x="182985" y="345647"/>
                </a:lnTo>
                <a:lnTo>
                  <a:pt x="196529" y="342927"/>
                </a:lnTo>
                <a:lnTo>
                  <a:pt x="209649" y="339005"/>
                </a:lnTo>
                <a:lnTo>
                  <a:pt x="222293" y="333937"/>
                </a:lnTo>
                <a:lnTo>
                  <a:pt x="234411" y="327778"/>
                </a:lnTo>
                <a:lnTo>
                  <a:pt x="245951" y="320584"/>
                </a:lnTo>
                <a:lnTo>
                  <a:pt x="256863" y="312410"/>
                </a:lnTo>
                <a:lnTo>
                  <a:pt x="267094" y="303311"/>
                </a:lnTo>
                <a:lnTo>
                  <a:pt x="276593" y="293344"/>
                </a:lnTo>
                <a:lnTo>
                  <a:pt x="285310" y="282563"/>
                </a:lnTo>
                <a:lnTo>
                  <a:pt x="293193" y="271024"/>
                </a:lnTo>
                <a:lnTo>
                  <a:pt x="300192" y="258782"/>
                </a:lnTo>
                <a:lnTo>
                  <a:pt x="306254" y="245893"/>
                </a:lnTo>
                <a:lnTo>
                  <a:pt x="311328" y="232412"/>
                </a:lnTo>
                <a:lnTo>
                  <a:pt x="315364" y="218395"/>
                </a:lnTo>
                <a:lnTo>
                  <a:pt x="318311" y="203897"/>
                </a:lnTo>
                <a:lnTo>
                  <a:pt x="320116" y="188974"/>
                </a:lnTo>
                <a:lnTo>
                  <a:pt x="320729" y="173681"/>
                </a:lnTo>
                <a:lnTo>
                  <a:pt x="320497" y="164254"/>
                </a:lnTo>
                <a:lnTo>
                  <a:pt x="319146" y="149181"/>
                </a:lnTo>
                <a:lnTo>
                  <a:pt x="316634" y="134512"/>
                </a:lnTo>
                <a:lnTo>
                  <a:pt x="313013" y="120303"/>
                </a:lnTo>
                <a:lnTo>
                  <a:pt x="308334" y="106609"/>
                </a:lnTo>
                <a:lnTo>
                  <a:pt x="302647" y="93484"/>
                </a:lnTo>
                <a:lnTo>
                  <a:pt x="296004" y="80986"/>
                </a:lnTo>
                <a:lnTo>
                  <a:pt x="288457" y="69169"/>
                </a:lnTo>
                <a:lnTo>
                  <a:pt x="280056" y="58088"/>
                </a:lnTo>
                <a:lnTo>
                  <a:pt x="270853" y="47800"/>
                </a:lnTo>
                <a:lnTo>
                  <a:pt x="260898" y="38359"/>
                </a:lnTo>
                <a:lnTo>
                  <a:pt x="250244" y="29822"/>
                </a:lnTo>
                <a:lnTo>
                  <a:pt x="238941" y="22242"/>
                </a:lnTo>
                <a:lnTo>
                  <a:pt x="227040" y="15677"/>
                </a:lnTo>
                <a:lnTo>
                  <a:pt x="214592" y="10181"/>
                </a:lnTo>
                <a:lnTo>
                  <a:pt x="201650" y="5810"/>
                </a:lnTo>
                <a:lnTo>
                  <a:pt x="188264" y="2619"/>
                </a:lnTo>
                <a:lnTo>
                  <a:pt x="174484" y="664"/>
                </a:lnTo>
                <a:lnTo>
                  <a:pt x="160364" y="0"/>
                </a:lnTo>
                <a:lnTo>
                  <a:pt x="151661" y="251"/>
                </a:lnTo>
                <a:lnTo>
                  <a:pt x="137744" y="1714"/>
                </a:lnTo>
                <a:lnTo>
                  <a:pt x="124199" y="4434"/>
                </a:lnTo>
                <a:lnTo>
                  <a:pt x="111079" y="8356"/>
                </a:lnTo>
                <a:lnTo>
                  <a:pt x="98435" y="13424"/>
                </a:lnTo>
                <a:lnTo>
                  <a:pt x="86317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5" y="54017"/>
                </a:lnTo>
                <a:lnTo>
                  <a:pt x="35418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9"/>
                </a:lnTo>
                <a:lnTo>
                  <a:pt x="5364" y="128966"/>
                </a:lnTo>
                <a:lnTo>
                  <a:pt x="2418" y="143464"/>
                </a:lnTo>
                <a:lnTo>
                  <a:pt x="613" y="15838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8" name="object 18"/>
          <p:cNvSpPr/>
          <p:nvPr/>
        </p:nvSpPr>
        <p:spPr>
          <a:xfrm>
            <a:off x="6273057" y="576957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9" name="object 19"/>
          <p:cNvSpPr/>
          <p:nvPr/>
        </p:nvSpPr>
        <p:spPr>
          <a:xfrm>
            <a:off x="5853655" y="571095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232" y="183106"/>
                </a:lnTo>
                <a:lnTo>
                  <a:pt x="1582" y="198179"/>
                </a:lnTo>
                <a:lnTo>
                  <a:pt x="4094" y="212848"/>
                </a:lnTo>
                <a:lnTo>
                  <a:pt x="7715" y="227057"/>
                </a:lnTo>
                <a:lnTo>
                  <a:pt x="12394" y="240752"/>
                </a:lnTo>
                <a:lnTo>
                  <a:pt x="18081" y="253876"/>
                </a:lnTo>
                <a:lnTo>
                  <a:pt x="24723" y="266374"/>
                </a:lnTo>
                <a:lnTo>
                  <a:pt x="32271" y="278192"/>
                </a:lnTo>
                <a:lnTo>
                  <a:pt x="40672" y="289272"/>
                </a:lnTo>
                <a:lnTo>
                  <a:pt x="49875" y="299561"/>
                </a:lnTo>
                <a:lnTo>
                  <a:pt x="59829" y="309001"/>
                </a:lnTo>
                <a:lnTo>
                  <a:pt x="70484" y="317539"/>
                </a:lnTo>
                <a:lnTo>
                  <a:pt x="81787" y="325119"/>
                </a:lnTo>
                <a:lnTo>
                  <a:pt x="93688" y="331684"/>
                </a:lnTo>
                <a:lnTo>
                  <a:pt x="106135" y="337180"/>
                </a:lnTo>
                <a:lnTo>
                  <a:pt x="119077" y="341551"/>
                </a:lnTo>
                <a:lnTo>
                  <a:pt x="132464" y="344742"/>
                </a:lnTo>
                <a:lnTo>
                  <a:pt x="146243" y="346697"/>
                </a:lnTo>
                <a:lnTo>
                  <a:pt x="160364" y="347361"/>
                </a:lnTo>
                <a:lnTo>
                  <a:pt x="169067" y="347110"/>
                </a:lnTo>
                <a:lnTo>
                  <a:pt x="182985" y="345647"/>
                </a:lnTo>
                <a:lnTo>
                  <a:pt x="196529" y="342927"/>
                </a:lnTo>
                <a:lnTo>
                  <a:pt x="209649" y="339005"/>
                </a:lnTo>
                <a:lnTo>
                  <a:pt x="222293" y="333937"/>
                </a:lnTo>
                <a:lnTo>
                  <a:pt x="234411" y="327778"/>
                </a:lnTo>
                <a:lnTo>
                  <a:pt x="245952" y="320584"/>
                </a:lnTo>
                <a:lnTo>
                  <a:pt x="256863" y="312410"/>
                </a:lnTo>
                <a:lnTo>
                  <a:pt x="267094" y="303311"/>
                </a:lnTo>
                <a:lnTo>
                  <a:pt x="276593" y="293344"/>
                </a:lnTo>
                <a:lnTo>
                  <a:pt x="285310" y="282563"/>
                </a:lnTo>
                <a:lnTo>
                  <a:pt x="293193" y="271024"/>
                </a:lnTo>
                <a:lnTo>
                  <a:pt x="300192" y="258782"/>
                </a:lnTo>
                <a:lnTo>
                  <a:pt x="306254" y="245893"/>
                </a:lnTo>
                <a:lnTo>
                  <a:pt x="311328" y="232412"/>
                </a:lnTo>
                <a:lnTo>
                  <a:pt x="315364" y="218395"/>
                </a:lnTo>
                <a:lnTo>
                  <a:pt x="318311" y="203897"/>
                </a:lnTo>
                <a:lnTo>
                  <a:pt x="320116" y="188974"/>
                </a:lnTo>
                <a:lnTo>
                  <a:pt x="320729" y="173680"/>
                </a:lnTo>
                <a:lnTo>
                  <a:pt x="320497" y="164254"/>
                </a:lnTo>
                <a:lnTo>
                  <a:pt x="319146" y="149181"/>
                </a:lnTo>
                <a:lnTo>
                  <a:pt x="316634" y="134512"/>
                </a:lnTo>
                <a:lnTo>
                  <a:pt x="313013" y="120303"/>
                </a:lnTo>
                <a:lnTo>
                  <a:pt x="308334" y="106609"/>
                </a:lnTo>
                <a:lnTo>
                  <a:pt x="302647" y="93484"/>
                </a:lnTo>
                <a:lnTo>
                  <a:pt x="296005" y="80986"/>
                </a:lnTo>
                <a:lnTo>
                  <a:pt x="288457" y="69169"/>
                </a:lnTo>
                <a:lnTo>
                  <a:pt x="280056" y="58088"/>
                </a:lnTo>
                <a:lnTo>
                  <a:pt x="270853" y="47800"/>
                </a:lnTo>
                <a:lnTo>
                  <a:pt x="260898" y="38359"/>
                </a:lnTo>
                <a:lnTo>
                  <a:pt x="250244" y="29822"/>
                </a:lnTo>
                <a:lnTo>
                  <a:pt x="238941" y="22242"/>
                </a:lnTo>
                <a:lnTo>
                  <a:pt x="227040" y="15677"/>
                </a:lnTo>
                <a:lnTo>
                  <a:pt x="214592" y="10181"/>
                </a:lnTo>
                <a:lnTo>
                  <a:pt x="201650" y="5810"/>
                </a:lnTo>
                <a:lnTo>
                  <a:pt x="188264" y="2619"/>
                </a:lnTo>
                <a:lnTo>
                  <a:pt x="174484" y="664"/>
                </a:lnTo>
                <a:lnTo>
                  <a:pt x="160364" y="0"/>
                </a:lnTo>
                <a:lnTo>
                  <a:pt x="151661" y="251"/>
                </a:lnTo>
                <a:lnTo>
                  <a:pt x="137744" y="1714"/>
                </a:lnTo>
                <a:lnTo>
                  <a:pt x="124199" y="4434"/>
                </a:lnTo>
                <a:lnTo>
                  <a:pt x="111079" y="8356"/>
                </a:lnTo>
                <a:lnTo>
                  <a:pt x="98435" y="13424"/>
                </a:lnTo>
                <a:lnTo>
                  <a:pt x="86317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5" y="54017"/>
                </a:lnTo>
                <a:lnTo>
                  <a:pt x="35418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9"/>
                </a:lnTo>
                <a:lnTo>
                  <a:pt x="5364" y="128966"/>
                </a:lnTo>
                <a:lnTo>
                  <a:pt x="2418" y="143464"/>
                </a:lnTo>
                <a:lnTo>
                  <a:pt x="613" y="15838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1" name="object 21"/>
          <p:cNvSpPr/>
          <p:nvPr/>
        </p:nvSpPr>
        <p:spPr>
          <a:xfrm>
            <a:off x="5300557" y="587860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232" y="183107"/>
                </a:lnTo>
                <a:lnTo>
                  <a:pt x="1583" y="198180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7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3"/>
                </a:lnTo>
                <a:lnTo>
                  <a:pt x="49876" y="299561"/>
                </a:lnTo>
                <a:lnTo>
                  <a:pt x="59830" y="309002"/>
                </a:lnTo>
                <a:lnTo>
                  <a:pt x="70485" y="317539"/>
                </a:lnTo>
                <a:lnTo>
                  <a:pt x="81788" y="325119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8" y="347110"/>
                </a:lnTo>
                <a:lnTo>
                  <a:pt x="182985" y="345647"/>
                </a:lnTo>
                <a:lnTo>
                  <a:pt x="196529" y="342927"/>
                </a:lnTo>
                <a:lnTo>
                  <a:pt x="209649" y="339005"/>
                </a:lnTo>
                <a:lnTo>
                  <a:pt x="222293" y="333937"/>
                </a:lnTo>
                <a:lnTo>
                  <a:pt x="234411" y="327778"/>
                </a:lnTo>
                <a:lnTo>
                  <a:pt x="245951" y="320584"/>
                </a:lnTo>
                <a:lnTo>
                  <a:pt x="256863" y="312410"/>
                </a:lnTo>
                <a:lnTo>
                  <a:pt x="267094" y="303312"/>
                </a:lnTo>
                <a:lnTo>
                  <a:pt x="276593" y="293344"/>
                </a:lnTo>
                <a:lnTo>
                  <a:pt x="285310" y="282563"/>
                </a:lnTo>
                <a:lnTo>
                  <a:pt x="293193" y="271024"/>
                </a:lnTo>
                <a:lnTo>
                  <a:pt x="300192" y="258782"/>
                </a:lnTo>
                <a:lnTo>
                  <a:pt x="306254" y="245893"/>
                </a:lnTo>
                <a:lnTo>
                  <a:pt x="311328" y="232412"/>
                </a:lnTo>
                <a:lnTo>
                  <a:pt x="315364" y="218395"/>
                </a:lnTo>
                <a:lnTo>
                  <a:pt x="318311" y="203897"/>
                </a:lnTo>
                <a:lnTo>
                  <a:pt x="320116" y="188974"/>
                </a:lnTo>
                <a:lnTo>
                  <a:pt x="320729" y="173680"/>
                </a:lnTo>
                <a:lnTo>
                  <a:pt x="320497" y="164255"/>
                </a:lnTo>
                <a:lnTo>
                  <a:pt x="319146" y="149182"/>
                </a:lnTo>
                <a:lnTo>
                  <a:pt x="316635" y="134513"/>
                </a:lnTo>
                <a:lnTo>
                  <a:pt x="313014" y="120304"/>
                </a:lnTo>
                <a:lnTo>
                  <a:pt x="308334" y="106609"/>
                </a:lnTo>
                <a:lnTo>
                  <a:pt x="302647" y="93485"/>
                </a:lnTo>
                <a:lnTo>
                  <a:pt x="296005" y="80987"/>
                </a:lnTo>
                <a:lnTo>
                  <a:pt x="288458" y="69169"/>
                </a:lnTo>
                <a:lnTo>
                  <a:pt x="280057" y="58089"/>
                </a:lnTo>
                <a:lnTo>
                  <a:pt x="270853" y="47800"/>
                </a:lnTo>
                <a:lnTo>
                  <a:pt x="260899" y="38360"/>
                </a:lnTo>
                <a:lnTo>
                  <a:pt x="250244" y="29822"/>
                </a:lnTo>
                <a:lnTo>
                  <a:pt x="238941" y="22242"/>
                </a:lnTo>
                <a:lnTo>
                  <a:pt x="227040" y="15677"/>
                </a:lnTo>
                <a:lnTo>
                  <a:pt x="214593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1" y="251"/>
                </a:lnTo>
                <a:lnTo>
                  <a:pt x="137744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5" y="13424"/>
                </a:lnTo>
                <a:lnTo>
                  <a:pt x="86317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50"/>
                </a:lnTo>
                <a:lnTo>
                  <a:pt x="44135" y="54017"/>
                </a:lnTo>
                <a:lnTo>
                  <a:pt x="35418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9"/>
                </a:lnTo>
                <a:lnTo>
                  <a:pt x="5364" y="128966"/>
                </a:lnTo>
                <a:lnTo>
                  <a:pt x="2418" y="143464"/>
                </a:lnTo>
                <a:lnTo>
                  <a:pt x="613" y="15838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3" name="object 23"/>
          <p:cNvSpPr/>
          <p:nvPr/>
        </p:nvSpPr>
        <p:spPr>
          <a:xfrm>
            <a:off x="6361937" y="579347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1"/>
                </a:moveTo>
                <a:lnTo>
                  <a:pt x="232" y="183107"/>
                </a:lnTo>
                <a:lnTo>
                  <a:pt x="1583" y="198180"/>
                </a:lnTo>
                <a:lnTo>
                  <a:pt x="4094" y="212849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7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3"/>
                </a:lnTo>
                <a:lnTo>
                  <a:pt x="49876" y="299561"/>
                </a:lnTo>
                <a:lnTo>
                  <a:pt x="59830" y="309002"/>
                </a:lnTo>
                <a:lnTo>
                  <a:pt x="70485" y="317539"/>
                </a:lnTo>
                <a:lnTo>
                  <a:pt x="81788" y="325119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2"/>
                </a:lnTo>
                <a:lnTo>
                  <a:pt x="169068" y="347110"/>
                </a:lnTo>
                <a:lnTo>
                  <a:pt x="182985" y="345647"/>
                </a:lnTo>
                <a:lnTo>
                  <a:pt x="196529" y="342927"/>
                </a:lnTo>
                <a:lnTo>
                  <a:pt x="209649" y="339005"/>
                </a:lnTo>
                <a:lnTo>
                  <a:pt x="222294" y="333937"/>
                </a:lnTo>
                <a:lnTo>
                  <a:pt x="234412" y="327778"/>
                </a:lnTo>
                <a:lnTo>
                  <a:pt x="245952" y="320584"/>
                </a:lnTo>
                <a:lnTo>
                  <a:pt x="256863" y="312410"/>
                </a:lnTo>
                <a:lnTo>
                  <a:pt x="267094" y="303312"/>
                </a:lnTo>
                <a:lnTo>
                  <a:pt x="276594" y="293344"/>
                </a:lnTo>
                <a:lnTo>
                  <a:pt x="285310" y="282563"/>
                </a:lnTo>
                <a:lnTo>
                  <a:pt x="293194" y="271024"/>
                </a:lnTo>
                <a:lnTo>
                  <a:pt x="300192" y="258782"/>
                </a:lnTo>
                <a:lnTo>
                  <a:pt x="306254" y="245893"/>
                </a:lnTo>
                <a:lnTo>
                  <a:pt x="311328" y="232412"/>
                </a:lnTo>
                <a:lnTo>
                  <a:pt x="315364" y="218395"/>
                </a:lnTo>
                <a:lnTo>
                  <a:pt x="318311" y="203897"/>
                </a:lnTo>
                <a:lnTo>
                  <a:pt x="320116" y="188974"/>
                </a:lnTo>
                <a:lnTo>
                  <a:pt x="320729" y="173681"/>
                </a:lnTo>
                <a:lnTo>
                  <a:pt x="320497" y="164255"/>
                </a:lnTo>
                <a:lnTo>
                  <a:pt x="319146" y="149182"/>
                </a:lnTo>
                <a:lnTo>
                  <a:pt x="316635" y="134513"/>
                </a:lnTo>
                <a:lnTo>
                  <a:pt x="313014" y="120304"/>
                </a:lnTo>
                <a:lnTo>
                  <a:pt x="308334" y="106609"/>
                </a:lnTo>
                <a:lnTo>
                  <a:pt x="302648" y="93485"/>
                </a:lnTo>
                <a:lnTo>
                  <a:pt x="296005" y="80987"/>
                </a:lnTo>
                <a:lnTo>
                  <a:pt x="288458" y="69169"/>
                </a:lnTo>
                <a:lnTo>
                  <a:pt x="280057" y="58089"/>
                </a:lnTo>
                <a:lnTo>
                  <a:pt x="270854" y="47800"/>
                </a:lnTo>
                <a:lnTo>
                  <a:pt x="260899" y="38360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1" y="251"/>
                </a:lnTo>
                <a:lnTo>
                  <a:pt x="137744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5" y="13424"/>
                </a:lnTo>
                <a:lnTo>
                  <a:pt x="86317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50"/>
                </a:lnTo>
                <a:lnTo>
                  <a:pt x="44135" y="54017"/>
                </a:lnTo>
                <a:lnTo>
                  <a:pt x="35418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9"/>
                </a:lnTo>
                <a:lnTo>
                  <a:pt x="5364" y="128966"/>
                </a:lnTo>
                <a:lnTo>
                  <a:pt x="2418" y="143464"/>
                </a:lnTo>
                <a:lnTo>
                  <a:pt x="613" y="15838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4" name="object 24"/>
          <p:cNvSpPr/>
          <p:nvPr/>
        </p:nvSpPr>
        <p:spPr>
          <a:xfrm>
            <a:off x="6361936" y="579347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5" name="object 25"/>
          <p:cNvSpPr/>
          <p:nvPr/>
        </p:nvSpPr>
        <p:spPr>
          <a:xfrm>
            <a:off x="5880842" y="573498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1"/>
                </a:moveTo>
                <a:lnTo>
                  <a:pt x="232" y="183107"/>
                </a:lnTo>
                <a:lnTo>
                  <a:pt x="1583" y="198180"/>
                </a:lnTo>
                <a:lnTo>
                  <a:pt x="4094" y="212849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7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3"/>
                </a:lnTo>
                <a:lnTo>
                  <a:pt x="49876" y="299561"/>
                </a:lnTo>
                <a:lnTo>
                  <a:pt x="59830" y="309002"/>
                </a:lnTo>
                <a:lnTo>
                  <a:pt x="70485" y="317539"/>
                </a:lnTo>
                <a:lnTo>
                  <a:pt x="81788" y="325119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2"/>
                </a:lnTo>
                <a:lnTo>
                  <a:pt x="169069" y="347110"/>
                </a:lnTo>
                <a:lnTo>
                  <a:pt x="182986" y="345647"/>
                </a:lnTo>
                <a:lnTo>
                  <a:pt x="196530" y="342927"/>
                </a:lnTo>
                <a:lnTo>
                  <a:pt x="209650" y="339005"/>
                </a:lnTo>
                <a:lnTo>
                  <a:pt x="222295" y="333937"/>
                </a:lnTo>
                <a:lnTo>
                  <a:pt x="234413" y="327778"/>
                </a:lnTo>
                <a:lnTo>
                  <a:pt x="245953" y="320584"/>
                </a:lnTo>
                <a:lnTo>
                  <a:pt x="256864" y="312410"/>
                </a:lnTo>
                <a:lnTo>
                  <a:pt x="267095" y="303311"/>
                </a:lnTo>
                <a:lnTo>
                  <a:pt x="276595" y="293344"/>
                </a:lnTo>
                <a:lnTo>
                  <a:pt x="285311" y="282563"/>
                </a:lnTo>
                <a:lnTo>
                  <a:pt x="293195" y="271024"/>
                </a:lnTo>
                <a:lnTo>
                  <a:pt x="300193" y="258782"/>
                </a:lnTo>
                <a:lnTo>
                  <a:pt x="306255" y="245893"/>
                </a:lnTo>
                <a:lnTo>
                  <a:pt x="311330" y="232412"/>
                </a:lnTo>
                <a:lnTo>
                  <a:pt x="315366" y="218395"/>
                </a:lnTo>
                <a:lnTo>
                  <a:pt x="318312" y="203897"/>
                </a:lnTo>
                <a:lnTo>
                  <a:pt x="320117" y="188974"/>
                </a:lnTo>
                <a:lnTo>
                  <a:pt x="320730" y="173681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8" y="93484"/>
                </a:lnTo>
                <a:lnTo>
                  <a:pt x="296006" y="80986"/>
                </a:lnTo>
                <a:lnTo>
                  <a:pt x="288458" y="69169"/>
                </a:lnTo>
                <a:lnTo>
                  <a:pt x="280057" y="58088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1" y="251"/>
                </a:lnTo>
                <a:lnTo>
                  <a:pt x="137744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5" y="13424"/>
                </a:lnTo>
                <a:lnTo>
                  <a:pt x="86317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50"/>
                </a:lnTo>
                <a:lnTo>
                  <a:pt x="44135" y="54017"/>
                </a:lnTo>
                <a:lnTo>
                  <a:pt x="35418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9"/>
                </a:lnTo>
                <a:lnTo>
                  <a:pt x="5364" y="128966"/>
                </a:lnTo>
                <a:lnTo>
                  <a:pt x="2418" y="143464"/>
                </a:lnTo>
                <a:lnTo>
                  <a:pt x="613" y="15838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8" name="object 28"/>
          <p:cNvSpPr/>
          <p:nvPr/>
        </p:nvSpPr>
        <p:spPr>
          <a:xfrm>
            <a:off x="4557260" y="58683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9" name="object 29"/>
          <p:cNvSpPr/>
          <p:nvPr/>
        </p:nvSpPr>
        <p:spPr>
          <a:xfrm>
            <a:off x="5107607" y="583061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232" y="183107"/>
                </a:lnTo>
                <a:lnTo>
                  <a:pt x="1583" y="198180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1" y="253877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2" y="289273"/>
                </a:lnTo>
                <a:lnTo>
                  <a:pt x="49876" y="299561"/>
                </a:lnTo>
                <a:lnTo>
                  <a:pt x="59830" y="309002"/>
                </a:lnTo>
                <a:lnTo>
                  <a:pt x="70485" y="317539"/>
                </a:lnTo>
                <a:lnTo>
                  <a:pt x="81788" y="325119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7"/>
                </a:lnTo>
                <a:lnTo>
                  <a:pt x="196530" y="342927"/>
                </a:lnTo>
                <a:lnTo>
                  <a:pt x="209650" y="339005"/>
                </a:lnTo>
                <a:lnTo>
                  <a:pt x="222295" y="333937"/>
                </a:lnTo>
                <a:lnTo>
                  <a:pt x="234413" y="327778"/>
                </a:lnTo>
                <a:lnTo>
                  <a:pt x="245953" y="320584"/>
                </a:lnTo>
                <a:lnTo>
                  <a:pt x="256864" y="312410"/>
                </a:lnTo>
                <a:lnTo>
                  <a:pt x="267095" y="303311"/>
                </a:lnTo>
                <a:lnTo>
                  <a:pt x="276594" y="293344"/>
                </a:lnTo>
                <a:lnTo>
                  <a:pt x="285311" y="282563"/>
                </a:lnTo>
                <a:lnTo>
                  <a:pt x="293195" y="271024"/>
                </a:lnTo>
                <a:lnTo>
                  <a:pt x="300193" y="258782"/>
                </a:lnTo>
                <a:lnTo>
                  <a:pt x="306255" y="245893"/>
                </a:lnTo>
                <a:lnTo>
                  <a:pt x="311330" y="232412"/>
                </a:lnTo>
                <a:lnTo>
                  <a:pt x="315366" y="218395"/>
                </a:lnTo>
                <a:lnTo>
                  <a:pt x="318312" y="203897"/>
                </a:lnTo>
                <a:lnTo>
                  <a:pt x="320117" y="188974"/>
                </a:lnTo>
                <a:lnTo>
                  <a:pt x="320730" y="173681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8" y="93484"/>
                </a:lnTo>
                <a:lnTo>
                  <a:pt x="296006" y="80986"/>
                </a:lnTo>
                <a:lnTo>
                  <a:pt x="288458" y="69169"/>
                </a:lnTo>
                <a:lnTo>
                  <a:pt x="280057" y="58088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1" y="251"/>
                </a:lnTo>
                <a:lnTo>
                  <a:pt x="137744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5" y="13424"/>
                </a:lnTo>
                <a:lnTo>
                  <a:pt x="86317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50"/>
                </a:lnTo>
                <a:lnTo>
                  <a:pt x="44135" y="54017"/>
                </a:lnTo>
                <a:lnTo>
                  <a:pt x="35418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9"/>
                </a:lnTo>
                <a:lnTo>
                  <a:pt x="5364" y="128966"/>
                </a:lnTo>
                <a:lnTo>
                  <a:pt x="2418" y="143464"/>
                </a:lnTo>
                <a:lnTo>
                  <a:pt x="613" y="15838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0" name="object 30"/>
          <p:cNvSpPr/>
          <p:nvPr/>
        </p:nvSpPr>
        <p:spPr>
          <a:xfrm>
            <a:off x="5107607" y="583061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2" name="object 32"/>
          <p:cNvSpPr/>
          <p:nvPr/>
        </p:nvSpPr>
        <p:spPr>
          <a:xfrm>
            <a:off x="2907043" y="585028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4" name="object 34"/>
          <p:cNvSpPr/>
          <p:nvPr/>
        </p:nvSpPr>
        <p:spPr>
          <a:xfrm>
            <a:off x="7648012" y="578724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6" name="object 36"/>
          <p:cNvSpPr/>
          <p:nvPr/>
        </p:nvSpPr>
        <p:spPr>
          <a:xfrm>
            <a:off x="6593786" y="57902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8" name="object 38"/>
          <p:cNvSpPr/>
          <p:nvPr/>
        </p:nvSpPr>
        <p:spPr>
          <a:xfrm>
            <a:off x="8001594" y="582076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5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0" name="object 40"/>
          <p:cNvSpPr/>
          <p:nvPr/>
        </p:nvSpPr>
        <p:spPr>
          <a:xfrm>
            <a:off x="4724741" y="584823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2" name="object 42"/>
          <p:cNvSpPr/>
          <p:nvPr/>
        </p:nvSpPr>
        <p:spPr>
          <a:xfrm>
            <a:off x="5107607" y="57796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4" name="object 44"/>
          <p:cNvSpPr/>
          <p:nvPr/>
        </p:nvSpPr>
        <p:spPr>
          <a:xfrm>
            <a:off x="3418124" y="578557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6" name="object 46"/>
          <p:cNvSpPr/>
          <p:nvPr/>
        </p:nvSpPr>
        <p:spPr>
          <a:xfrm>
            <a:off x="3257759" y="588072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7" name="object 47"/>
          <p:cNvSpPr/>
          <p:nvPr/>
        </p:nvSpPr>
        <p:spPr>
          <a:xfrm>
            <a:off x="6091186" y="576214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232" y="183107"/>
                </a:lnTo>
                <a:lnTo>
                  <a:pt x="1583" y="198180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1" y="253877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2" y="289273"/>
                </a:lnTo>
                <a:lnTo>
                  <a:pt x="49876" y="299561"/>
                </a:lnTo>
                <a:lnTo>
                  <a:pt x="59830" y="309002"/>
                </a:lnTo>
                <a:lnTo>
                  <a:pt x="70485" y="317539"/>
                </a:lnTo>
                <a:lnTo>
                  <a:pt x="81788" y="325119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7"/>
                </a:lnTo>
                <a:lnTo>
                  <a:pt x="196530" y="342927"/>
                </a:lnTo>
                <a:lnTo>
                  <a:pt x="209650" y="339005"/>
                </a:lnTo>
                <a:lnTo>
                  <a:pt x="222295" y="333937"/>
                </a:lnTo>
                <a:lnTo>
                  <a:pt x="234413" y="327778"/>
                </a:lnTo>
                <a:lnTo>
                  <a:pt x="245953" y="320584"/>
                </a:lnTo>
                <a:lnTo>
                  <a:pt x="256864" y="312410"/>
                </a:lnTo>
                <a:lnTo>
                  <a:pt x="267095" y="303311"/>
                </a:lnTo>
                <a:lnTo>
                  <a:pt x="276594" y="293344"/>
                </a:lnTo>
                <a:lnTo>
                  <a:pt x="285311" y="282563"/>
                </a:lnTo>
                <a:lnTo>
                  <a:pt x="293195" y="271024"/>
                </a:lnTo>
                <a:lnTo>
                  <a:pt x="300193" y="258782"/>
                </a:lnTo>
                <a:lnTo>
                  <a:pt x="306255" y="245893"/>
                </a:lnTo>
                <a:lnTo>
                  <a:pt x="311330" y="232412"/>
                </a:lnTo>
                <a:lnTo>
                  <a:pt x="315366" y="218395"/>
                </a:lnTo>
                <a:lnTo>
                  <a:pt x="318312" y="203897"/>
                </a:lnTo>
                <a:lnTo>
                  <a:pt x="320117" y="188974"/>
                </a:lnTo>
                <a:lnTo>
                  <a:pt x="320730" y="173681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8" y="93484"/>
                </a:lnTo>
                <a:lnTo>
                  <a:pt x="296006" y="80986"/>
                </a:lnTo>
                <a:lnTo>
                  <a:pt x="288458" y="69169"/>
                </a:lnTo>
                <a:lnTo>
                  <a:pt x="280057" y="58088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1" y="251"/>
                </a:lnTo>
                <a:lnTo>
                  <a:pt x="137744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5" y="13424"/>
                </a:lnTo>
                <a:lnTo>
                  <a:pt x="86317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50"/>
                </a:lnTo>
                <a:lnTo>
                  <a:pt x="44135" y="54017"/>
                </a:lnTo>
                <a:lnTo>
                  <a:pt x="35418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9"/>
                </a:lnTo>
                <a:lnTo>
                  <a:pt x="5364" y="128966"/>
                </a:lnTo>
                <a:lnTo>
                  <a:pt x="2418" y="143464"/>
                </a:lnTo>
                <a:lnTo>
                  <a:pt x="613" y="15838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8" name="object 48"/>
          <p:cNvSpPr/>
          <p:nvPr/>
        </p:nvSpPr>
        <p:spPr>
          <a:xfrm>
            <a:off x="6091185" y="576214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0" name="object 50"/>
          <p:cNvSpPr/>
          <p:nvPr/>
        </p:nvSpPr>
        <p:spPr>
          <a:xfrm>
            <a:off x="5239383" y="57900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1" name="object 51"/>
          <p:cNvSpPr/>
          <p:nvPr/>
        </p:nvSpPr>
        <p:spPr>
          <a:xfrm>
            <a:off x="7163762" y="585801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232" y="183106"/>
                </a:lnTo>
                <a:lnTo>
                  <a:pt x="1582" y="198179"/>
                </a:lnTo>
                <a:lnTo>
                  <a:pt x="4094" y="212848"/>
                </a:lnTo>
                <a:lnTo>
                  <a:pt x="7715" y="227057"/>
                </a:lnTo>
                <a:lnTo>
                  <a:pt x="12394" y="240752"/>
                </a:lnTo>
                <a:lnTo>
                  <a:pt x="18081" y="253876"/>
                </a:lnTo>
                <a:lnTo>
                  <a:pt x="24723" y="266374"/>
                </a:lnTo>
                <a:lnTo>
                  <a:pt x="32271" y="278192"/>
                </a:lnTo>
                <a:lnTo>
                  <a:pt x="40672" y="289272"/>
                </a:lnTo>
                <a:lnTo>
                  <a:pt x="49875" y="299561"/>
                </a:lnTo>
                <a:lnTo>
                  <a:pt x="59829" y="309001"/>
                </a:lnTo>
                <a:lnTo>
                  <a:pt x="70484" y="317539"/>
                </a:lnTo>
                <a:lnTo>
                  <a:pt x="81787" y="325119"/>
                </a:lnTo>
                <a:lnTo>
                  <a:pt x="93688" y="331684"/>
                </a:lnTo>
                <a:lnTo>
                  <a:pt x="106135" y="337180"/>
                </a:lnTo>
                <a:lnTo>
                  <a:pt x="119077" y="341551"/>
                </a:lnTo>
                <a:lnTo>
                  <a:pt x="132464" y="344742"/>
                </a:lnTo>
                <a:lnTo>
                  <a:pt x="146243" y="346697"/>
                </a:lnTo>
                <a:lnTo>
                  <a:pt x="160364" y="347361"/>
                </a:lnTo>
                <a:lnTo>
                  <a:pt x="169067" y="347110"/>
                </a:lnTo>
                <a:lnTo>
                  <a:pt x="182985" y="345647"/>
                </a:lnTo>
                <a:lnTo>
                  <a:pt x="196529" y="342927"/>
                </a:lnTo>
                <a:lnTo>
                  <a:pt x="209649" y="339005"/>
                </a:lnTo>
                <a:lnTo>
                  <a:pt x="222293" y="333937"/>
                </a:lnTo>
                <a:lnTo>
                  <a:pt x="234411" y="327778"/>
                </a:lnTo>
                <a:lnTo>
                  <a:pt x="245952" y="320584"/>
                </a:lnTo>
                <a:lnTo>
                  <a:pt x="256863" y="312410"/>
                </a:lnTo>
                <a:lnTo>
                  <a:pt x="267094" y="303311"/>
                </a:lnTo>
                <a:lnTo>
                  <a:pt x="276593" y="293344"/>
                </a:lnTo>
                <a:lnTo>
                  <a:pt x="285310" y="282563"/>
                </a:lnTo>
                <a:lnTo>
                  <a:pt x="293193" y="271024"/>
                </a:lnTo>
                <a:lnTo>
                  <a:pt x="300192" y="258782"/>
                </a:lnTo>
                <a:lnTo>
                  <a:pt x="306254" y="245893"/>
                </a:lnTo>
                <a:lnTo>
                  <a:pt x="311328" y="232412"/>
                </a:lnTo>
                <a:lnTo>
                  <a:pt x="315364" y="218395"/>
                </a:lnTo>
                <a:lnTo>
                  <a:pt x="318311" y="203897"/>
                </a:lnTo>
                <a:lnTo>
                  <a:pt x="320116" y="188974"/>
                </a:lnTo>
                <a:lnTo>
                  <a:pt x="320729" y="173680"/>
                </a:lnTo>
                <a:lnTo>
                  <a:pt x="320497" y="164254"/>
                </a:lnTo>
                <a:lnTo>
                  <a:pt x="319146" y="149181"/>
                </a:lnTo>
                <a:lnTo>
                  <a:pt x="316634" y="134512"/>
                </a:lnTo>
                <a:lnTo>
                  <a:pt x="313013" y="120303"/>
                </a:lnTo>
                <a:lnTo>
                  <a:pt x="308334" y="106609"/>
                </a:lnTo>
                <a:lnTo>
                  <a:pt x="302647" y="93484"/>
                </a:lnTo>
                <a:lnTo>
                  <a:pt x="296005" y="80986"/>
                </a:lnTo>
                <a:lnTo>
                  <a:pt x="288457" y="69169"/>
                </a:lnTo>
                <a:lnTo>
                  <a:pt x="280056" y="58088"/>
                </a:lnTo>
                <a:lnTo>
                  <a:pt x="270853" y="47800"/>
                </a:lnTo>
                <a:lnTo>
                  <a:pt x="260898" y="38359"/>
                </a:lnTo>
                <a:lnTo>
                  <a:pt x="250244" y="29822"/>
                </a:lnTo>
                <a:lnTo>
                  <a:pt x="238941" y="22242"/>
                </a:lnTo>
                <a:lnTo>
                  <a:pt x="227040" y="15677"/>
                </a:lnTo>
                <a:lnTo>
                  <a:pt x="214592" y="10181"/>
                </a:lnTo>
                <a:lnTo>
                  <a:pt x="201650" y="5810"/>
                </a:lnTo>
                <a:lnTo>
                  <a:pt x="188264" y="2619"/>
                </a:lnTo>
                <a:lnTo>
                  <a:pt x="174484" y="664"/>
                </a:lnTo>
                <a:lnTo>
                  <a:pt x="160364" y="0"/>
                </a:lnTo>
                <a:lnTo>
                  <a:pt x="151661" y="251"/>
                </a:lnTo>
                <a:lnTo>
                  <a:pt x="137744" y="1714"/>
                </a:lnTo>
                <a:lnTo>
                  <a:pt x="124199" y="4434"/>
                </a:lnTo>
                <a:lnTo>
                  <a:pt x="111079" y="8356"/>
                </a:lnTo>
                <a:lnTo>
                  <a:pt x="98435" y="13424"/>
                </a:lnTo>
                <a:lnTo>
                  <a:pt x="86317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5" y="54017"/>
                </a:lnTo>
                <a:lnTo>
                  <a:pt x="35418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9"/>
                </a:lnTo>
                <a:lnTo>
                  <a:pt x="5364" y="128966"/>
                </a:lnTo>
                <a:lnTo>
                  <a:pt x="2418" y="143464"/>
                </a:lnTo>
                <a:lnTo>
                  <a:pt x="613" y="15838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4" name="object 54"/>
          <p:cNvSpPr/>
          <p:nvPr/>
        </p:nvSpPr>
        <p:spPr>
          <a:xfrm>
            <a:off x="5359085" y="585327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6" name="object 56"/>
          <p:cNvSpPr/>
          <p:nvPr/>
        </p:nvSpPr>
        <p:spPr>
          <a:xfrm>
            <a:off x="7171053" y="580535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7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9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8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50" y="291973"/>
                </a:lnTo>
                <a:lnTo>
                  <a:pt x="302221" y="281377"/>
                </a:lnTo>
                <a:lnTo>
                  <a:pt x="310252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8" name="object 58"/>
          <p:cNvSpPr/>
          <p:nvPr/>
        </p:nvSpPr>
        <p:spPr>
          <a:xfrm>
            <a:off x="5531142" y="57796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0" name="object 60"/>
          <p:cNvSpPr/>
          <p:nvPr/>
        </p:nvSpPr>
        <p:spPr>
          <a:xfrm>
            <a:off x="7356198" y="58085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2" name="object 62"/>
          <p:cNvSpPr/>
          <p:nvPr/>
        </p:nvSpPr>
        <p:spPr>
          <a:xfrm>
            <a:off x="6172602" y="56843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4" name="object 64"/>
          <p:cNvSpPr/>
          <p:nvPr/>
        </p:nvSpPr>
        <p:spPr>
          <a:xfrm>
            <a:off x="4877989" y="580535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6" name="object 66"/>
          <p:cNvSpPr/>
          <p:nvPr/>
        </p:nvSpPr>
        <p:spPr>
          <a:xfrm>
            <a:off x="5581873" y="580884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8" name="object 68"/>
          <p:cNvSpPr/>
          <p:nvPr/>
        </p:nvSpPr>
        <p:spPr>
          <a:xfrm>
            <a:off x="5930822" y="578724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0" name="object 70"/>
          <p:cNvSpPr/>
          <p:nvPr/>
        </p:nvSpPr>
        <p:spPr>
          <a:xfrm>
            <a:off x="3899218" y="582076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4" name="object 74"/>
          <p:cNvSpPr/>
          <p:nvPr/>
        </p:nvSpPr>
        <p:spPr>
          <a:xfrm>
            <a:off x="3578489" y="578724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5" name="object 75"/>
          <p:cNvSpPr/>
          <p:nvPr/>
        </p:nvSpPr>
        <p:spPr>
          <a:xfrm>
            <a:off x="6361937" y="580297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232" y="183107"/>
                </a:lnTo>
                <a:lnTo>
                  <a:pt x="1583" y="198180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1" y="253877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2" y="289273"/>
                </a:lnTo>
                <a:lnTo>
                  <a:pt x="49876" y="299561"/>
                </a:lnTo>
                <a:lnTo>
                  <a:pt x="59830" y="309002"/>
                </a:lnTo>
                <a:lnTo>
                  <a:pt x="70485" y="317539"/>
                </a:lnTo>
                <a:lnTo>
                  <a:pt x="81788" y="325119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8" y="347110"/>
                </a:lnTo>
                <a:lnTo>
                  <a:pt x="182985" y="345647"/>
                </a:lnTo>
                <a:lnTo>
                  <a:pt x="196529" y="342927"/>
                </a:lnTo>
                <a:lnTo>
                  <a:pt x="209649" y="339005"/>
                </a:lnTo>
                <a:lnTo>
                  <a:pt x="222294" y="333937"/>
                </a:lnTo>
                <a:lnTo>
                  <a:pt x="234412" y="327778"/>
                </a:lnTo>
                <a:lnTo>
                  <a:pt x="245952" y="320584"/>
                </a:lnTo>
                <a:lnTo>
                  <a:pt x="256863" y="312410"/>
                </a:lnTo>
                <a:lnTo>
                  <a:pt x="267094" y="303312"/>
                </a:lnTo>
                <a:lnTo>
                  <a:pt x="276594" y="293344"/>
                </a:lnTo>
                <a:lnTo>
                  <a:pt x="285310" y="282563"/>
                </a:lnTo>
                <a:lnTo>
                  <a:pt x="293194" y="271024"/>
                </a:lnTo>
                <a:lnTo>
                  <a:pt x="300192" y="258782"/>
                </a:lnTo>
                <a:lnTo>
                  <a:pt x="306254" y="245893"/>
                </a:lnTo>
                <a:lnTo>
                  <a:pt x="311328" y="232412"/>
                </a:lnTo>
                <a:lnTo>
                  <a:pt x="315364" y="218395"/>
                </a:lnTo>
                <a:lnTo>
                  <a:pt x="318311" y="203897"/>
                </a:lnTo>
                <a:lnTo>
                  <a:pt x="320116" y="188974"/>
                </a:lnTo>
                <a:lnTo>
                  <a:pt x="320729" y="173681"/>
                </a:lnTo>
                <a:lnTo>
                  <a:pt x="320497" y="164255"/>
                </a:lnTo>
                <a:lnTo>
                  <a:pt x="319146" y="149182"/>
                </a:lnTo>
                <a:lnTo>
                  <a:pt x="316635" y="134513"/>
                </a:lnTo>
                <a:lnTo>
                  <a:pt x="313014" y="120304"/>
                </a:lnTo>
                <a:lnTo>
                  <a:pt x="308334" y="106609"/>
                </a:lnTo>
                <a:lnTo>
                  <a:pt x="302648" y="93485"/>
                </a:lnTo>
                <a:lnTo>
                  <a:pt x="296005" y="80986"/>
                </a:lnTo>
                <a:lnTo>
                  <a:pt x="288458" y="69169"/>
                </a:lnTo>
                <a:lnTo>
                  <a:pt x="280057" y="58089"/>
                </a:lnTo>
                <a:lnTo>
                  <a:pt x="270854" y="47800"/>
                </a:lnTo>
                <a:lnTo>
                  <a:pt x="260899" y="38360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1" y="251"/>
                </a:lnTo>
                <a:lnTo>
                  <a:pt x="137744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5" y="13424"/>
                </a:lnTo>
                <a:lnTo>
                  <a:pt x="86317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50"/>
                </a:lnTo>
                <a:lnTo>
                  <a:pt x="44135" y="54017"/>
                </a:lnTo>
                <a:lnTo>
                  <a:pt x="35418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9"/>
                </a:lnTo>
                <a:lnTo>
                  <a:pt x="5364" y="128966"/>
                </a:lnTo>
                <a:lnTo>
                  <a:pt x="2418" y="143464"/>
                </a:lnTo>
                <a:lnTo>
                  <a:pt x="613" y="15838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8" name="object 78"/>
          <p:cNvSpPr/>
          <p:nvPr/>
        </p:nvSpPr>
        <p:spPr>
          <a:xfrm>
            <a:off x="6754153" y="580401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5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2" name="object 32"/>
          <p:cNvSpPr/>
          <p:nvPr/>
        </p:nvSpPr>
        <p:spPr>
          <a:xfrm>
            <a:off x="3084023" y="585028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3" name="object 3"/>
          <p:cNvSpPr txBox="1"/>
          <p:nvPr/>
        </p:nvSpPr>
        <p:spPr>
          <a:xfrm>
            <a:off x="4212239" y="6273889"/>
            <a:ext cx="264576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 algn="ctr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0.7 Income + 0.3</a:t>
            </a:r>
            <a:r>
              <a:rPr lang="en-US" sz="3600" spc="0" baseline="2275" dirty="0" smtClean="0">
                <a:solidFill>
                  <a:srgbClr val="7F7E7E"/>
                </a:solidFill>
                <a:cs typeface="Calibri"/>
              </a:rPr>
              <a:t> Age</a:t>
            </a:r>
            <a:endParaRPr sz="2400" dirty="0">
              <a:cs typeface="Calibri"/>
            </a:endParaRPr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0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1" name="Object 80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7322009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6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9" name="object 5"/>
          <p:cNvSpPr txBox="1"/>
          <p:nvPr/>
        </p:nvSpPr>
        <p:spPr>
          <a:xfrm>
            <a:off x="2101916" y="369650"/>
            <a:ext cx="6889684" cy="807913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 marR="41909">
              <a:lnSpc>
                <a:spcPts val="3454"/>
              </a:lnSpc>
              <a:spcBef>
                <a:spcPts val="172"/>
              </a:spcBef>
            </a:pPr>
            <a:r>
              <a:rPr lang="en-US" sz="4800" baseline="2560" dirty="0" smtClean="0">
                <a:solidFill>
                  <a:srgbClr val="4E81BC"/>
                </a:solidFill>
                <a:latin typeface="+mj-lt"/>
                <a:cs typeface="Calibri"/>
              </a:rPr>
              <a:t>Spectral Clustering</a:t>
            </a:r>
            <a:endParaRPr sz="3200" dirty="0">
              <a:latin typeface="+mj-lt"/>
              <a:cs typeface="Calibri"/>
            </a:endParaRPr>
          </a:p>
          <a:p>
            <a:pPr marL="12700">
              <a:lnSpc>
                <a:spcPts val="2770"/>
              </a:lnSpc>
            </a:pPr>
            <a:r>
              <a:rPr lang="en-US" sz="3200" baseline="1137" dirty="0" smtClean="0">
                <a:solidFill>
                  <a:srgbClr val="7F7E7E"/>
                </a:solidFill>
                <a:cs typeface="Calibri"/>
              </a:rPr>
              <a:t>Now perform K‐Means on the low dimension space (k=3</a:t>
            </a:r>
            <a:r>
              <a:rPr lang="en-US" sz="3200" baseline="1137" dirty="0">
                <a:solidFill>
                  <a:srgbClr val="7F7E7E"/>
                </a:solidFill>
                <a:cs typeface="Calibri"/>
              </a:rPr>
              <a:t>)</a:t>
            </a:r>
          </a:p>
        </p:txBody>
      </p:sp>
      <p:sp>
        <p:nvSpPr>
          <p:cNvPr id="80" name="object 70"/>
          <p:cNvSpPr/>
          <p:nvPr/>
        </p:nvSpPr>
        <p:spPr>
          <a:xfrm>
            <a:off x="2383438" y="5943600"/>
            <a:ext cx="6303362" cy="0"/>
          </a:xfrm>
          <a:custGeom>
            <a:avLst/>
            <a:gdLst/>
            <a:ahLst/>
            <a:cxnLst/>
            <a:rect l="l" t="t" r="r" b="b"/>
            <a:pathLst>
              <a:path w="6303362">
                <a:moveTo>
                  <a:pt x="0" y="0"/>
                </a:moveTo>
                <a:lnTo>
                  <a:pt x="6303362" y="0"/>
                </a:lnTo>
              </a:path>
            </a:pathLst>
          </a:custGeom>
          <a:ln w="25399">
            <a:solidFill>
              <a:srgbClr val="6094C9"/>
            </a:solidFill>
            <a:headEnd type="none"/>
            <a:tailEnd type="arrow"/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6" name="object 16"/>
          <p:cNvSpPr/>
          <p:nvPr/>
        </p:nvSpPr>
        <p:spPr>
          <a:xfrm>
            <a:off x="2668469" y="583455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7" name="object 17"/>
          <p:cNvSpPr/>
          <p:nvPr/>
        </p:nvSpPr>
        <p:spPr>
          <a:xfrm>
            <a:off x="6273057" y="576957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232" y="183106"/>
                </a:lnTo>
                <a:lnTo>
                  <a:pt x="1582" y="198179"/>
                </a:lnTo>
                <a:lnTo>
                  <a:pt x="4094" y="212848"/>
                </a:lnTo>
                <a:lnTo>
                  <a:pt x="7715" y="227057"/>
                </a:lnTo>
                <a:lnTo>
                  <a:pt x="12394" y="240752"/>
                </a:lnTo>
                <a:lnTo>
                  <a:pt x="18081" y="253876"/>
                </a:lnTo>
                <a:lnTo>
                  <a:pt x="24723" y="266374"/>
                </a:lnTo>
                <a:lnTo>
                  <a:pt x="32271" y="278192"/>
                </a:lnTo>
                <a:lnTo>
                  <a:pt x="40672" y="289272"/>
                </a:lnTo>
                <a:lnTo>
                  <a:pt x="49875" y="299561"/>
                </a:lnTo>
                <a:lnTo>
                  <a:pt x="59829" y="309001"/>
                </a:lnTo>
                <a:lnTo>
                  <a:pt x="70484" y="317539"/>
                </a:lnTo>
                <a:lnTo>
                  <a:pt x="81787" y="325118"/>
                </a:lnTo>
                <a:lnTo>
                  <a:pt x="93688" y="331684"/>
                </a:lnTo>
                <a:lnTo>
                  <a:pt x="106135" y="337180"/>
                </a:lnTo>
                <a:lnTo>
                  <a:pt x="119077" y="341551"/>
                </a:lnTo>
                <a:lnTo>
                  <a:pt x="132464" y="344742"/>
                </a:lnTo>
                <a:lnTo>
                  <a:pt x="146243" y="346697"/>
                </a:lnTo>
                <a:lnTo>
                  <a:pt x="160364" y="347361"/>
                </a:lnTo>
                <a:lnTo>
                  <a:pt x="169067" y="347110"/>
                </a:lnTo>
                <a:lnTo>
                  <a:pt x="182985" y="345647"/>
                </a:lnTo>
                <a:lnTo>
                  <a:pt x="196529" y="342927"/>
                </a:lnTo>
                <a:lnTo>
                  <a:pt x="209649" y="339005"/>
                </a:lnTo>
                <a:lnTo>
                  <a:pt x="222293" y="333937"/>
                </a:lnTo>
                <a:lnTo>
                  <a:pt x="234411" y="327778"/>
                </a:lnTo>
                <a:lnTo>
                  <a:pt x="245951" y="320584"/>
                </a:lnTo>
                <a:lnTo>
                  <a:pt x="256863" y="312410"/>
                </a:lnTo>
                <a:lnTo>
                  <a:pt x="267094" y="303311"/>
                </a:lnTo>
                <a:lnTo>
                  <a:pt x="276593" y="293344"/>
                </a:lnTo>
                <a:lnTo>
                  <a:pt x="285310" y="282563"/>
                </a:lnTo>
                <a:lnTo>
                  <a:pt x="293193" y="271024"/>
                </a:lnTo>
                <a:lnTo>
                  <a:pt x="300192" y="258782"/>
                </a:lnTo>
                <a:lnTo>
                  <a:pt x="306254" y="245893"/>
                </a:lnTo>
                <a:lnTo>
                  <a:pt x="311328" y="232412"/>
                </a:lnTo>
                <a:lnTo>
                  <a:pt x="315364" y="218395"/>
                </a:lnTo>
                <a:lnTo>
                  <a:pt x="318311" y="203897"/>
                </a:lnTo>
                <a:lnTo>
                  <a:pt x="320116" y="188974"/>
                </a:lnTo>
                <a:lnTo>
                  <a:pt x="320729" y="173681"/>
                </a:lnTo>
                <a:lnTo>
                  <a:pt x="320497" y="164254"/>
                </a:lnTo>
                <a:lnTo>
                  <a:pt x="319146" y="149181"/>
                </a:lnTo>
                <a:lnTo>
                  <a:pt x="316634" y="134512"/>
                </a:lnTo>
                <a:lnTo>
                  <a:pt x="313013" y="120303"/>
                </a:lnTo>
                <a:lnTo>
                  <a:pt x="308334" y="106609"/>
                </a:lnTo>
                <a:lnTo>
                  <a:pt x="302647" y="93484"/>
                </a:lnTo>
                <a:lnTo>
                  <a:pt x="296004" y="80986"/>
                </a:lnTo>
                <a:lnTo>
                  <a:pt x="288457" y="69169"/>
                </a:lnTo>
                <a:lnTo>
                  <a:pt x="280056" y="58088"/>
                </a:lnTo>
                <a:lnTo>
                  <a:pt x="270853" y="47800"/>
                </a:lnTo>
                <a:lnTo>
                  <a:pt x="260898" y="38359"/>
                </a:lnTo>
                <a:lnTo>
                  <a:pt x="250244" y="29822"/>
                </a:lnTo>
                <a:lnTo>
                  <a:pt x="238941" y="22242"/>
                </a:lnTo>
                <a:lnTo>
                  <a:pt x="227040" y="15677"/>
                </a:lnTo>
                <a:lnTo>
                  <a:pt x="214592" y="10181"/>
                </a:lnTo>
                <a:lnTo>
                  <a:pt x="201650" y="5810"/>
                </a:lnTo>
                <a:lnTo>
                  <a:pt x="188264" y="2619"/>
                </a:lnTo>
                <a:lnTo>
                  <a:pt x="174484" y="664"/>
                </a:lnTo>
                <a:lnTo>
                  <a:pt x="160364" y="0"/>
                </a:lnTo>
                <a:lnTo>
                  <a:pt x="151661" y="251"/>
                </a:lnTo>
                <a:lnTo>
                  <a:pt x="137744" y="1714"/>
                </a:lnTo>
                <a:lnTo>
                  <a:pt x="124199" y="4434"/>
                </a:lnTo>
                <a:lnTo>
                  <a:pt x="111079" y="8356"/>
                </a:lnTo>
                <a:lnTo>
                  <a:pt x="98435" y="13424"/>
                </a:lnTo>
                <a:lnTo>
                  <a:pt x="86317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5" y="54017"/>
                </a:lnTo>
                <a:lnTo>
                  <a:pt x="35418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9"/>
                </a:lnTo>
                <a:lnTo>
                  <a:pt x="5364" y="128966"/>
                </a:lnTo>
                <a:lnTo>
                  <a:pt x="2418" y="143464"/>
                </a:lnTo>
                <a:lnTo>
                  <a:pt x="613" y="158387"/>
                </a:lnTo>
                <a:lnTo>
                  <a:pt x="0" y="173681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8" name="object 18"/>
          <p:cNvSpPr/>
          <p:nvPr/>
        </p:nvSpPr>
        <p:spPr>
          <a:xfrm>
            <a:off x="6273057" y="576957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9" name="object 19"/>
          <p:cNvSpPr/>
          <p:nvPr/>
        </p:nvSpPr>
        <p:spPr>
          <a:xfrm>
            <a:off x="5853655" y="571095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232" y="183106"/>
                </a:lnTo>
                <a:lnTo>
                  <a:pt x="1582" y="198179"/>
                </a:lnTo>
                <a:lnTo>
                  <a:pt x="4094" y="212848"/>
                </a:lnTo>
                <a:lnTo>
                  <a:pt x="7715" y="227057"/>
                </a:lnTo>
                <a:lnTo>
                  <a:pt x="12394" y="240752"/>
                </a:lnTo>
                <a:lnTo>
                  <a:pt x="18081" y="253876"/>
                </a:lnTo>
                <a:lnTo>
                  <a:pt x="24723" y="266374"/>
                </a:lnTo>
                <a:lnTo>
                  <a:pt x="32271" y="278192"/>
                </a:lnTo>
                <a:lnTo>
                  <a:pt x="40672" y="289272"/>
                </a:lnTo>
                <a:lnTo>
                  <a:pt x="49875" y="299561"/>
                </a:lnTo>
                <a:lnTo>
                  <a:pt x="59829" y="309001"/>
                </a:lnTo>
                <a:lnTo>
                  <a:pt x="70484" y="317539"/>
                </a:lnTo>
                <a:lnTo>
                  <a:pt x="81787" y="325119"/>
                </a:lnTo>
                <a:lnTo>
                  <a:pt x="93688" y="331684"/>
                </a:lnTo>
                <a:lnTo>
                  <a:pt x="106135" y="337180"/>
                </a:lnTo>
                <a:lnTo>
                  <a:pt x="119077" y="341551"/>
                </a:lnTo>
                <a:lnTo>
                  <a:pt x="132464" y="344742"/>
                </a:lnTo>
                <a:lnTo>
                  <a:pt x="146243" y="346697"/>
                </a:lnTo>
                <a:lnTo>
                  <a:pt x="160364" y="347361"/>
                </a:lnTo>
                <a:lnTo>
                  <a:pt x="169067" y="347110"/>
                </a:lnTo>
                <a:lnTo>
                  <a:pt x="182985" y="345647"/>
                </a:lnTo>
                <a:lnTo>
                  <a:pt x="196529" y="342927"/>
                </a:lnTo>
                <a:lnTo>
                  <a:pt x="209649" y="339005"/>
                </a:lnTo>
                <a:lnTo>
                  <a:pt x="222293" y="333937"/>
                </a:lnTo>
                <a:lnTo>
                  <a:pt x="234411" y="327778"/>
                </a:lnTo>
                <a:lnTo>
                  <a:pt x="245952" y="320584"/>
                </a:lnTo>
                <a:lnTo>
                  <a:pt x="256863" y="312410"/>
                </a:lnTo>
                <a:lnTo>
                  <a:pt x="267094" y="303311"/>
                </a:lnTo>
                <a:lnTo>
                  <a:pt x="276593" y="293344"/>
                </a:lnTo>
                <a:lnTo>
                  <a:pt x="285310" y="282563"/>
                </a:lnTo>
                <a:lnTo>
                  <a:pt x="293193" y="271024"/>
                </a:lnTo>
                <a:lnTo>
                  <a:pt x="300192" y="258782"/>
                </a:lnTo>
                <a:lnTo>
                  <a:pt x="306254" y="245893"/>
                </a:lnTo>
                <a:lnTo>
                  <a:pt x="311328" y="232412"/>
                </a:lnTo>
                <a:lnTo>
                  <a:pt x="315364" y="218395"/>
                </a:lnTo>
                <a:lnTo>
                  <a:pt x="318311" y="203897"/>
                </a:lnTo>
                <a:lnTo>
                  <a:pt x="320116" y="188974"/>
                </a:lnTo>
                <a:lnTo>
                  <a:pt x="320729" y="173680"/>
                </a:lnTo>
                <a:lnTo>
                  <a:pt x="320497" y="164254"/>
                </a:lnTo>
                <a:lnTo>
                  <a:pt x="319146" y="149181"/>
                </a:lnTo>
                <a:lnTo>
                  <a:pt x="316634" y="134512"/>
                </a:lnTo>
                <a:lnTo>
                  <a:pt x="313013" y="120303"/>
                </a:lnTo>
                <a:lnTo>
                  <a:pt x="308334" y="106609"/>
                </a:lnTo>
                <a:lnTo>
                  <a:pt x="302647" y="93484"/>
                </a:lnTo>
                <a:lnTo>
                  <a:pt x="296005" y="80986"/>
                </a:lnTo>
                <a:lnTo>
                  <a:pt x="288457" y="69169"/>
                </a:lnTo>
                <a:lnTo>
                  <a:pt x="280056" y="58088"/>
                </a:lnTo>
                <a:lnTo>
                  <a:pt x="270853" y="47800"/>
                </a:lnTo>
                <a:lnTo>
                  <a:pt x="260898" y="38359"/>
                </a:lnTo>
                <a:lnTo>
                  <a:pt x="250244" y="29822"/>
                </a:lnTo>
                <a:lnTo>
                  <a:pt x="238941" y="22242"/>
                </a:lnTo>
                <a:lnTo>
                  <a:pt x="227040" y="15677"/>
                </a:lnTo>
                <a:lnTo>
                  <a:pt x="214592" y="10181"/>
                </a:lnTo>
                <a:lnTo>
                  <a:pt x="201650" y="5810"/>
                </a:lnTo>
                <a:lnTo>
                  <a:pt x="188264" y="2619"/>
                </a:lnTo>
                <a:lnTo>
                  <a:pt x="174484" y="664"/>
                </a:lnTo>
                <a:lnTo>
                  <a:pt x="160364" y="0"/>
                </a:lnTo>
                <a:lnTo>
                  <a:pt x="151661" y="251"/>
                </a:lnTo>
                <a:lnTo>
                  <a:pt x="137744" y="1714"/>
                </a:lnTo>
                <a:lnTo>
                  <a:pt x="124199" y="4434"/>
                </a:lnTo>
                <a:lnTo>
                  <a:pt x="111079" y="8356"/>
                </a:lnTo>
                <a:lnTo>
                  <a:pt x="98435" y="13424"/>
                </a:lnTo>
                <a:lnTo>
                  <a:pt x="86317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5" y="54017"/>
                </a:lnTo>
                <a:lnTo>
                  <a:pt x="35418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9"/>
                </a:lnTo>
                <a:lnTo>
                  <a:pt x="5364" y="128966"/>
                </a:lnTo>
                <a:lnTo>
                  <a:pt x="2418" y="143464"/>
                </a:lnTo>
                <a:lnTo>
                  <a:pt x="613" y="158387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1" name="object 21"/>
          <p:cNvSpPr/>
          <p:nvPr/>
        </p:nvSpPr>
        <p:spPr>
          <a:xfrm>
            <a:off x="5300557" y="587860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232" y="183107"/>
                </a:lnTo>
                <a:lnTo>
                  <a:pt x="1583" y="198180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7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3"/>
                </a:lnTo>
                <a:lnTo>
                  <a:pt x="49876" y="299561"/>
                </a:lnTo>
                <a:lnTo>
                  <a:pt x="59830" y="309002"/>
                </a:lnTo>
                <a:lnTo>
                  <a:pt x="70485" y="317539"/>
                </a:lnTo>
                <a:lnTo>
                  <a:pt x="81788" y="325119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8" y="347110"/>
                </a:lnTo>
                <a:lnTo>
                  <a:pt x="182985" y="345647"/>
                </a:lnTo>
                <a:lnTo>
                  <a:pt x="196529" y="342927"/>
                </a:lnTo>
                <a:lnTo>
                  <a:pt x="209649" y="339005"/>
                </a:lnTo>
                <a:lnTo>
                  <a:pt x="222293" y="333937"/>
                </a:lnTo>
                <a:lnTo>
                  <a:pt x="234411" y="327778"/>
                </a:lnTo>
                <a:lnTo>
                  <a:pt x="245951" y="320584"/>
                </a:lnTo>
                <a:lnTo>
                  <a:pt x="256863" y="312410"/>
                </a:lnTo>
                <a:lnTo>
                  <a:pt x="267094" y="303312"/>
                </a:lnTo>
                <a:lnTo>
                  <a:pt x="276593" y="293344"/>
                </a:lnTo>
                <a:lnTo>
                  <a:pt x="285310" y="282563"/>
                </a:lnTo>
                <a:lnTo>
                  <a:pt x="293193" y="271024"/>
                </a:lnTo>
                <a:lnTo>
                  <a:pt x="300192" y="258782"/>
                </a:lnTo>
                <a:lnTo>
                  <a:pt x="306254" y="245893"/>
                </a:lnTo>
                <a:lnTo>
                  <a:pt x="311328" y="232412"/>
                </a:lnTo>
                <a:lnTo>
                  <a:pt x="315364" y="218395"/>
                </a:lnTo>
                <a:lnTo>
                  <a:pt x="318311" y="203897"/>
                </a:lnTo>
                <a:lnTo>
                  <a:pt x="320116" y="188974"/>
                </a:lnTo>
                <a:lnTo>
                  <a:pt x="320729" y="173680"/>
                </a:lnTo>
                <a:lnTo>
                  <a:pt x="320497" y="164255"/>
                </a:lnTo>
                <a:lnTo>
                  <a:pt x="319146" y="149182"/>
                </a:lnTo>
                <a:lnTo>
                  <a:pt x="316635" y="134513"/>
                </a:lnTo>
                <a:lnTo>
                  <a:pt x="313014" y="120304"/>
                </a:lnTo>
                <a:lnTo>
                  <a:pt x="308334" y="106609"/>
                </a:lnTo>
                <a:lnTo>
                  <a:pt x="302647" y="93485"/>
                </a:lnTo>
                <a:lnTo>
                  <a:pt x="296005" y="80987"/>
                </a:lnTo>
                <a:lnTo>
                  <a:pt x="288458" y="69169"/>
                </a:lnTo>
                <a:lnTo>
                  <a:pt x="280057" y="58089"/>
                </a:lnTo>
                <a:lnTo>
                  <a:pt x="270853" y="47800"/>
                </a:lnTo>
                <a:lnTo>
                  <a:pt x="260899" y="38360"/>
                </a:lnTo>
                <a:lnTo>
                  <a:pt x="250244" y="29822"/>
                </a:lnTo>
                <a:lnTo>
                  <a:pt x="238941" y="22242"/>
                </a:lnTo>
                <a:lnTo>
                  <a:pt x="227040" y="15677"/>
                </a:lnTo>
                <a:lnTo>
                  <a:pt x="214593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1" y="251"/>
                </a:lnTo>
                <a:lnTo>
                  <a:pt x="137744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5" y="13424"/>
                </a:lnTo>
                <a:lnTo>
                  <a:pt x="86317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50"/>
                </a:lnTo>
                <a:lnTo>
                  <a:pt x="44135" y="54017"/>
                </a:lnTo>
                <a:lnTo>
                  <a:pt x="35418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9"/>
                </a:lnTo>
                <a:lnTo>
                  <a:pt x="5364" y="128966"/>
                </a:lnTo>
                <a:lnTo>
                  <a:pt x="2418" y="143464"/>
                </a:lnTo>
                <a:lnTo>
                  <a:pt x="613" y="15838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3" name="object 23"/>
          <p:cNvSpPr/>
          <p:nvPr/>
        </p:nvSpPr>
        <p:spPr>
          <a:xfrm>
            <a:off x="6361937" y="579347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1"/>
                </a:moveTo>
                <a:lnTo>
                  <a:pt x="232" y="183107"/>
                </a:lnTo>
                <a:lnTo>
                  <a:pt x="1583" y="198180"/>
                </a:lnTo>
                <a:lnTo>
                  <a:pt x="4094" y="212849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7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3"/>
                </a:lnTo>
                <a:lnTo>
                  <a:pt x="49876" y="299561"/>
                </a:lnTo>
                <a:lnTo>
                  <a:pt x="59830" y="309002"/>
                </a:lnTo>
                <a:lnTo>
                  <a:pt x="70485" y="317539"/>
                </a:lnTo>
                <a:lnTo>
                  <a:pt x="81788" y="325119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2"/>
                </a:lnTo>
                <a:lnTo>
                  <a:pt x="169068" y="347110"/>
                </a:lnTo>
                <a:lnTo>
                  <a:pt x="182985" y="345647"/>
                </a:lnTo>
                <a:lnTo>
                  <a:pt x="196529" y="342927"/>
                </a:lnTo>
                <a:lnTo>
                  <a:pt x="209649" y="339005"/>
                </a:lnTo>
                <a:lnTo>
                  <a:pt x="222294" y="333937"/>
                </a:lnTo>
                <a:lnTo>
                  <a:pt x="234412" y="327778"/>
                </a:lnTo>
                <a:lnTo>
                  <a:pt x="245952" y="320584"/>
                </a:lnTo>
                <a:lnTo>
                  <a:pt x="256863" y="312410"/>
                </a:lnTo>
                <a:lnTo>
                  <a:pt x="267094" y="303312"/>
                </a:lnTo>
                <a:lnTo>
                  <a:pt x="276594" y="293344"/>
                </a:lnTo>
                <a:lnTo>
                  <a:pt x="285310" y="282563"/>
                </a:lnTo>
                <a:lnTo>
                  <a:pt x="293194" y="271024"/>
                </a:lnTo>
                <a:lnTo>
                  <a:pt x="300192" y="258782"/>
                </a:lnTo>
                <a:lnTo>
                  <a:pt x="306254" y="245893"/>
                </a:lnTo>
                <a:lnTo>
                  <a:pt x="311328" y="232412"/>
                </a:lnTo>
                <a:lnTo>
                  <a:pt x="315364" y="218395"/>
                </a:lnTo>
                <a:lnTo>
                  <a:pt x="318311" y="203897"/>
                </a:lnTo>
                <a:lnTo>
                  <a:pt x="320116" y="188974"/>
                </a:lnTo>
                <a:lnTo>
                  <a:pt x="320729" y="173681"/>
                </a:lnTo>
                <a:lnTo>
                  <a:pt x="320497" y="164255"/>
                </a:lnTo>
                <a:lnTo>
                  <a:pt x="319146" y="149182"/>
                </a:lnTo>
                <a:lnTo>
                  <a:pt x="316635" y="134513"/>
                </a:lnTo>
                <a:lnTo>
                  <a:pt x="313014" y="120304"/>
                </a:lnTo>
                <a:lnTo>
                  <a:pt x="308334" y="106609"/>
                </a:lnTo>
                <a:lnTo>
                  <a:pt x="302648" y="93485"/>
                </a:lnTo>
                <a:lnTo>
                  <a:pt x="296005" y="80987"/>
                </a:lnTo>
                <a:lnTo>
                  <a:pt x="288458" y="69169"/>
                </a:lnTo>
                <a:lnTo>
                  <a:pt x="280057" y="58089"/>
                </a:lnTo>
                <a:lnTo>
                  <a:pt x="270854" y="47800"/>
                </a:lnTo>
                <a:lnTo>
                  <a:pt x="260899" y="38360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1" y="251"/>
                </a:lnTo>
                <a:lnTo>
                  <a:pt x="137744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5" y="13424"/>
                </a:lnTo>
                <a:lnTo>
                  <a:pt x="86317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50"/>
                </a:lnTo>
                <a:lnTo>
                  <a:pt x="44135" y="54017"/>
                </a:lnTo>
                <a:lnTo>
                  <a:pt x="35418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9"/>
                </a:lnTo>
                <a:lnTo>
                  <a:pt x="5364" y="128966"/>
                </a:lnTo>
                <a:lnTo>
                  <a:pt x="2418" y="143464"/>
                </a:lnTo>
                <a:lnTo>
                  <a:pt x="613" y="158387"/>
                </a:lnTo>
                <a:lnTo>
                  <a:pt x="0" y="173681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4" name="object 24"/>
          <p:cNvSpPr/>
          <p:nvPr/>
        </p:nvSpPr>
        <p:spPr>
          <a:xfrm>
            <a:off x="6361936" y="579347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5" name="object 25"/>
          <p:cNvSpPr/>
          <p:nvPr/>
        </p:nvSpPr>
        <p:spPr>
          <a:xfrm>
            <a:off x="5880842" y="573498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1"/>
                </a:moveTo>
                <a:lnTo>
                  <a:pt x="232" y="183107"/>
                </a:lnTo>
                <a:lnTo>
                  <a:pt x="1583" y="198180"/>
                </a:lnTo>
                <a:lnTo>
                  <a:pt x="4094" y="212849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7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3"/>
                </a:lnTo>
                <a:lnTo>
                  <a:pt x="49876" y="299561"/>
                </a:lnTo>
                <a:lnTo>
                  <a:pt x="59830" y="309002"/>
                </a:lnTo>
                <a:lnTo>
                  <a:pt x="70485" y="317539"/>
                </a:lnTo>
                <a:lnTo>
                  <a:pt x="81788" y="325119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2"/>
                </a:lnTo>
                <a:lnTo>
                  <a:pt x="169069" y="347110"/>
                </a:lnTo>
                <a:lnTo>
                  <a:pt x="182986" y="345647"/>
                </a:lnTo>
                <a:lnTo>
                  <a:pt x="196530" y="342927"/>
                </a:lnTo>
                <a:lnTo>
                  <a:pt x="209650" y="339005"/>
                </a:lnTo>
                <a:lnTo>
                  <a:pt x="222295" y="333937"/>
                </a:lnTo>
                <a:lnTo>
                  <a:pt x="234413" y="327778"/>
                </a:lnTo>
                <a:lnTo>
                  <a:pt x="245953" y="320584"/>
                </a:lnTo>
                <a:lnTo>
                  <a:pt x="256864" y="312410"/>
                </a:lnTo>
                <a:lnTo>
                  <a:pt x="267095" y="303311"/>
                </a:lnTo>
                <a:lnTo>
                  <a:pt x="276595" y="293344"/>
                </a:lnTo>
                <a:lnTo>
                  <a:pt x="285311" y="282563"/>
                </a:lnTo>
                <a:lnTo>
                  <a:pt x="293195" y="271024"/>
                </a:lnTo>
                <a:lnTo>
                  <a:pt x="300193" y="258782"/>
                </a:lnTo>
                <a:lnTo>
                  <a:pt x="306255" y="245893"/>
                </a:lnTo>
                <a:lnTo>
                  <a:pt x="311330" y="232412"/>
                </a:lnTo>
                <a:lnTo>
                  <a:pt x="315366" y="218395"/>
                </a:lnTo>
                <a:lnTo>
                  <a:pt x="318312" y="203897"/>
                </a:lnTo>
                <a:lnTo>
                  <a:pt x="320117" y="188974"/>
                </a:lnTo>
                <a:lnTo>
                  <a:pt x="320730" y="173681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8" y="93484"/>
                </a:lnTo>
                <a:lnTo>
                  <a:pt x="296006" y="80986"/>
                </a:lnTo>
                <a:lnTo>
                  <a:pt x="288458" y="69169"/>
                </a:lnTo>
                <a:lnTo>
                  <a:pt x="280057" y="58088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1" y="251"/>
                </a:lnTo>
                <a:lnTo>
                  <a:pt x="137744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5" y="13424"/>
                </a:lnTo>
                <a:lnTo>
                  <a:pt x="86317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50"/>
                </a:lnTo>
                <a:lnTo>
                  <a:pt x="44135" y="54017"/>
                </a:lnTo>
                <a:lnTo>
                  <a:pt x="35418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9"/>
                </a:lnTo>
                <a:lnTo>
                  <a:pt x="5364" y="128966"/>
                </a:lnTo>
                <a:lnTo>
                  <a:pt x="2418" y="143464"/>
                </a:lnTo>
                <a:lnTo>
                  <a:pt x="613" y="158387"/>
                </a:lnTo>
                <a:lnTo>
                  <a:pt x="0" y="173681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8" name="object 28"/>
          <p:cNvSpPr/>
          <p:nvPr/>
        </p:nvSpPr>
        <p:spPr>
          <a:xfrm>
            <a:off x="4557260" y="58683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9" name="object 29"/>
          <p:cNvSpPr/>
          <p:nvPr/>
        </p:nvSpPr>
        <p:spPr>
          <a:xfrm>
            <a:off x="5107607" y="583061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232" y="183107"/>
                </a:lnTo>
                <a:lnTo>
                  <a:pt x="1583" y="198180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1" y="253877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2" y="289273"/>
                </a:lnTo>
                <a:lnTo>
                  <a:pt x="49876" y="299561"/>
                </a:lnTo>
                <a:lnTo>
                  <a:pt x="59830" y="309002"/>
                </a:lnTo>
                <a:lnTo>
                  <a:pt x="70485" y="317539"/>
                </a:lnTo>
                <a:lnTo>
                  <a:pt x="81788" y="325119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7"/>
                </a:lnTo>
                <a:lnTo>
                  <a:pt x="196530" y="342927"/>
                </a:lnTo>
                <a:lnTo>
                  <a:pt x="209650" y="339005"/>
                </a:lnTo>
                <a:lnTo>
                  <a:pt x="222295" y="333937"/>
                </a:lnTo>
                <a:lnTo>
                  <a:pt x="234413" y="327778"/>
                </a:lnTo>
                <a:lnTo>
                  <a:pt x="245953" y="320584"/>
                </a:lnTo>
                <a:lnTo>
                  <a:pt x="256864" y="312410"/>
                </a:lnTo>
                <a:lnTo>
                  <a:pt x="267095" y="303311"/>
                </a:lnTo>
                <a:lnTo>
                  <a:pt x="276594" y="293344"/>
                </a:lnTo>
                <a:lnTo>
                  <a:pt x="285311" y="282563"/>
                </a:lnTo>
                <a:lnTo>
                  <a:pt x="293195" y="271024"/>
                </a:lnTo>
                <a:lnTo>
                  <a:pt x="300193" y="258782"/>
                </a:lnTo>
                <a:lnTo>
                  <a:pt x="306255" y="245893"/>
                </a:lnTo>
                <a:lnTo>
                  <a:pt x="311330" y="232412"/>
                </a:lnTo>
                <a:lnTo>
                  <a:pt x="315366" y="218395"/>
                </a:lnTo>
                <a:lnTo>
                  <a:pt x="318312" y="203897"/>
                </a:lnTo>
                <a:lnTo>
                  <a:pt x="320117" y="188974"/>
                </a:lnTo>
                <a:lnTo>
                  <a:pt x="320730" y="173681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8" y="93484"/>
                </a:lnTo>
                <a:lnTo>
                  <a:pt x="296006" y="80986"/>
                </a:lnTo>
                <a:lnTo>
                  <a:pt x="288458" y="69169"/>
                </a:lnTo>
                <a:lnTo>
                  <a:pt x="280057" y="58088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1" y="251"/>
                </a:lnTo>
                <a:lnTo>
                  <a:pt x="137744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5" y="13424"/>
                </a:lnTo>
                <a:lnTo>
                  <a:pt x="86317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50"/>
                </a:lnTo>
                <a:lnTo>
                  <a:pt x="44135" y="54017"/>
                </a:lnTo>
                <a:lnTo>
                  <a:pt x="35418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9"/>
                </a:lnTo>
                <a:lnTo>
                  <a:pt x="5364" y="128966"/>
                </a:lnTo>
                <a:lnTo>
                  <a:pt x="2418" y="143464"/>
                </a:lnTo>
                <a:lnTo>
                  <a:pt x="613" y="158387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0" name="object 30"/>
          <p:cNvSpPr/>
          <p:nvPr/>
        </p:nvSpPr>
        <p:spPr>
          <a:xfrm>
            <a:off x="5107607" y="583061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2" name="object 32"/>
          <p:cNvSpPr/>
          <p:nvPr/>
        </p:nvSpPr>
        <p:spPr>
          <a:xfrm>
            <a:off x="2907043" y="585028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4" name="object 34"/>
          <p:cNvSpPr/>
          <p:nvPr/>
        </p:nvSpPr>
        <p:spPr>
          <a:xfrm>
            <a:off x="7648012" y="578724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6" name="object 36"/>
          <p:cNvSpPr/>
          <p:nvPr/>
        </p:nvSpPr>
        <p:spPr>
          <a:xfrm>
            <a:off x="6593786" y="57902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8" name="object 38"/>
          <p:cNvSpPr/>
          <p:nvPr/>
        </p:nvSpPr>
        <p:spPr>
          <a:xfrm>
            <a:off x="8001594" y="582076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5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0" name="object 40"/>
          <p:cNvSpPr/>
          <p:nvPr/>
        </p:nvSpPr>
        <p:spPr>
          <a:xfrm>
            <a:off x="4724741" y="584823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2" name="object 42"/>
          <p:cNvSpPr/>
          <p:nvPr/>
        </p:nvSpPr>
        <p:spPr>
          <a:xfrm>
            <a:off x="5107607" y="57796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4" name="object 44"/>
          <p:cNvSpPr/>
          <p:nvPr/>
        </p:nvSpPr>
        <p:spPr>
          <a:xfrm>
            <a:off x="3418124" y="578557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6" name="object 46"/>
          <p:cNvSpPr/>
          <p:nvPr/>
        </p:nvSpPr>
        <p:spPr>
          <a:xfrm>
            <a:off x="3257759" y="588072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7" name="object 47"/>
          <p:cNvSpPr/>
          <p:nvPr/>
        </p:nvSpPr>
        <p:spPr>
          <a:xfrm>
            <a:off x="6091186" y="576214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232" y="183107"/>
                </a:lnTo>
                <a:lnTo>
                  <a:pt x="1583" y="198180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1" y="253877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2" y="289273"/>
                </a:lnTo>
                <a:lnTo>
                  <a:pt x="49876" y="299561"/>
                </a:lnTo>
                <a:lnTo>
                  <a:pt x="59830" y="309002"/>
                </a:lnTo>
                <a:lnTo>
                  <a:pt x="70485" y="317539"/>
                </a:lnTo>
                <a:lnTo>
                  <a:pt x="81788" y="325119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7"/>
                </a:lnTo>
                <a:lnTo>
                  <a:pt x="196530" y="342927"/>
                </a:lnTo>
                <a:lnTo>
                  <a:pt x="209650" y="339005"/>
                </a:lnTo>
                <a:lnTo>
                  <a:pt x="222295" y="333937"/>
                </a:lnTo>
                <a:lnTo>
                  <a:pt x="234413" y="327778"/>
                </a:lnTo>
                <a:lnTo>
                  <a:pt x="245953" y="320584"/>
                </a:lnTo>
                <a:lnTo>
                  <a:pt x="256864" y="312410"/>
                </a:lnTo>
                <a:lnTo>
                  <a:pt x="267095" y="303311"/>
                </a:lnTo>
                <a:lnTo>
                  <a:pt x="276594" y="293344"/>
                </a:lnTo>
                <a:lnTo>
                  <a:pt x="285311" y="282563"/>
                </a:lnTo>
                <a:lnTo>
                  <a:pt x="293195" y="271024"/>
                </a:lnTo>
                <a:lnTo>
                  <a:pt x="300193" y="258782"/>
                </a:lnTo>
                <a:lnTo>
                  <a:pt x="306255" y="245893"/>
                </a:lnTo>
                <a:lnTo>
                  <a:pt x="311330" y="232412"/>
                </a:lnTo>
                <a:lnTo>
                  <a:pt x="315366" y="218395"/>
                </a:lnTo>
                <a:lnTo>
                  <a:pt x="318312" y="203897"/>
                </a:lnTo>
                <a:lnTo>
                  <a:pt x="320117" y="188974"/>
                </a:lnTo>
                <a:lnTo>
                  <a:pt x="320730" y="173681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8" y="93484"/>
                </a:lnTo>
                <a:lnTo>
                  <a:pt x="296006" y="80986"/>
                </a:lnTo>
                <a:lnTo>
                  <a:pt x="288458" y="69169"/>
                </a:lnTo>
                <a:lnTo>
                  <a:pt x="280057" y="58088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1" y="251"/>
                </a:lnTo>
                <a:lnTo>
                  <a:pt x="137744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5" y="13424"/>
                </a:lnTo>
                <a:lnTo>
                  <a:pt x="86317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50"/>
                </a:lnTo>
                <a:lnTo>
                  <a:pt x="44135" y="54017"/>
                </a:lnTo>
                <a:lnTo>
                  <a:pt x="35418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9"/>
                </a:lnTo>
                <a:lnTo>
                  <a:pt x="5364" y="128966"/>
                </a:lnTo>
                <a:lnTo>
                  <a:pt x="2418" y="143464"/>
                </a:lnTo>
                <a:lnTo>
                  <a:pt x="613" y="158387"/>
                </a:lnTo>
                <a:lnTo>
                  <a:pt x="0" y="173681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8" name="object 48"/>
          <p:cNvSpPr/>
          <p:nvPr/>
        </p:nvSpPr>
        <p:spPr>
          <a:xfrm>
            <a:off x="6091185" y="576214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0" name="object 50"/>
          <p:cNvSpPr/>
          <p:nvPr/>
        </p:nvSpPr>
        <p:spPr>
          <a:xfrm>
            <a:off x="5239383" y="57900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1" name="object 51"/>
          <p:cNvSpPr/>
          <p:nvPr/>
        </p:nvSpPr>
        <p:spPr>
          <a:xfrm>
            <a:off x="7163762" y="585801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232" y="183106"/>
                </a:lnTo>
                <a:lnTo>
                  <a:pt x="1582" y="198179"/>
                </a:lnTo>
                <a:lnTo>
                  <a:pt x="4094" y="212848"/>
                </a:lnTo>
                <a:lnTo>
                  <a:pt x="7715" y="227057"/>
                </a:lnTo>
                <a:lnTo>
                  <a:pt x="12394" y="240752"/>
                </a:lnTo>
                <a:lnTo>
                  <a:pt x="18081" y="253876"/>
                </a:lnTo>
                <a:lnTo>
                  <a:pt x="24723" y="266374"/>
                </a:lnTo>
                <a:lnTo>
                  <a:pt x="32271" y="278192"/>
                </a:lnTo>
                <a:lnTo>
                  <a:pt x="40672" y="289272"/>
                </a:lnTo>
                <a:lnTo>
                  <a:pt x="49875" y="299561"/>
                </a:lnTo>
                <a:lnTo>
                  <a:pt x="59829" y="309001"/>
                </a:lnTo>
                <a:lnTo>
                  <a:pt x="70484" y="317539"/>
                </a:lnTo>
                <a:lnTo>
                  <a:pt x="81787" y="325119"/>
                </a:lnTo>
                <a:lnTo>
                  <a:pt x="93688" y="331684"/>
                </a:lnTo>
                <a:lnTo>
                  <a:pt x="106135" y="337180"/>
                </a:lnTo>
                <a:lnTo>
                  <a:pt x="119077" y="341551"/>
                </a:lnTo>
                <a:lnTo>
                  <a:pt x="132464" y="344742"/>
                </a:lnTo>
                <a:lnTo>
                  <a:pt x="146243" y="346697"/>
                </a:lnTo>
                <a:lnTo>
                  <a:pt x="160364" y="347361"/>
                </a:lnTo>
                <a:lnTo>
                  <a:pt x="169067" y="347110"/>
                </a:lnTo>
                <a:lnTo>
                  <a:pt x="182985" y="345647"/>
                </a:lnTo>
                <a:lnTo>
                  <a:pt x="196529" y="342927"/>
                </a:lnTo>
                <a:lnTo>
                  <a:pt x="209649" y="339005"/>
                </a:lnTo>
                <a:lnTo>
                  <a:pt x="222293" y="333937"/>
                </a:lnTo>
                <a:lnTo>
                  <a:pt x="234411" y="327778"/>
                </a:lnTo>
                <a:lnTo>
                  <a:pt x="245952" y="320584"/>
                </a:lnTo>
                <a:lnTo>
                  <a:pt x="256863" y="312410"/>
                </a:lnTo>
                <a:lnTo>
                  <a:pt x="267094" y="303311"/>
                </a:lnTo>
                <a:lnTo>
                  <a:pt x="276593" y="293344"/>
                </a:lnTo>
                <a:lnTo>
                  <a:pt x="285310" y="282563"/>
                </a:lnTo>
                <a:lnTo>
                  <a:pt x="293193" y="271024"/>
                </a:lnTo>
                <a:lnTo>
                  <a:pt x="300192" y="258782"/>
                </a:lnTo>
                <a:lnTo>
                  <a:pt x="306254" y="245893"/>
                </a:lnTo>
                <a:lnTo>
                  <a:pt x="311328" y="232412"/>
                </a:lnTo>
                <a:lnTo>
                  <a:pt x="315364" y="218395"/>
                </a:lnTo>
                <a:lnTo>
                  <a:pt x="318311" y="203897"/>
                </a:lnTo>
                <a:lnTo>
                  <a:pt x="320116" y="188974"/>
                </a:lnTo>
                <a:lnTo>
                  <a:pt x="320729" y="173680"/>
                </a:lnTo>
                <a:lnTo>
                  <a:pt x="320497" y="164254"/>
                </a:lnTo>
                <a:lnTo>
                  <a:pt x="319146" y="149181"/>
                </a:lnTo>
                <a:lnTo>
                  <a:pt x="316634" y="134512"/>
                </a:lnTo>
                <a:lnTo>
                  <a:pt x="313013" y="120303"/>
                </a:lnTo>
                <a:lnTo>
                  <a:pt x="308334" y="106609"/>
                </a:lnTo>
                <a:lnTo>
                  <a:pt x="302647" y="93484"/>
                </a:lnTo>
                <a:lnTo>
                  <a:pt x="296005" y="80986"/>
                </a:lnTo>
                <a:lnTo>
                  <a:pt x="288457" y="69169"/>
                </a:lnTo>
                <a:lnTo>
                  <a:pt x="280056" y="58088"/>
                </a:lnTo>
                <a:lnTo>
                  <a:pt x="270853" y="47800"/>
                </a:lnTo>
                <a:lnTo>
                  <a:pt x="260898" y="38359"/>
                </a:lnTo>
                <a:lnTo>
                  <a:pt x="250244" y="29822"/>
                </a:lnTo>
                <a:lnTo>
                  <a:pt x="238941" y="22242"/>
                </a:lnTo>
                <a:lnTo>
                  <a:pt x="227040" y="15677"/>
                </a:lnTo>
                <a:lnTo>
                  <a:pt x="214592" y="10181"/>
                </a:lnTo>
                <a:lnTo>
                  <a:pt x="201650" y="5810"/>
                </a:lnTo>
                <a:lnTo>
                  <a:pt x="188264" y="2619"/>
                </a:lnTo>
                <a:lnTo>
                  <a:pt x="174484" y="664"/>
                </a:lnTo>
                <a:lnTo>
                  <a:pt x="160364" y="0"/>
                </a:lnTo>
                <a:lnTo>
                  <a:pt x="151661" y="251"/>
                </a:lnTo>
                <a:lnTo>
                  <a:pt x="137744" y="1714"/>
                </a:lnTo>
                <a:lnTo>
                  <a:pt x="124199" y="4434"/>
                </a:lnTo>
                <a:lnTo>
                  <a:pt x="111079" y="8356"/>
                </a:lnTo>
                <a:lnTo>
                  <a:pt x="98435" y="13424"/>
                </a:lnTo>
                <a:lnTo>
                  <a:pt x="86317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5" y="54017"/>
                </a:lnTo>
                <a:lnTo>
                  <a:pt x="35418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9"/>
                </a:lnTo>
                <a:lnTo>
                  <a:pt x="5364" y="128966"/>
                </a:lnTo>
                <a:lnTo>
                  <a:pt x="2418" y="143464"/>
                </a:lnTo>
                <a:lnTo>
                  <a:pt x="613" y="15838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4" name="object 54"/>
          <p:cNvSpPr/>
          <p:nvPr/>
        </p:nvSpPr>
        <p:spPr>
          <a:xfrm>
            <a:off x="5359085" y="585327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6" name="object 56"/>
          <p:cNvSpPr/>
          <p:nvPr/>
        </p:nvSpPr>
        <p:spPr>
          <a:xfrm>
            <a:off x="7171053" y="580535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7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9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8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50" y="291973"/>
                </a:lnTo>
                <a:lnTo>
                  <a:pt x="302221" y="281377"/>
                </a:lnTo>
                <a:lnTo>
                  <a:pt x="310252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8" name="object 58"/>
          <p:cNvSpPr/>
          <p:nvPr/>
        </p:nvSpPr>
        <p:spPr>
          <a:xfrm>
            <a:off x="5531142" y="57796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0" name="object 60"/>
          <p:cNvSpPr/>
          <p:nvPr/>
        </p:nvSpPr>
        <p:spPr>
          <a:xfrm>
            <a:off x="7356198" y="58085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2" name="object 62"/>
          <p:cNvSpPr/>
          <p:nvPr/>
        </p:nvSpPr>
        <p:spPr>
          <a:xfrm>
            <a:off x="6172602" y="56843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4" name="object 64"/>
          <p:cNvSpPr/>
          <p:nvPr/>
        </p:nvSpPr>
        <p:spPr>
          <a:xfrm>
            <a:off x="4877989" y="580535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6" name="object 66"/>
          <p:cNvSpPr/>
          <p:nvPr/>
        </p:nvSpPr>
        <p:spPr>
          <a:xfrm>
            <a:off x="5581873" y="580884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8" name="object 68"/>
          <p:cNvSpPr/>
          <p:nvPr/>
        </p:nvSpPr>
        <p:spPr>
          <a:xfrm>
            <a:off x="5930822" y="578724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0" name="object 70"/>
          <p:cNvSpPr/>
          <p:nvPr/>
        </p:nvSpPr>
        <p:spPr>
          <a:xfrm>
            <a:off x="3899218" y="582076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4" name="object 74"/>
          <p:cNvSpPr/>
          <p:nvPr/>
        </p:nvSpPr>
        <p:spPr>
          <a:xfrm>
            <a:off x="3578489" y="578724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5" name="object 75"/>
          <p:cNvSpPr/>
          <p:nvPr/>
        </p:nvSpPr>
        <p:spPr>
          <a:xfrm>
            <a:off x="6361937" y="580297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232" y="183107"/>
                </a:lnTo>
                <a:lnTo>
                  <a:pt x="1583" y="198180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1" y="253877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2" y="289273"/>
                </a:lnTo>
                <a:lnTo>
                  <a:pt x="49876" y="299561"/>
                </a:lnTo>
                <a:lnTo>
                  <a:pt x="59830" y="309002"/>
                </a:lnTo>
                <a:lnTo>
                  <a:pt x="70485" y="317539"/>
                </a:lnTo>
                <a:lnTo>
                  <a:pt x="81788" y="325119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8" y="347110"/>
                </a:lnTo>
                <a:lnTo>
                  <a:pt x="182985" y="345647"/>
                </a:lnTo>
                <a:lnTo>
                  <a:pt x="196529" y="342927"/>
                </a:lnTo>
                <a:lnTo>
                  <a:pt x="209649" y="339005"/>
                </a:lnTo>
                <a:lnTo>
                  <a:pt x="222294" y="333937"/>
                </a:lnTo>
                <a:lnTo>
                  <a:pt x="234412" y="327778"/>
                </a:lnTo>
                <a:lnTo>
                  <a:pt x="245952" y="320584"/>
                </a:lnTo>
                <a:lnTo>
                  <a:pt x="256863" y="312410"/>
                </a:lnTo>
                <a:lnTo>
                  <a:pt x="267094" y="303312"/>
                </a:lnTo>
                <a:lnTo>
                  <a:pt x="276594" y="293344"/>
                </a:lnTo>
                <a:lnTo>
                  <a:pt x="285310" y="282563"/>
                </a:lnTo>
                <a:lnTo>
                  <a:pt x="293194" y="271024"/>
                </a:lnTo>
                <a:lnTo>
                  <a:pt x="300192" y="258782"/>
                </a:lnTo>
                <a:lnTo>
                  <a:pt x="306254" y="245893"/>
                </a:lnTo>
                <a:lnTo>
                  <a:pt x="311328" y="232412"/>
                </a:lnTo>
                <a:lnTo>
                  <a:pt x="315364" y="218395"/>
                </a:lnTo>
                <a:lnTo>
                  <a:pt x="318311" y="203897"/>
                </a:lnTo>
                <a:lnTo>
                  <a:pt x="320116" y="188974"/>
                </a:lnTo>
                <a:lnTo>
                  <a:pt x="320729" y="173681"/>
                </a:lnTo>
                <a:lnTo>
                  <a:pt x="320497" y="164255"/>
                </a:lnTo>
                <a:lnTo>
                  <a:pt x="319146" y="149182"/>
                </a:lnTo>
                <a:lnTo>
                  <a:pt x="316635" y="134513"/>
                </a:lnTo>
                <a:lnTo>
                  <a:pt x="313014" y="120304"/>
                </a:lnTo>
                <a:lnTo>
                  <a:pt x="308334" y="106609"/>
                </a:lnTo>
                <a:lnTo>
                  <a:pt x="302648" y="93485"/>
                </a:lnTo>
                <a:lnTo>
                  <a:pt x="296005" y="80986"/>
                </a:lnTo>
                <a:lnTo>
                  <a:pt x="288458" y="69169"/>
                </a:lnTo>
                <a:lnTo>
                  <a:pt x="280057" y="58089"/>
                </a:lnTo>
                <a:lnTo>
                  <a:pt x="270854" y="47800"/>
                </a:lnTo>
                <a:lnTo>
                  <a:pt x="260899" y="38360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1" y="251"/>
                </a:lnTo>
                <a:lnTo>
                  <a:pt x="137744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5" y="13424"/>
                </a:lnTo>
                <a:lnTo>
                  <a:pt x="86317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50"/>
                </a:lnTo>
                <a:lnTo>
                  <a:pt x="44135" y="54017"/>
                </a:lnTo>
                <a:lnTo>
                  <a:pt x="35418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9"/>
                </a:lnTo>
                <a:lnTo>
                  <a:pt x="5364" y="128966"/>
                </a:lnTo>
                <a:lnTo>
                  <a:pt x="2418" y="143464"/>
                </a:lnTo>
                <a:lnTo>
                  <a:pt x="613" y="158387"/>
                </a:lnTo>
                <a:lnTo>
                  <a:pt x="0" y="173681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8" name="object 78"/>
          <p:cNvSpPr/>
          <p:nvPr/>
        </p:nvSpPr>
        <p:spPr>
          <a:xfrm>
            <a:off x="6754153" y="580401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5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1" name="object 74"/>
          <p:cNvSpPr/>
          <p:nvPr/>
        </p:nvSpPr>
        <p:spPr>
          <a:xfrm>
            <a:off x="6507677" y="5803468"/>
            <a:ext cx="394167" cy="381727"/>
          </a:xfrm>
          <a:custGeom>
            <a:avLst/>
            <a:gdLst/>
            <a:ahLst/>
            <a:cxnLst/>
            <a:rect l="l" t="t" r="r" b="b"/>
            <a:pathLst>
              <a:path w="394167" h="381727">
                <a:moveTo>
                  <a:pt x="0" y="0"/>
                </a:moveTo>
                <a:lnTo>
                  <a:pt x="394167" y="0"/>
                </a:lnTo>
                <a:lnTo>
                  <a:pt x="394167" y="381727"/>
                </a:lnTo>
                <a:lnTo>
                  <a:pt x="0" y="381727"/>
                </a:lnTo>
                <a:lnTo>
                  <a:pt x="0" y="0"/>
                </a:lnTo>
                <a:close/>
              </a:path>
            </a:pathLst>
          </a:custGeom>
          <a:solidFill>
            <a:srgbClr val="59BAD1"/>
          </a:solidFill>
          <a:ln w="57150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5" name="object 74"/>
          <p:cNvSpPr/>
          <p:nvPr/>
        </p:nvSpPr>
        <p:spPr>
          <a:xfrm>
            <a:off x="7835433" y="5803468"/>
            <a:ext cx="394167" cy="381727"/>
          </a:xfrm>
          <a:custGeom>
            <a:avLst/>
            <a:gdLst/>
            <a:ahLst/>
            <a:cxnLst/>
            <a:rect l="l" t="t" r="r" b="b"/>
            <a:pathLst>
              <a:path w="394167" h="381727">
                <a:moveTo>
                  <a:pt x="0" y="0"/>
                </a:moveTo>
                <a:lnTo>
                  <a:pt x="394167" y="0"/>
                </a:lnTo>
                <a:lnTo>
                  <a:pt x="394167" y="381727"/>
                </a:lnTo>
                <a:lnTo>
                  <a:pt x="0" y="381727"/>
                </a:lnTo>
                <a:lnTo>
                  <a:pt x="0" y="0"/>
                </a:lnTo>
                <a:close/>
              </a:path>
            </a:pathLst>
          </a:custGeom>
          <a:solidFill>
            <a:srgbClr val="FAA757"/>
          </a:solidFill>
          <a:ln w="57150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9" name="object 32"/>
          <p:cNvSpPr/>
          <p:nvPr/>
        </p:nvSpPr>
        <p:spPr>
          <a:xfrm>
            <a:off x="3084023" y="585028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3" name="object 50"/>
          <p:cNvSpPr/>
          <p:nvPr/>
        </p:nvSpPr>
        <p:spPr>
          <a:xfrm>
            <a:off x="3234945" y="5803468"/>
            <a:ext cx="394167" cy="381727"/>
          </a:xfrm>
          <a:custGeom>
            <a:avLst/>
            <a:gdLst/>
            <a:ahLst/>
            <a:cxnLst/>
            <a:rect l="l" t="t" r="r" b="b"/>
            <a:pathLst>
              <a:path w="394167" h="381727">
                <a:moveTo>
                  <a:pt x="0" y="0"/>
                </a:moveTo>
                <a:lnTo>
                  <a:pt x="394167" y="0"/>
                </a:lnTo>
                <a:lnTo>
                  <a:pt x="394167" y="381727"/>
                </a:lnTo>
                <a:lnTo>
                  <a:pt x="0" y="381727"/>
                </a:lnTo>
                <a:lnTo>
                  <a:pt x="0" y="0"/>
                </a:lnTo>
                <a:close/>
              </a:path>
            </a:pathLst>
          </a:custGeom>
          <a:solidFill>
            <a:srgbClr val="AAC56C"/>
          </a:solidFill>
          <a:ln w="57150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2" name="object 3"/>
          <p:cNvSpPr txBox="1"/>
          <p:nvPr/>
        </p:nvSpPr>
        <p:spPr>
          <a:xfrm>
            <a:off x="4212239" y="6273889"/>
            <a:ext cx="264576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 algn="ctr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0.7 Income + 0.3</a:t>
            </a:r>
            <a:r>
              <a:rPr lang="en-US" sz="3600" spc="0" baseline="2275" dirty="0" smtClean="0">
                <a:solidFill>
                  <a:srgbClr val="7F7E7E"/>
                </a:solidFill>
                <a:cs typeface="Calibri"/>
              </a:rPr>
              <a:t> Age</a:t>
            </a:r>
            <a:endParaRPr sz="2400" dirty="0"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857296198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0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1" name="object 70"/>
          <p:cNvSpPr/>
          <p:nvPr/>
        </p:nvSpPr>
        <p:spPr>
          <a:xfrm>
            <a:off x="2383438" y="5943600"/>
            <a:ext cx="6303362" cy="0"/>
          </a:xfrm>
          <a:custGeom>
            <a:avLst/>
            <a:gdLst/>
            <a:ahLst/>
            <a:cxnLst/>
            <a:rect l="l" t="t" r="r" b="b"/>
            <a:pathLst>
              <a:path w="6303362">
                <a:moveTo>
                  <a:pt x="0" y="0"/>
                </a:moveTo>
                <a:lnTo>
                  <a:pt x="6303362" y="0"/>
                </a:lnTo>
              </a:path>
            </a:pathLst>
          </a:custGeom>
          <a:ln w="25399">
            <a:solidFill>
              <a:srgbClr val="6094C9"/>
            </a:solidFill>
            <a:headEnd type="none"/>
            <a:tailEnd type="arrow"/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2" name="object 16"/>
          <p:cNvSpPr/>
          <p:nvPr/>
        </p:nvSpPr>
        <p:spPr>
          <a:xfrm>
            <a:off x="2668469" y="583455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3" name="object 17"/>
          <p:cNvSpPr/>
          <p:nvPr/>
        </p:nvSpPr>
        <p:spPr>
          <a:xfrm>
            <a:off x="6273057" y="576957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232" y="183106"/>
                </a:lnTo>
                <a:lnTo>
                  <a:pt x="1582" y="198179"/>
                </a:lnTo>
                <a:lnTo>
                  <a:pt x="4094" y="212848"/>
                </a:lnTo>
                <a:lnTo>
                  <a:pt x="7715" y="227057"/>
                </a:lnTo>
                <a:lnTo>
                  <a:pt x="12394" y="240752"/>
                </a:lnTo>
                <a:lnTo>
                  <a:pt x="18081" y="253876"/>
                </a:lnTo>
                <a:lnTo>
                  <a:pt x="24723" y="266374"/>
                </a:lnTo>
                <a:lnTo>
                  <a:pt x="32271" y="278192"/>
                </a:lnTo>
                <a:lnTo>
                  <a:pt x="40672" y="289272"/>
                </a:lnTo>
                <a:lnTo>
                  <a:pt x="49875" y="299561"/>
                </a:lnTo>
                <a:lnTo>
                  <a:pt x="59829" y="309001"/>
                </a:lnTo>
                <a:lnTo>
                  <a:pt x="70484" y="317539"/>
                </a:lnTo>
                <a:lnTo>
                  <a:pt x="81787" y="325118"/>
                </a:lnTo>
                <a:lnTo>
                  <a:pt x="93688" y="331684"/>
                </a:lnTo>
                <a:lnTo>
                  <a:pt x="106135" y="337180"/>
                </a:lnTo>
                <a:lnTo>
                  <a:pt x="119077" y="341551"/>
                </a:lnTo>
                <a:lnTo>
                  <a:pt x="132464" y="344742"/>
                </a:lnTo>
                <a:lnTo>
                  <a:pt x="146243" y="346697"/>
                </a:lnTo>
                <a:lnTo>
                  <a:pt x="160364" y="347361"/>
                </a:lnTo>
                <a:lnTo>
                  <a:pt x="169067" y="347110"/>
                </a:lnTo>
                <a:lnTo>
                  <a:pt x="182985" y="345647"/>
                </a:lnTo>
                <a:lnTo>
                  <a:pt x="196529" y="342927"/>
                </a:lnTo>
                <a:lnTo>
                  <a:pt x="209649" y="339005"/>
                </a:lnTo>
                <a:lnTo>
                  <a:pt x="222293" y="333937"/>
                </a:lnTo>
                <a:lnTo>
                  <a:pt x="234411" y="327778"/>
                </a:lnTo>
                <a:lnTo>
                  <a:pt x="245951" y="320584"/>
                </a:lnTo>
                <a:lnTo>
                  <a:pt x="256863" y="312410"/>
                </a:lnTo>
                <a:lnTo>
                  <a:pt x="267094" y="303311"/>
                </a:lnTo>
                <a:lnTo>
                  <a:pt x="276593" y="293344"/>
                </a:lnTo>
                <a:lnTo>
                  <a:pt x="285310" y="282563"/>
                </a:lnTo>
                <a:lnTo>
                  <a:pt x="293193" y="271024"/>
                </a:lnTo>
                <a:lnTo>
                  <a:pt x="300192" y="258782"/>
                </a:lnTo>
                <a:lnTo>
                  <a:pt x="306254" y="245893"/>
                </a:lnTo>
                <a:lnTo>
                  <a:pt x="311328" y="232412"/>
                </a:lnTo>
                <a:lnTo>
                  <a:pt x="315364" y="218395"/>
                </a:lnTo>
                <a:lnTo>
                  <a:pt x="318311" y="203897"/>
                </a:lnTo>
                <a:lnTo>
                  <a:pt x="320116" y="188974"/>
                </a:lnTo>
                <a:lnTo>
                  <a:pt x="320729" y="173681"/>
                </a:lnTo>
                <a:lnTo>
                  <a:pt x="320497" y="164254"/>
                </a:lnTo>
                <a:lnTo>
                  <a:pt x="319146" y="149181"/>
                </a:lnTo>
                <a:lnTo>
                  <a:pt x="316634" y="134512"/>
                </a:lnTo>
                <a:lnTo>
                  <a:pt x="313013" y="120303"/>
                </a:lnTo>
                <a:lnTo>
                  <a:pt x="308334" y="106609"/>
                </a:lnTo>
                <a:lnTo>
                  <a:pt x="302647" y="93484"/>
                </a:lnTo>
                <a:lnTo>
                  <a:pt x="296004" y="80986"/>
                </a:lnTo>
                <a:lnTo>
                  <a:pt x="288457" y="69169"/>
                </a:lnTo>
                <a:lnTo>
                  <a:pt x="280056" y="58088"/>
                </a:lnTo>
                <a:lnTo>
                  <a:pt x="270853" y="47800"/>
                </a:lnTo>
                <a:lnTo>
                  <a:pt x="260898" y="38359"/>
                </a:lnTo>
                <a:lnTo>
                  <a:pt x="250244" y="29822"/>
                </a:lnTo>
                <a:lnTo>
                  <a:pt x="238941" y="22242"/>
                </a:lnTo>
                <a:lnTo>
                  <a:pt x="227040" y="15677"/>
                </a:lnTo>
                <a:lnTo>
                  <a:pt x="214592" y="10181"/>
                </a:lnTo>
                <a:lnTo>
                  <a:pt x="201650" y="5810"/>
                </a:lnTo>
                <a:lnTo>
                  <a:pt x="188264" y="2619"/>
                </a:lnTo>
                <a:lnTo>
                  <a:pt x="174484" y="664"/>
                </a:lnTo>
                <a:lnTo>
                  <a:pt x="160364" y="0"/>
                </a:lnTo>
                <a:lnTo>
                  <a:pt x="151661" y="251"/>
                </a:lnTo>
                <a:lnTo>
                  <a:pt x="137744" y="1714"/>
                </a:lnTo>
                <a:lnTo>
                  <a:pt x="124199" y="4434"/>
                </a:lnTo>
                <a:lnTo>
                  <a:pt x="111079" y="8356"/>
                </a:lnTo>
                <a:lnTo>
                  <a:pt x="98435" y="13424"/>
                </a:lnTo>
                <a:lnTo>
                  <a:pt x="86317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5" y="54017"/>
                </a:lnTo>
                <a:lnTo>
                  <a:pt x="35418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9"/>
                </a:lnTo>
                <a:lnTo>
                  <a:pt x="5364" y="128966"/>
                </a:lnTo>
                <a:lnTo>
                  <a:pt x="2418" y="143464"/>
                </a:lnTo>
                <a:lnTo>
                  <a:pt x="613" y="158387"/>
                </a:lnTo>
                <a:lnTo>
                  <a:pt x="0" y="173681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4" name="object 18"/>
          <p:cNvSpPr/>
          <p:nvPr/>
        </p:nvSpPr>
        <p:spPr>
          <a:xfrm>
            <a:off x="6273057" y="576957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5" name="object 19"/>
          <p:cNvSpPr/>
          <p:nvPr/>
        </p:nvSpPr>
        <p:spPr>
          <a:xfrm>
            <a:off x="5853655" y="571095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232" y="183106"/>
                </a:lnTo>
                <a:lnTo>
                  <a:pt x="1582" y="198179"/>
                </a:lnTo>
                <a:lnTo>
                  <a:pt x="4094" y="212848"/>
                </a:lnTo>
                <a:lnTo>
                  <a:pt x="7715" y="227057"/>
                </a:lnTo>
                <a:lnTo>
                  <a:pt x="12394" y="240752"/>
                </a:lnTo>
                <a:lnTo>
                  <a:pt x="18081" y="253876"/>
                </a:lnTo>
                <a:lnTo>
                  <a:pt x="24723" y="266374"/>
                </a:lnTo>
                <a:lnTo>
                  <a:pt x="32271" y="278192"/>
                </a:lnTo>
                <a:lnTo>
                  <a:pt x="40672" y="289272"/>
                </a:lnTo>
                <a:lnTo>
                  <a:pt x="49875" y="299561"/>
                </a:lnTo>
                <a:lnTo>
                  <a:pt x="59829" y="309001"/>
                </a:lnTo>
                <a:lnTo>
                  <a:pt x="70484" y="317539"/>
                </a:lnTo>
                <a:lnTo>
                  <a:pt x="81787" y="325119"/>
                </a:lnTo>
                <a:lnTo>
                  <a:pt x="93688" y="331684"/>
                </a:lnTo>
                <a:lnTo>
                  <a:pt x="106135" y="337180"/>
                </a:lnTo>
                <a:lnTo>
                  <a:pt x="119077" y="341551"/>
                </a:lnTo>
                <a:lnTo>
                  <a:pt x="132464" y="344742"/>
                </a:lnTo>
                <a:lnTo>
                  <a:pt x="146243" y="346697"/>
                </a:lnTo>
                <a:lnTo>
                  <a:pt x="160364" y="347361"/>
                </a:lnTo>
                <a:lnTo>
                  <a:pt x="169067" y="347110"/>
                </a:lnTo>
                <a:lnTo>
                  <a:pt x="182985" y="345647"/>
                </a:lnTo>
                <a:lnTo>
                  <a:pt x="196529" y="342927"/>
                </a:lnTo>
                <a:lnTo>
                  <a:pt x="209649" y="339005"/>
                </a:lnTo>
                <a:lnTo>
                  <a:pt x="222293" y="333937"/>
                </a:lnTo>
                <a:lnTo>
                  <a:pt x="234411" y="327778"/>
                </a:lnTo>
                <a:lnTo>
                  <a:pt x="245952" y="320584"/>
                </a:lnTo>
                <a:lnTo>
                  <a:pt x="256863" y="312410"/>
                </a:lnTo>
                <a:lnTo>
                  <a:pt x="267094" y="303311"/>
                </a:lnTo>
                <a:lnTo>
                  <a:pt x="276593" y="293344"/>
                </a:lnTo>
                <a:lnTo>
                  <a:pt x="285310" y="282563"/>
                </a:lnTo>
                <a:lnTo>
                  <a:pt x="293193" y="271024"/>
                </a:lnTo>
                <a:lnTo>
                  <a:pt x="300192" y="258782"/>
                </a:lnTo>
                <a:lnTo>
                  <a:pt x="306254" y="245893"/>
                </a:lnTo>
                <a:lnTo>
                  <a:pt x="311328" y="232412"/>
                </a:lnTo>
                <a:lnTo>
                  <a:pt x="315364" y="218395"/>
                </a:lnTo>
                <a:lnTo>
                  <a:pt x="318311" y="203897"/>
                </a:lnTo>
                <a:lnTo>
                  <a:pt x="320116" y="188974"/>
                </a:lnTo>
                <a:lnTo>
                  <a:pt x="320729" y="173680"/>
                </a:lnTo>
                <a:lnTo>
                  <a:pt x="320497" y="164254"/>
                </a:lnTo>
                <a:lnTo>
                  <a:pt x="319146" y="149181"/>
                </a:lnTo>
                <a:lnTo>
                  <a:pt x="316634" y="134512"/>
                </a:lnTo>
                <a:lnTo>
                  <a:pt x="313013" y="120303"/>
                </a:lnTo>
                <a:lnTo>
                  <a:pt x="308334" y="106609"/>
                </a:lnTo>
                <a:lnTo>
                  <a:pt x="302647" y="93484"/>
                </a:lnTo>
                <a:lnTo>
                  <a:pt x="296005" y="80986"/>
                </a:lnTo>
                <a:lnTo>
                  <a:pt x="288457" y="69169"/>
                </a:lnTo>
                <a:lnTo>
                  <a:pt x="280056" y="58088"/>
                </a:lnTo>
                <a:lnTo>
                  <a:pt x="270853" y="47800"/>
                </a:lnTo>
                <a:lnTo>
                  <a:pt x="260898" y="38359"/>
                </a:lnTo>
                <a:lnTo>
                  <a:pt x="250244" y="29822"/>
                </a:lnTo>
                <a:lnTo>
                  <a:pt x="238941" y="22242"/>
                </a:lnTo>
                <a:lnTo>
                  <a:pt x="227040" y="15677"/>
                </a:lnTo>
                <a:lnTo>
                  <a:pt x="214592" y="10181"/>
                </a:lnTo>
                <a:lnTo>
                  <a:pt x="201650" y="5810"/>
                </a:lnTo>
                <a:lnTo>
                  <a:pt x="188264" y="2619"/>
                </a:lnTo>
                <a:lnTo>
                  <a:pt x="174484" y="664"/>
                </a:lnTo>
                <a:lnTo>
                  <a:pt x="160364" y="0"/>
                </a:lnTo>
                <a:lnTo>
                  <a:pt x="151661" y="251"/>
                </a:lnTo>
                <a:lnTo>
                  <a:pt x="137744" y="1714"/>
                </a:lnTo>
                <a:lnTo>
                  <a:pt x="124199" y="4434"/>
                </a:lnTo>
                <a:lnTo>
                  <a:pt x="111079" y="8356"/>
                </a:lnTo>
                <a:lnTo>
                  <a:pt x="98435" y="13424"/>
                </a:lnTo>
                <a:lnTo>
                  <a:pt x="86317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5" y="54017"/>
                </a:lnTo>
                <a:lnTo>
                  <a:pt x="35418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9"/>
                </a:lnTo>
                <a:lnTo>
                  <a:pt x="5364" y="128966"/>
                </a:lnTo>
                <a:lnTo>
                  <a:pt x="2418" y="143464"/>
                </a:lnTo>
                <a:lnTo>
                  <a:pt x="613" y="158387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6" name="object 21"/>
          <p:cNvSpPr/>
          <p:nvPr/>
        </p:nvSpPr>
        <p:spPr>
          <a:xfrm>
            <a:off x="5300557" y="587860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232" y="183107"/>
                </a:lnTo>
                <a:lnTo>
                  <a:pt x="1583" y="198180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7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3"/>
                </a:lnTo>
                <a:lnTo>
                  <a:pt x="49876" y="299561"/>
                </a:lnTo>
                <a:lnTo>
                  <a:pt x="59830" y="309002"/>
                </a:lnTo>
                <a:lnTo>
                  <a:pt x="70485" y="317539"/>
                </a:lnTo>
                <a:lnTo>
                  <a:pt x="81788" y="325119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8" y="347110"/>
                </a:lnTo>
                <a:lnTo>
                  <a:pt x="182985" y="345647"/>
                </a:lnTo>
                <a:lnTo>
                  <a:pt x="196529" y="342927"/>
                </a:lnTo>
                <a:lnTo>
                  <a:pt x="209649" y="339005"/>
                </a:lnTo>
                <a:lnTo>
                  <a:pt x="222293" y="333937"/>
                </a:lnTo>
                <a:lnTo>
                  <a:pt x="234411" y="327778"/>
                </a:lnTo>
                <a:lnTo>
                  <a:pt x="245951" y="320584"/>
                </a:lnTo>
                <a:lnTo>
                  <a:pt x="256863" y="312410"/>
                </a:lnTo>
                <a:lnTo>
                  <a:pt x="267094" y="303312"/>
                </a:lnTo>
                <a:lnTo>
                  <a:pt x="276593" y="293344"/>
                </a:lnTo>
                <a:lnTo>
                  <a:pt x="285310" y="282563"/>
                </a:lnTo>
                <a:lnTo>
                  <a:pt x="293193" y="271024"/>
                </a:lnTo>
                <a:lnTo>
                  <a:pt x="300192" y="258782"/>
                </a:lnTo>
                <a:lnTo>
                  <a:pt x="306254" y="245893"/>
                </a:lnTo>
                <a:lnTo>
                  <a:pt x="311328" y="232412"/>
                </a:lnTo>
                <a:lnTo>
                  <a:pt x="315364" y="218395"/>
                </a:lnTo>
                <a:lnTo>
                  <a:pt x="318311" y="203897"/>
                </a:lnTo>
                <a:lnTo>
                  <a:pt x="320116" y="188974"/>
                </a:lnTo>
                <a:lnTo>
                  <a:pt x="320729" y="173680"/>
                </a:lnTo>
                <a:lnTo>
                  <a:pt x="320497" y="164255"/>
                </a:lnTo>
                <a:lnTo>
                  <a:pt x="319146" y="149182"/>
                </a:lnTo>
                <a:lnTo>
                  <a:pt x="316635" y="134513"/>
                </a:lnTo>
                <a:lnTo>
                  <a:pt x="313014" y="120304"/>
                </a:lnTo>
                <a:lnTo>
                  <a:pt x="308334" y="106609"/>
                </a:lnTo>
                <a:lnTo>
                  <a:pt x="302647" y="93485"/>
                </a:lnTo>
                <a:lnTo>
                  <a:pt x="296005" y="80987"/>
                </a:lnTo>
                <a:lnTo>
                  <a:pt x="288458" y="69169"/>
                </a:lnTo>
                <a:lnTo>
                  <a:pt x="280057" y="58089"/>
                </a:lnTo>
                <a:lnTo>
                  <a:pt x="270853" y="47800"/>
                </a:lnTo>
                <a:lnTo>
                  <a:pt x="260899" y="38360"/>
                </a:lnTo>
                <a:lnTo>
                  <a:pt x="250244" y="29822"/>
                </a:lnTo>
                <a:lnTo>
                  <a:pt x="238941" y="22242"/>
                </a:lnTo>
                <a:lnTo>
                  <a:pt x="227040" y="15677"/>
                </a:lnTo>
                <a:lnTo>
                  <a:pt x="214593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1" y="251"/>
                </a:lnTo>
                <a:lnTo>
                  <a:pt x="137744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5" y="13424"/>
                </a:lnTo>
                <a:lnTo>
                  <a:pt x="86317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50"/>
                </a:lnTo>
                <a:lnTo>
                  <a:pt x="44135" y="54017"/>
                </a:lnTo>
                <a:lnTo>
                  <a:pt x="35418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9"/>
                </a:lnTo>
                <a:lnTo>
                  <a:pt x="5364" y="128966"/>
                </a:lnTo>
                <a:lnTo>
                  <a:pt x="2418" y="143464"/>
                </a:lnTo>
                <a:lnTo>
                  <a:pt x="613" y="15838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7" name="object 23"/>
          <p:cNvSpPr/>
          <p:nvPr/>
        </p:nvSpPr>
        <p:spPr>
          <a:xfrm>
            <a:off x="6361937" y="579347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1"/>
                </a:moveTo>
                <a:lnTo>
                  <a:pt x="232" y="183107"/>
                </a:lnTo>
                <a:lnTo>
                  <a:pt x="1583" y="198180"/>
                </a:lnTo>
                <a:lnTo>
                  <a:pt x="4094" y="212849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7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3"/>
                </a:lnTo>
                <a:lnTo>
                  <a:pt x="49876" y="299561"/>
                </a:lnTo>
                <a:lnTo>
                  <a:pt x="59830" y="309002"/>
                </a:lnTo>
                <a:lnTo>
                  <a:pt x="70485" y="317539"/>
                </a:lnTo>
                <a:lnTo>
                  <a:pt x="81788" y="325119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2"/>
                </a:lnTo>
                <a:lnTo>
                  <a:pt x="169068" y="347110"/>
                </a:lnTo>
                <a:lnTo>
                  <a:pt x="182985" y="345647"/>
                </a:lnTo>
                <a:lnTo>
                  <a:pt x="196529" y="342927"/>
                </a:lnTo>
                <a:lnTo>
                  <a:pt x="209649" y="339005"/>
                </a:lnTo>
                <a:lnTo>
                  <a:pt x="222294" y="333937"/>
                </a:lnTo>
                <a:lnTo>
                  <a:pt x="234412" y="327778"/>
                </a:lnTo>
                <a:lnTo>
                  <a:pt x="245952" y="320584"/>
                </a:lnTo>
                <a:lnTo>
                  <a:pt x="256863" y="312410"/>
                </a:lnTo>
                <a:lnTo>
                  <a:pt x="267094" y="303312"/>
                </a:lnTo>
                <a:lnTo>
                  <a:pt x="276594" y="293344"/>
                </a:lnTo>
                <a:lnTo>
                  <a:pt x="285310" y="282563"/>
                </a:lnTo>
                <a:lnTo>
                  <a:pt x="293194" y="271024"/>
                </a:lnTo>
                <a:lnTo>
                  <a:pt x="300192" y="258782"/>
                </a:lnTo>
                <a:lnTo>
                  <a:pt x="306254" y="245893"/>
                </a:lnTo>
                <a:lnTo>
                  <a:pt x="311328" y="232412"/>
                </a:lnTo>
                <a:lnTo>
                  <a:pt x="315364" y="218395"/>
                </a:lnTo>
                <a:lnTo>
                  <a:pt x="318311" y="203897"/>
                </a:lnTo>
                <a:lnTo>
                  <a:pt x="320116" y="188974"/>
                </a:lnTo>
                <a:lnTo>
                  <a:pt x="320729" y="173681"/>
                </a:lnTo>
                <a:lnTo>
                  <a:pt x="320497" y="164255"/>
                </a:lnTo>
                <a:lnTo>
                  <a:pt x="319146" y="149182"/>
                </a:lnTo>
                <a:lnTo>
                  <a:pt x="316635" y="134513"/>
                </a:lnTo>
                <a:lnTo>
                  <a:pt x="313014" y="120304"/>
                </a:lnTo>
                <a:lnTo>
                  <a:pt x="308334" y="106609"/>
                </a:lnTo>
                <a:lnTo>
                  <a:pt x="302648" y="93485"/>
                </a:lnTo>
                <a:lnTo>
                  <a:pt x="296005" y="80987"/>
                </a:lnTo>
                <a:lnTo>
                  <a:pt x="288458" y="69169"/>
                </a:lnTo>
                <a:lnTo>
                  <a:pt x="280057" y="58089"/>
                </a:lnTo>
                <a:lnTo>
                  <a:pt x="270854" y="47800"/>
                </a:lnTo>
                <a:lnTo>
                  <a:pt x="260899" y="38360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1" y="251"/>
                </a:lnTo>
                <a:lnTo>
                  <a:pt x="137744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5" y="13424"/>
                </a:lnTo>
                <a:lnTo>
                  <a:pt x="86317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50"/>
                </a:lnTo>
                <a:lnTo>
                  <a:pt x="44135" y="54017"/>
                </a:lnTo>
                <a:lnTo>
                  <a:pt x="35418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9"/>
                </a:lnTo>
                <a:lnTo>
                  <a:pt x="5364" y="128966"/>
                </a:lnTo>
                <a:lnTo>
                  <a:pt x="2418" y="143464"/>
                </a:lnTo>
                <a:lnTo>
                  <a:pt x="613" y="158387"/>
                </a:lnTo>
                <a:lnTo>
                  <a:pt x="0" y="173681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8" name="object 24"/>
          <p:cNvSpPr/>
          <p:nvPr/>
        </p:nvSpPr>
        <p:spPr>
          <a:xfrm>
            <a:off x="6361936" y="579347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9" name="object 25"/>
          <p:cNvSpPr/>
          <p:nvPr/>
        </p:nvSpPr>
        <p:spPr>
          <a:xfrm>
            <a:off x="5880842" y="573498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1"/>
                </a:moveTo>
                <a:lnTo>
                  <a:pt x="232" y="183107"/>
                </a:lnTo>
                <a:lnTo>
                  <a:pt x="1583" y="198180"/>
                </a:lnTo>
                <a:lnTo>
                  <a:pt x="4094" y="212849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7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3"/>
                </a:lnTo>
                <a:lnTo>
                  <a:pt x="49876" y="299561"/>
                </a:lnTo>
                <a:lnTo>
                  <a:pt x="59830" y="309002"/>
                </a:lnTo>
                <a:lnTo>
                  <a:pt x="70485" y="317539"/>
                </a:lnTo>
                <a:lnTo>
                  <a:pt x="81788" y="325119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2"/>
                </a:lnTo>
                <a:lnTo>
                  <a:pt x="169069" y="347110"/>
                </a:lnTo>
                <a:lnTo>
                  <a:pt x="182986" y="345647"/>
                </a:lnTo>
                <a:lnTo>
                  <a:pt x="196530" y="342927"/>
                </a:lnTo>
                <a:lnTo>
                  <a:pt x="209650" y="339005"/>
                </a:lnTo>
                <a:lnTo>
                  <a:pt x="222295" y="333937"/>
                </a:lnTo>
                <a:lnTo>
                  <a:pt x="234413" y="327778"/>
                </a:lnTo>
                <a:lnTo>
                  <a:pt x="245953" y="320584"/>
                </a:lnTo>
                <a:lnTo>
                  <a:pt x="256864" y="312410"/>
                </a:lnTo>
                <a:lnTo>
                  <a:pt x="267095" y="303311"/>
                </a:lnTo>
                <a:lnTo>
                  <a:pt x="276595" y="293344"/>
                </a:lnTo>
                <a:lnTo>
                  <a:pt x="285311" y="282563"/>
                </a:lnTo>
                <a:lnTo>
                  <a:pt x="293195" y="271024"/>
                </a:lnTo>
                <a:lnTo>
                  <a:pt x="300193" y="258782"/>
                </a:lnTo>
                <a:lnTo>
                  <a:pt x="306255" y="245893"/>
                </a:lnTo>
                <a:lnTo>
                  <a:pt x="311330" y="232412"/>
                </a:lnTo>
                <a:lnTo>
                  <a:pt x="315366" y="218395"/>
                </a:lnTo>
                <a:lnTo>
                  <a:pt x="318312" y="203897"/>
                </a:lnTo>
                <a:lnTo>
                  <a:pt x="320117" y="188974"/>
                </a:lnTo>
                <a:lnTo>
                  <a:pt x="320730" y="173681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8" y="93484"/>
                </a:lnTo>
                <a:lnTo>
                  <a:pt x="296006" y="80986"/>
                </a:lnTo>
                <a:lnTo>
                  <a:pt x="288458" y="69169"/>
                </a:lnTo>
                <a:lnTo>
                  <a:pt x="280057" y="58088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1" y="251"/>
                </a:lnTo>
                <a:lnTo>
                  <a:pt x="137744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5" y="13424"/>
                </a:lnTo>
                <a:lnTo>
                  <a:pt x="86317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50"/>
                </a:lnTo>
                <a:lnTo>
                  <a:pt x="44135" y="54017"/>
                </a:lnTo>
                <a:lnTo>
                  <a:pt x="35418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9"/>
                </a:lnTo>
                <a:lnTo>
                  <a:pt x="5364" y="128966"/>
                </a:lnTo>
                <a:lnTo>
                  <a:pt x="2418" y="143464"/>
                </a:lnTo>
                <a:lnTo>
                  <a:pt x="613" y="158387"/>
                </a:lnTo>
                <a:lnTo>
                  <a:pt x="0" y="173681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0" name="object 28"/>
          <p:cNvSpPr/>
          <p:nvPr/>
        </p:nvSpPr>
        <p:spPr>
          <a:xfrm>
            <a:off x="4557260" y="58683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1" name="object 29"/>
          <p:cNvSpPr/>
          <p:nvPr/>
        </p:nvSpPr>
        <p:spPr>
          <a:xfrm>
            <a:off x="5107607" y="583061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232" y="183107"/>
                </a:lnTo>
                <a:lnTo>
                  <a:pt x="1583" y="198180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1" y="253877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2" y="289273"/>
                </a:lnTo>
                <a:lnTo>
                  <a:pt x="49876" y="299561"/>
                </a:lnTo>
                <a:lnTo>
                  <a:pt x="59830" y="309002"/>
                </a:lnTo>
                <a:lnTo>
                  <a:pt x="70485" y="317539"/>
                </a:lnTo>
                <a:lnTo>
                  <a:pt x="81788" y="325119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7"/>
                </a:lnTo>
                <a:lnTo>
                  <a:pt x="196530" y="342927"/>
                </a:lnTo>
                <a:lnTo>
                  <a:pt x="209650" y="339005"/>
                </a:lnTo>
                <a:lnTo>
                  <a:pt x="222295" y="333937"/>
                </a:lnTo>
                <a:lnTo>
                  <a:pt x="234413" y="327778"/>
                </a:lnTo>
                <a:lnTo>
                  <a:pt x="245953" y="320584"/>
                </a:lnTo>
                <a:lnTo>
                  <a:pt x="256864" y="312410"/>
                </a:lnTo>
                <a:lnTo>
                  <a:pt x="267095" y="303311"/>
                </a:lnTo>
                <a:lnTo>
                  <a:pt x="276594" y="293344"/>
                </a:lnTo>
                <a:lnTo>
                  <a:pt x="285311" y="282563"/>
                </a:lnTo>
                <a:lnTo>
                  <a:pt x="293195" y="271024"/>
                </a:lnTo>
                <a:lnTo>
                  <a:pt x="300193" y="258782"/>
                </a:lnTo>
                <a:lnTo>
                  <a:pt x="306255" y="245893"/>
                </a:lnTo>
                <a:lnTo>
                  <a:pt x="311330" y="232412"/>
                </a:lnTo>
                <a:lnTo>
                  <a:pt x="315366" y="218395"/>
                </a:lnTo>
                <a:lnTo>
                  <a:pt x="318312" y="203897"/>
                </a:lnTo>
                <a:lnTo>
                  <a:pt x="320117" y="188974"/>
                </a:lnTo>
                <a:lnTo>
                  <a:pt x="320730" y="173681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8" y="93484"/>
                </a:lnTo>
                <a:lnTo>
                  <a:pt x="296006" y="80986"/>
                </a:lnTo>
                <a:lnTo>
                  <a:pt x="288458" y="69169"/>
                </a:lnTo>
                <a:lnTo>
                  <a:pt x="280057" y="58088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1" y="251"/>
                </a:lnTo>
                <a:lnTo>
                  <a:pt x="137744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5" y="13424"/>
                </a:lnTo>
                <a:lnTo>
                  <a:pt x="86317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50"/>
                </a:lnTo>
                <a:lnTo>
                  <a:pt x="44135" y="54017"/>
                </a:lnTo>
                <a:lnTo>
                  <a:pt x="35418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9"/>
                </a:lnTo>
                <a:lnTo>
                  <a:pt x="5364" y="128966"/>
                </a:lnTo>
                <a:lnTo>
                  <a:pt x="2418" y="143464"/>
                </a:lnTo>
                <a:lnTo>
                  <a:pt x="613" y="158387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2" name="object 30"/>
          <p:cNvSpPr/>
          <p:nvPr/>
        </p:nvSpPr>
        <p:spPr>
          <a:xfrm>
            <a:off x="5107607" y="583061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3" name="object 32"/>
          <p:cNvSpPr/>
          <p:nvPr/>
        </p:nvSpPr>
        <p:spPr>
          <a:xfrm>
            <a:off x="2907043" y="585028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4" name="object 34"/>
          <p:cNvSpPr/>
          <p:nvPr/>
        </p:nvSpPr>
        <p:spPr>
          <a:xfrm>
            <a:off x="7648012" y="578724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5" name="object 36"/>
          <p:cNvSpPr/>
          <p:nvPr/>
        </p:nvSpPr>
        <p:spPr>
          <a:xfrm>
            <a:off x="6593786" y="57902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6" name="object 38"/>
          <p:cNvSpPr/>
          <p:nvPr/>
        </p:nvSpPr>
        <p:spPr>
          <a:xfrm>
            <a:off x="8001594" y="582076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5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7" name="object 40"/>
          <p:cNvSpPr/>
          <p:nvPr/>
        </p:nvSpPr>
        <p:spPr>
          <a:xfrm>
            <a:off x="4724741" y="584823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8" name="object 42"/>
          <p:cNvSpPr/>
          <p:nvPr/>
        </p:nvSpPr>
        <p:spPr>
          <a:xfrm>
            <a:off x="5107607" y="57796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9" name="object 44"/>
          <p:cNvSpPr/>
          <p:nvPr/>
        </p:nvSpPr>
        <p:spPr>
          <a:xfrm>
            <a:off x="3418124" y="578557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0" name="object 46"/>
          <p:cNvSpPr/>
          <p:nvPr/>
        </p:nvSpPr>
        <p:spPr>
          <a:xfrm>
            <a:off x="3257759" y="588072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1" name="object 47"/>
          <p:cNvSpPr/>
          <p:nvPr/>
        </p:nvSpPr>
        <p:spPr>
          <a:xfrm>
            <a:off x="6091186" y="576214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232" y="183107"/>
                </a:lnTo>
                <a:lnTo>
                  <a:pt x="1583" y="198180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1" y="253877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2" y="289273"/>
                </a:lnTo>
                <a:lnTo>
                  <a:pt x="49876" y="299561"/>
                </a:lnTo>
                <a:lnTo>
                  <a:pt x="59830" y="309002"/>
                </a:lnTo>
                <a:lnTo>
                  <a:pt x="70485" y="317539"/>
                </a:lnTo>
                <a:lnTo>
                  <a:pt x="81788" y="325119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7"/>
                </a:lnTo>
                <a:lnTo>
                  <a:pt x="196530" y="342927"/>
                </a:lnTo>
                <a:lnTo>
                  <a:pt x="209650" y="339005"/>
                </a:lnTo>
                <a:lnTo>
                  <a:pt x="222295" y="333937"/>
                </a:lnTo>
                <a:lnTo>
                  <a:pt x="234413" y="327778"/>
                </a:lnTo>
                <a:lnTo>
                  <a:pt x="245953" y="320584"/>
                </a:lnTo>
                <a:lnTo>
                  <a:pt x="256864" y="312410"/>
                </a:lnTo>
                <a:lnTo>
                  <a:pt x="267095" y="303311"/>
                </a:lnTo>
                <a:lnTo>
                  <a:pt x="276594" y="293344"/>
                </a:lnTo>
                <a:lnTo>
                  <a:pt x="285311" y="282563"/>
                </a:lnTo>
                <a:lnTo>
                  <a:pt x="293195" y="271024"/>
                </a:lnTo>
                <a:lnTo>
                  <a:pt x="300193" y="258782"/>
                </a:lnTo>
                <a:lnTo>
                  <a:pt x="306255" y="245893"/>
                </a:lnTo>
                <a:lnTo>
                  <a:pt x="311330" y="232412"/>
                </a:lnTo>
                <a:lnTo>
                  <a:pt x="315366" y="218395"/>
                </a:lnTo>
                <a:lnTo>
                  <a:pt x="318312" y="203897"/>
                </a:lnTo>
                <a:lnTo>
                  <a:pt x="320117" y="188974"/>
                </a:lnTo>
                <a:lnTo>
                  <a:pt x="320730" y="173681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8" y="93484"/>
                </a:lnTo>
                <a:lnTo>
                  <a:pt x="296006" y="80986"/>
                </a:lnTo>
                <a:lnTo>
                  <a:pt x="288458" y="69169"/>
                </a:lnTo>
                <a:lnTo>
                  <a:pt x="280057" y="58088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1" y="251"/>
                </a:lnTo>
                <a:lnTo>
                  <a:pt x="137744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5" y="13424"/>
                </a:lnTo>
                <a:lnTo>
                  <a:pt x="86317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50"/>
                </a:lnTo>
                <a:lnTo>
                  <a:pt x="44135" y="54017"/>
                </a:lnTo>
                <a:lnTo>
                  <a:pt x="35418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9"/>
                </a:lnTo>
                <a:lnTo>
                  <a:pt x="5364" y="128966"/>
                </a:lnTo>
                <a:lnTo>
                  <a:pt x="2418" y="143464"/>
                </a:lnTo>
                <a:lnTo>
                  <a:pt x="613" y="158387"/>
                </a:lnTo>
                <a:lnTo>
                  <a:pt x="0" y="173681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2" name="object 48"/>
          <p:cNvSpPr/>
          <p:nvPr/>
        </p:nvSpPr>
        <p:spPr>
          <a:xfrm>
            <a:off x="6091185" y="576214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3" name="object 50"/>
          <p:cNvSpPr/>
          <p:nvPr/>
        </p:nvSpPr>
        <p:spPr>
          <a:xfrm>
            <a:off x="5239383" y="57900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4" name="object 51"/>
          <p:cNvSpPr/>
          <p:nvPr/>
        </p:nvSpPr>
        <p:spPr>
          <a:xfrm>
            <a:off x="7163762" y="585801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232" y="183106"/>
                </a:lnTo>
                <a:lnTo>
                  <a:pt x="1582" y="198179"/>
                </a:lnTo>
                <a:lnTo>
                  <a:pt x="4094" y="212848"/>
                </a:lnTo>
                <a:lnTo>
                  <a:pt x="7715" y="227057"/>
                </a:lnTo>
                <a:lnTo>
                  <a:pt x="12394" y="240752"/>
                </a:lnTo>
                <a:lnTo>
                  <a:pt x="18081" y="253876"/>
                </a:lnTo>
                <a:lnTo>
                  <a:pt x="24723" y="266374"/>
                </a:lnTo>
                <a:lnTo>
                  <a:pt x="32271" y="278192"/>
                </a:lnTo>
                <a:lnTo>
                  <a:pt x="40672" y="289272"/>
                </a:lnTo>
                <a:lnTo>
                  <a:pt x="49875" y="299561"/>
                </a:lnTo>
                <a:lnTo>
                  <a:pt x="59829" y="309001"/>
                </a:lnTo>
                <a:lnTo>
                  <a:pt x="70484" y="317539"/>
                </a:lnTo>
                <a:lnTo>
                  <a:pt x="81787" y="325119"/>
                </a:lnTo>
                <a:lnTo>
                  <a:pt x="93688" y="331684"/>
                </a:lnTo>
                <a:lnTo>
                  <a:pt x="106135" y="337180"/>
                </a:lnTo>
                <a:lnTo>
                  <a:pt x="119077" y="341551"/>
                </a:lnTo>
                <a:lnTo>
                  <a:pt x="132464" y="344742"/>
                </a:lnTo>
                <a:lnTo>
                  <a:pt x="146243" y="346697"/>
                </a:lnTo>
                <a:lnTo>
                  <a:pt x="160364" y="347361"/>
                </a:lnTo>
                <a:lnTo>
                  <a:pt x="169067" y="347110"/>
                </a:lnTo>
                <a:lnTo>
                  <a:pt x="182985" y="345647"/>
                </a:lnTo>
                <a:lnTo>
                  <a:pt x="196529" y="342927"/>
                </a:lnTo>
                <a:lnTo>
                  <a:pt x="209649" y="339005"/>
                </a:lnTo>
                <a:lnTo>
                  <a:pt x="222293" y="333937"/>
                </a:lnTo>
                <a:lnTo>
                  <a:pt x="234411" y="327778"/>
                </a:lnTo>
                <a:lnTo>
                  <a:pt x="245952" y="320584"/>
                </a:lnTo>
                <a:lnTo>
                  <a:pt x="256863" y="312410"/>
                </a:lnTo>
                <a:lnTo>
                  <a:pt x="267094" y="303311"/>
                </a:lnTo>
                <a:lnTo>
                  <a:pt x="276593" y="293344"/>
                </a:lnTo>
                <a:lnTo>
                  <a:pt x="285310" y="282563"/>
                </a:lnTo>
                <a:lnTo>
                  <a:pt x="293193" y="271024"/>
                </a:lnTo>
                <a:lnTo>
                  <a:pt x="300192" y="258782"/>
                </a:lnTo>
                <a:lnTo>
                  <a:pt x="306254" y="245893"/>
                </a:lnTo>
                <a:lnTo>
                  <a:pt x="311328" y="232412"/>
                </a:lnTo>
                <a:lnTo>
                  <a:pt x="315364" y="218395"/>
                </a:lnTo>
                <a:lnTo>
                  <a:pt x="318311" y="203897"/>
                </a:lnTo>
                <a:lnTo>
                  <a:pt x="320116" y="188974"/>
                </a:lnTo>
                <a:lnTo>
                  <a:pt x="320729" y="173680"/>
                </a:lnTo>
                <a:lnTo>
                  <a:pt x="320497" y="164254"/>
                </a:lnTo>
                <a:lnTo>
                  <a:pt x="319146" y="149181"/>
                </a:lnTo>
                <a:lnTo>
                  <a:pt x="316634" y="134512"/>
                </a:lnTo>
                <a:lnTo>
                  <a:pt x="313013" y="120303"/>
                </a:lnTo>
                <a:lnTo>
                  <a:pt x="308334" y="106609"/>
                </a:lnTo>
                <a:lnTo>
                  <a:pt x="302647" y="93484"/>
                </a:lnTo>
                <a:lnTo>
                  <a:pt x="296005" y="80986"/>
                </a:lnTo>
                <a:lnTo>
                  <a:pt x="288457" y="69169"/>
                </a:lnTo>
                <a:lnTo>
                  <a:pt x="280056" y="58088"/>
                </a:lnTo>
                <a:lnTo>
                  <a:pt x="270853" y="47800"/>
                </a:lnTo>
                <a:lnTo>
                  <a:pt x="260898" y="38359"/>
                </a:lnTo>
                <a:lnTo>
                  <a:pt x="250244" y="29822"/>
                </a:lnTo>
                <a:lnTo>
                  <a:pt x="238941" y="22242"/>
                </a:lnTo>
                <a:lnTo>
                  <a:pt x="227040" y="15677"/>
                </a:lnTo>
                <a:lnTo>
                  <a:pt x="214592" y="10181"/>
                </a:lnTo>
                <a:lnTo>
                  <a:pt x="201650" y="5810"/>
                </a:lnTo>
                <a:lnTo>
                  <a:pt x="188264" y="2619"/>
                </a:lnTo>
                <a:lnTo>
                  <a:pt x="174484" y="664"/>
                </a:lnTo>
                <a:lnTo>
                  <a:pt x="160364" y="0"/>
                </a:lnTo>
                <a:lnTo>
                  <a:pt x="151661" y="251"/>
                </a:lnTo>
                <a:lnTo>
                  <a:pt x="137744" y="1714"/>
                </a:lnTo>
                <a:lnTo>
                  <a:pt x="124199" y="4434"/>
                </a:lnTo>
                <a:lnTo>
                  <a:pt x="111079" y="8356"/>
                </a:lnTo>
                <a:lnTo>
                  <a:pt x="98435" y="13424"/>
                </a:lnTo>
                <a:lnTo>
                  <a:pt x="86317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5" y="54017"/>
                </a:lnTo>
                <a:lnTo>
                  <a:pt x="35418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9"/>
                </a:lnTo>
                <a:lnTo>
                  <a:pt x="5364" y="128966"/>
                </a:lnTo>
                <a:lnTo>
                  <a:pt x="2418" y="143464"/>
                </a:lnTo>
                <a:lnTo>
                  <a:pt x="613" y="158387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5" name="object 54"/>
          <p:cNvSpPr/>
          <p:nvPr/>
        </p:nvSpPr>
        <p:spPr>
          <a:xfrm>
            <a:off x="5359085" y="585327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6" name="object 56"/>
          <p:cNvSpPr/>
          <p:nvPr/>
        </p:nvSpPr>
        <p:spPr>
          <a:xfrm>
            <a:off x="7171053" y="580535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7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9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8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50" y="291973"/>
                </a:lnTo>
                <a:lnTo>
                  <a:pt x="302221" y="281377"/>
                </a:lnTo>
                <a:lnTo>
                  <a:pt x="310252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7" name="object 58"/>
          <p:cNvSpPr/>
          <p:nvPr/>
        </p:nvSpPr>
        <p:spPr>
          <a:xfrm>
            <a:off x="5531142" y="57796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8" name="object 60"/>
          <p:cNvSpPr/>
          <p:nvPr/>
        </p:nvSpPr>
        <p:spPr>
          <a:xfrm>
            <a:off x="7356198" y="58085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9" name="object 62"/>
          <p:cNvSpPr/>
          <p:nvPr/>
        </p:nvSpPr>
        <p:spPr>
          <a:xfrm>
            <a:off x="6172602" y="56843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0" name="object 64"/>
          <p:cNvSpPr/>
          <p:nvPr/>
        </p:nvSpPr>
        <p:spPr>
          <a:xfrm>
            <a:off x="4877989" y="580535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1" name="object 66"/>
          <p:cNvSpPr/>
          <p:nvPr/>
        </p:nvSpPr>
        <p:spPr>
          <a:xfrm>
            <a:off x="5581873" y="580884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2" name="object 68"/>
          <p:cNvSpPr/>
          <p:nvPr/>
        </p:nvSpPr>
        <p:spPr>
          <a:xfrm>
            <a:off x="5930822" y="578724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3" name="object 70"/>
          <p:cNvSpPr/>
          <p:nvPr/>
        </p:nvSpPr>
        <p:spPr>
          <a:xfrm>
            <a:off x="3899218" y="582076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4" name="object 74"/>
          <p:cNvSpPr/>
          <p:nvPr/>
        </p:nvSpPr>
        <p:spPr>
          <a:xfrm>
            <a:off x="3578489" y="578724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5" name="object 75"/>
          <p:cNvSpPr/>
          <p:nvPr/>
        </p:nvSpPr>
        <p:spPr>
          <a:xfrm>
            <a:off x="6361937" y="580297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232" y="183107"/>
                </a:lnTo>
                <a:lnTo>
                  <a:pt x="1583" y="198180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1" y="253877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2" y="289273"/>
                </a:lnTo>
                <a:lnTo>
                  <a:pt x="49876" y="299561"/>
                </a:lnTo>
                <a:lnTo>
                  <a:pt x="59830" y="309002"/>
                </a:lnTo>
                <a:lnTo>
                  <a:pt x="70485" y="317539"/>
                </a:lnTo>
                <a:lnTo>
                  <a:pt x="81788" y="325119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8" y="347110"/>
                </a:lnTo>
                <a:lnTo>
                  <a:pt x="182985" y="345647"/>
                </a:lnTo>
                <a:lnTo>
                  <a:pt x="196529" y="342927"/>
                </a:lnTo>
                <a:lnTo>
                  <a:pt x="209649" y="339005"/>
                </a:lnTo>
                <a:lnTo>
                  <a:pt x="222294" y="333937"/>
                </a:lnTo>
                <a:lnTo>
                  <a:pt x="234412" y="327778"/>
                </a:lnTo>
                <a:lnTo>
                  <a:pt x="245952" y="320584"/>
                </a:lnTo>
                <a:lnTo>
                  <a:pt x="256863" y="312410"/>
                </a:lnTo>
                <a:lnTo>
                  <a:pt x="267094" y="303312"/>
                </a:lnTo>
                <a:lnTo>
                  <a:pt x="276594" y="293344"/>
                </a:lnTo>
                <a:lnTo>
                  <a:pt x="285310" y="282563"/>
                </a:lnTo>
                <a:lnTo>
                  <a:pt x="293194" y="271024"/>
                </a:lnTo>
                <a:lnTo>
                  <a:pt x="300192" y="258782"/>
                </a:lnTo>
                <a:lnTo>
                  <a:pt x="306254" y="245893"/>
                </a:lnTo>
                <a:lnTo>
                  <a:pt x="311328" y="232412"/>
                </a:lnTo>
                <a:lnTo>
                  <a:pt x="315364" y="218395"/>
                </a:lnTo>
                <a:lnTo>
                  <a:pt x="318311" y="203897"/>
                </a:lnTo>
                <a:lnTo>
                  <a:pt x="320116" y="188974"/>
                </a:lnTo>
                <a:lnTo>
                  <a:pt x="320729" y="173681"/>
                </a:lnTo>
                <a:lnTo>
                  <a:pt x="320497" y="164255"/>
                </a:lnTo>
                <a:lnTo>
                  <a:pt x="319146" y="149182"/>
                </a:lnTo>
                <a:lnTo>
                  <a:pt x="316635" y="134513"/>
                </a:lnTo>
                <a:lnTo>
                  <a:pt x="313014" y="120304"/>
                </a:lnTo>
                <a:lnTo>
                  <a:pt x="308334" y="106609"/>
                </a:lnTo>
                <a:lnTo>
                  <a:pt x="302648" y="93485"/>
                </a:lnTo>
                <a:lnTo>
                  <a:pt x="296005" y="80986"/>
                </a:lnTo>
                <a:lnTo>
                  <a:pt x="288458" y="69169"/>
                </a:lnTo>
                <a:lnTo>
                  <a:pt x="280057" y="58089"/>
                </a:lnTo>
                <a:lnTo>
                  <a:pt x="270854" y="47800"/>
                </a:lnTo>
                <a:lnTo>
                  <a:pt x="260899" y="38360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1" y="251"/>
                </a:lnTo>
                <a:lnTo>
                  <a:pt x="137744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5" y="13424"/>
                </a:lnTo>
                <a:lnTo>
                  <a:pt x="86317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50"/>
                </a:lnTo>
                <a:lnTo>
                  <a:pt x="44135" y="54017"/>
                </a:lnTo>
                <a:lnTo>
                  <a:pt x="35418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9"/>
                </a:lnTo>
                <a:lnTo>
                  <a:pt x="5364" y="128966"/>
                </a:lnTo>
                <a:lnTo>
                  <a:pt x="2418" y="143464"/>
                </a:lnTo>
                <a:lnTo>
                  <a:pt x="613" y="158387"/>
                </a:lnTo>
                <a:lnTo>
                  <a:pt x="0" y="173681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6" name="object 78"/>
          <p:cNvSpPr/>
          <p:nvPr/>
        </p:nvSpPr>
        <p:spPr>
          <a:xfrm>
            <a:off x="6754153" y="580401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5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7" name="object 74"/>
          <p:cNvSpPr/>
          <p:nvPr/>
        </p:nvSpPr>
        <p:spPr>
          <a:xfrm>
            <a:off x="6173977" y="5803468"/>
            <a:ext cx="394167" cy="381727"/>
          </a:xfrm>
          <a:custGeom>
            <a:avLst/>
            <a:gdLst/>
            <a:ahLst/>
            <a:cxnLst/>
            <a:rect l="l" t="t" r="r" b="b"/>
            <a:pathLst>
              <a:path w="394167" h="381727">
                <a:moveTo>
                  <a:pt x="0" y="0"/>
                </a:moveTo>
                <a:lnTo>
                  <a:pt x="394167" y="0"/>
                </a:lnTo>
                <a:lnTo>
                  <a:pt x="394167" y="381727"/>
                </a:lnTo>
                <a:lnTo>
                  <a:pt x="0" y="381727"/>
                </a:lnTo>
                <a:lnTo>
                  <a:pt x="0" y="0"/>
                </a:lnTo>
                <a:close/>
              </a:path>
            </a:pathLst>
          </a:custGeom>
          <a:solidFill>
            <a:srgbClr val="59BAD1"/>
          </a:solidFill>
          <a:ln w="57150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9" name="object 74"/>
          <p:cNvSpPr/>
          <p:nvPr/>
        </p:nvSpPr>
        <p:spPr>
          <a:xfrm>
            <a:off x="7835433" y="5803468"/>
            <a:ext cx="394167" cy="381727"/>
          </a:xfrm>
          <a:custGeom>
            <a:avLst/>
            <a:gdLst/>
            <a:ahLst/>
            <a:cxnLst/>
            <a:rect l="l" t="t" r="r" b="b"/>
            <a:pathLst>
              <a:path w="394167" h="381727">
                <a:moveTo>
                  <a:pt x="0" y="0"/>
                </a:moveTo>
                <a:lnTo>
                  <a:pt x="394167" y="0"/>
                </a:lnTo>
                <a:lnTo>
                  <a:pt x="394167" y="381727"/>
                </a:lnTo>
                <a:lnTo>
                  <a:pt x="0" y="381727"/>
                </a:lnTo>
                <a:lnTo>
                  <a:pt x="0" y="0"/>
                </a:lnTo>
                <a:close/>
              </a:path>
            </a:pathLst>
          </a:custGeom>
          <a:solidFill>
            <a:srgbClr val="FAA757"/>
          </a:solidFill>
          <a:ln w="57150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0" name="object 5"/>
          <p:cNvSpPr txBox="1"/>
          <p:nvPr/>
        </p:nvSpPr>
        <p:spPr>
          <a:xfrm>
            <a:off x="2101916" y="369650"/>
            <a:ext cx="6889684" cy="807913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 marR="41909">
              <a:lnSpc>
                <a:spcPts val="3454"/>
              </a:lnSpc>
              <a:spcBef>
                <a:spcPts val="172"/>
              </a:spcBef>
            </a:pPr>
            <a:r>
              <a:rPr lang="en-US" sz="4800" baseline="2560" dirty="0" smtClean="0">
                <a:solidFill>
                  <a:srgbClr val="4E81BC"/>
                </a:solidFill>
                <a:latin typeface="+mj-lt"/>
                <a:cs typeface="Calibri"/>
              </a:rPr>
              <a:t>Spectral Clustering</a:t>
            </a:r>
            <a:endParaRPr sz="3200" dirty="0">
              <a:latin typeface="+mj-lt"/>
              <a:cs typeface="Calibri"/>
            </a:endParaRPr>
          </a:p>
          <a:p>
            <a:pPr marL="12700">
              <a:lnSpc>
                <a:spcPts val="2770"/>
              </a:lnSpc>
            </a:pPr>
            <a:r>
              <a:rPr lang="en-US" sz="3200" baseline="1137" dirty="0" smtClean="0">
                <a:solidFill>
                  <a:srgbClr val="7F7E7E"/>
                </a:solidFill>
                <a:cs typeface="Calibri"/>
              </a:rPr>
              <a:t>Now perform K‐Means on the low dimension space  </a:t>
            </a:r>
            <a:endParaRPr lang="en-US" sz="3200" baseline="1137" dirty="0">
              <a:solidFill>
                <a:srgbClr val="7F7E7E"/>
              </a:solidFill>
              <a:cs typeface="Calibri"/>
            </a:endParaRPr>
          </a:p>
        </p:txBody>
      </p:sp>
      <p:sp>
        <p:nvSpPr>
          <p:cNvPr id="131" name="object 32"/>
          <p:cNvSpPr/>
          <p:nvPr/>
        </p:nvSpPr>
        <p:spPr>
          <a:xfrm>
            <a:off x="3084023" y="585028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2" name="object 50"/>
          <p:cNvSpPr/>
          <p:nvPr/>
        </p:nvSpPr>
        <p:spPr>
          <a:xfrm>
            <a:off x="3652253" y="5803468"/>
            <a:ext cx="394167" cy="381727"/>
          </a:xfrm>
          <a:custGeom>
            <a:avLst/>
            <a:gdLst/>
            <a:ahLst/>
            <a:cxnLst/>
            <a:rect l="l" t="t" r="r" b="b"/>
            <a:pathLst>
              <a:path w="394167" h="381727">
                <a:moveTo>
                  <a:pt x="0" y="0"/>
                </a:moveTo>
                <a:lnTo>
                  <a:pt x="394167" y="0"/>
                </a:lnTo>
                <a:lnTo>
                  <a:pt x="394167" y="381727"/>
                </a:lnTo>
                <a:lnTo>
                  <a:pt x="0" y="381727"/>
                </a:lnTo>
                <a:lnTo>
                  <a:pt x="0" y="0"/>
                </a:lnTo>
                <a:close/>
              </a:path>
            </a:pathLst>
          </a:custGeom>
          <a:solidFill>
            <a:srgbClr val="AAC56C"/>
          </a:solidFill>
          <a:ln w="57150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3" name="object 3"/>
          <p:cNvSpPr txBox="1"/>
          <p:nvPr/>
        </p:nvSpPr>
        <p:spPr>
          <a:xfrm>
            <a:off x="4212239" y="6273889"/>
            <a:ext cx="264576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 algn="ctr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0.7 Income + 0.3</a:t>
            </a:r>
            <a:r>
              <a:rPr lang="en-US" sz="3600" spc="0" baseline="2275" dirty="0" smtClean="0">
                <a:solidFill>
                  <a:srgbClr val="7F7E7E"/>
                </a:solidFill>
                <a:cs typeface="Calibri"/>
              </a:rPr>
              <a:t> Age</a:t>
            </a:r>
            <a:endParaRPr sz="2400" dirty="0">
              <a:cs typeface="Calibri"/>
            </a:endParaRPr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3" name="object 10"/>
          <p:cNvSpPr txBox="1"/>
          <p:nvPr/>
        </p:nvSpPr>
        <p:spPr>
          <a:xfrm>
            <a:off x="2101916" y="369650"/>
            <a:ext cx="6296519" cy="4318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3400"/>
              </a:lnSpc>
              <a:spcBef>
                <a:spcPts val="170"/>
              </a:spcBef>
            </a:pPr>
            <a:r>
              <a:rPr lang="en-US" sz="4800" baseline="1706" dirty="0">
                <a:solidFill>
                  <a:srgbClr val="4E81BC"/>
                </a:solidFill>
                <a:latin typeface="+mj-lt"/>
                <a:cs typeface="Calibri"/>
              </a:rPr>
              <a:t>Agglomerative </a:t>
            </a:r>
            <a:r>
              <a:rPr sz="4800" spc="0" baseline="1706" dirty="0" smtClean="0">
                <a:solidFill>
                  <a:srgbClr val="4E81BC"/>
                </a:solidFill>
                <a:latin typeface="+mj-lt"/>
                <a:cs typeface="Calibri"/>
              </a:rPr>
              <a:t>Hierarchical Clustering</a:t>
            </a:r>
            <a:endParaRPr sz="3200" dirty="0">
              <a:latin typeface="+mj-lt"/>
              <a:cs typeface="Calibri"/>
            </a:endParaRPr>
          </a:p>
        </p:txBody>
      </p:sp>
      <p:sp>
        <p:nvSpPr>
          <p:cNvPr id="84" name="object 11"/>
          <p:cNvSpPr txBox="1"/>
          <p:nvPr/>
        </p:nvSpPr>
        <p:spPr>
          <a:xfrm>
            <a:off x="2101916" y="852250"/>
            <a:ext cx="6584884" cy="4318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>
            <a:defPPr>
              <a:defRPr lang="en-US"/>
            </a:defPPr>
            <a:lvl1pPr marL="12700">
              <a:lnSpc>
                <a:spcPts val="3400"/>
              </a:lnSpc>
              <a:spcBef>
                <a:spcPts val="170"/>
              </a:spcBef>
              <a:defRPr sz="4800" spc="0" baseline="1706">
                <a:solidFill>
                  <a:srgbClr val="7F7E7E"/>
                </a:solidFill>
                <a:latin typeface="Calibri"/>
                <a:cs typeface="Calibri"/>
              </a:defRPr>
            </a:lvl1pPr>
          </a:lstStyle>
          <a:p>
            <a:r>
              <a:rPr lang="en-US" dirty="0">
                <a:latin typeface="+mj-lt"/>
              </a:rPr>
              <a:t>If closest </a:t>
            </a:r>
            <a:r>
              <a:rPr lang="en-US" dirty="0" smtClean="0">
                <a:latin typeface="+mj-lt"/>
              </a:rPr>
              <a:t>pair are clusters, same: merge</a:t>
            </a:r>
            <a:endParaRPr dirty="0">
              <a:latin typeface="+mj-lt"/>
            </a:endParaRPr>
          </a:p>
        </p:txBody>
      </p:sp>
      <p:sp>
        <p:nvSpPr>
          <p:cNvPr id="85" name="object 82"/>
          <p:cNvSpPr/>
          <p:nvPr/>
        </p:nvSpPr>
        <p:spPr>
          <a:xfrm>
            <a:off x="4414372" y="54871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6" name="object 84"/>
          <p:cNvSpPr/>
          <p:nvPr/>
        </p:nvSpPr>
        <p:spPr>
          <a:xfrm>
            <a:off x="5399747" y="55212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367DF9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7" name="object 86"/>
          <p:cNvSpPr/>
          <p:nvPr/>
        </p:nvSpPr>
        <p:spPr>
          <a:xfrm>
            <a:off x="6251551" y="55023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8" name="object 74"/>
          <p:cNvSpPr/>
          <p:nvPr/>
        </p:nvSpPr>
        <p:spPr>
          <a:xfrm>
            <a:off x="2668469" y="519520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9" name="object 72"/>
          <p:cNvSpPr/>
          <p:nvPr/>
        </p:nvSpPr>
        <p:spPr>
          <a:xfrm>
            <a:off x="5959366" y="251737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40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80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0" name="object 70"/>
          <p:cNvSpPr/>
          <p:nvPr/>
        </p:nvSpPr>
        <p:spPr>
          <a:xfrm>
            <a:off x="5560113" y="213564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1" name="object 68"/>
          <p:cNvSpPr/>
          <p:nvPr/>
        </p:nvSpPr>
        <p:spPr>
          <a:xfrm>
            <a:off x="5148028" y="1723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2" name="object 66"/>
          <p:cNvSpPr/>
          <p:nvPr/>
        </p:nvSpPr>
        <p:spPr>
          <a:xfrm>
            <a:off x="6872003" y="34121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6094C9"/>
          </a:solidFill>
          <a:ln w="28575">
            <a:solidFill>
              <a:srgbClr val="46719B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3" name="object 63"/>
          <p:cNvSpPr/>
          <p:nvPr/>
        </p:nvSpPr>
        <p:spPr>
          <a:xfrm>
            <a:off x="5880842" y="502152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6"/>
                </a:lnTo>
                <a:lnTo>
                  <a:pt x="1583" y="198179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6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2"/>
                </a:lnTo>
                <a:lnTo>
                  <a:pt x="49876" y="299561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6"/>
                </a:lnTo>
                <a:lnTo>
                  <a:pt x="196530" y="342926"/>
                </a:lnTo>
                <a:lnTo>
                  <a:pt x="209650" y="339004"/>
                </a:lnTo>
                <a:lnTo>
                  <a:pt x="222295" y="333936"/>
                </a:lnTo>
                <a:lnTo>
                  <a:pt x="234413" y="327778"/>
                </a:lnTo>
                <a:lnTo>
                  <a:pt x="245953" y="320583"/>
                </a:lnTo>
                <a:lnTo>
                  <a:pt x="256864" y="312409"/>
                </a:lnTo>
                <a:lnTo>
                  <a:pt x="267095" y="303311"/>
                </a:lnTo>
                <a:lnTo>
                  <a:pt x="276595" y="293343"/>
                </a:lnTo>
                <a:lnTo>
                  <a:pt x="285312" y="282562"/>
                </a:lnTo>
                <a:lnTo>
                  <a:pt x="293195" y="271023"/>
                </a:lnTo>
                <a:lnTo>
                  <a:pt x="300193" y="258781"/>
                </a:lnTo>
                <a:lnTo>
                  <a:pt x="306255" y="245892"/>
                </a:lnTo>
                <a:lnTo>
                  <a:pt x="311330" y="232411"/>
                </a:lnTo>
                <a:lnTo>
                  <a:pt x="315366" y="218394"/>
                </a:lnTo>
                <a:lnTo>
                  <a:pt x="318312" y="203896"/>
                </a:lnTo>
                <a:lnTo>
                  <a:pt x="320117" y="188973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9" y="93485"/>
                </a:lnTo>
                <a:lnTo>
                  <a:pt x="296006" y="80986"/>
                </a:lnTo>
                <a:lnTo>
                  <a:pt x="288459" y="69169"/>
                </a:lnTo>
                <a:lnTo>
                  <a:pt x="280058" y="58089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4"/>
                </a:lnTo>
                <a:lnTo>
                  <a:pt x="86318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4" name="object 62"/>
          <p:cNvSpPr/>
          <p:nvPr/>
        </p:nvSpPr>
        <p:spPr>
          <a:xfrm>
            <a:off x="4326962" y="34938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5" name="object 60"/>
          <p:cNvSpPr/>
          <p:nvPr/>
        </p:nvSpPr>
        <p:spPr>
          <a:xfrm>
            <a:off x="3451263" y="457102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6" name="object 58"/>
          <p:cNvSpPr/>
          <p:nvPr/>
        </p:nvSpPr>
        <p:spPr>
          <a:xfrm>
            <a:off x="7513462" y="204543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4BAF39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7" name="object 56"/>
          <p:cNvSpPr/>
          <p:nvPr/>
        </p:nvSpPr>
        <p:spPr>
          <a:xfrm>
            <a:off x="6553321" y="196196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8" name="object 54"/>
          <p:cNvSpPr/>
          <p:nvPr/>
        </p:nvSpPr>
        <p:spPr>
          <a:xfrm>
            <a:off x="7353097" y="275391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9" name="object 52"/>
          <p:cNvSpPr/>
          <p:nvPr/>
        </p:nvSpPr>
        <p:spPr>
          <a:xfrm>
            <a:off x="4696124" y="412086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0" name="object 50"/>
          <p:cNvSpPr/>
          <p:nvPr/>
        </p:nvSpPr>
        <p:spPr>
          <a:xfrm>
            <a:off x="4441297" y="46123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1" name="object 48"/>
          <p:cNvSpPr/>
          <p:nvPr/>
        </p:nvSpPr>
        <p:spPr>
          <a:xfrm>
            <a:off x="3130532" y="40499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2" name="object 42"/>
          <p:cNvSpPr/>
          <p:nvPr/>
        </p:nvSpPr>
        <p:spPr>
          <a:xfrm>
            <a:off x="5748103" y="33118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3" name="object 44"/>
          <p:cNvSpPr/>
          <p:nvPr/>
        </p:nvSpPr>
        <p:spPr>
          <a:xfrm>
            <a:off x="5560113" y="25802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4" name="object 46"/>
          <p:cNvSpPr/>
          <p:nvPr/>
        </p:nvSpPr>
        <p:spPr>
          <a:xfrm>
            <a:off x="5421508" y="296447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5" name="object 40"/>
          <p:cNvSpPr/>
          <p:nvPr/>
        </p:nvSpPr>
        <p:spPr>
          <a:xfrm>
            <a:off x="5213120" y="49216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367DF9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6" name="object 38"/>
          <p:cNvSpPr/>
          <p:nvPr/>
        </p:nvSpPr>
        <p:spPr>
          <a:xfrm>
            <a:off x="7032365" y="221911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7" name="object 36"/>
          <p:cNvSpPr/>
          <p:nvPr/>
        </p:nvSpPr>
        <p:spPr>
          <a:xfrm>
            <a:off x="7385165" y="340218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6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7"/>
                </a:lnTo>
                <a:lnTo>
                  <a:pt x="310251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6094C9"/>
          </a:solidFill>
          <a:ln w="28575">
            <a:solidFill>
              <a:srgbClr val="46719B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8" name="object 34"/>
          <p:cNvSpPr/>
          <p:nvPr/>
        </p:nvSpPr>
        <p:spPr>
          <a:xfrm>
            <a:off x="5038354" y="24830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9" name="object 32"/>
          <p:cNvSpPr/>
          <p:nvPr/>
        </p:nvSpPr>
        <p:spPr>
          <a:xfrm>
            <a:off x="7192732" y="159327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4BAF39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0" name="object 30"/>
          <p:cNvSpPr/>
          <p:nvPr/>
        </p:nvSpPr>
        <p:spPr>
          <a:xfrm>
            <a:off x="6201572" y="316997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1" name="object 28"/>
          <p:cNvSpPr/>
          <p:nvPr/>
        </p:nvSpPr>
        <p:spPr>
          <a:xfrm>
            <a:off x="4877989" y="532865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2" name="object 26"/>
          <p:cNvSpPr/>
          <p:nvPr/>
        </p:nvSpPr>
        <p:spPr>
          <a:xfrm>
            <a:off x="5581873" y="4521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3" name="object 24"/>
          <p:cNvSpPr/>
          <p:nvPr/>
        </p:nvSpPr>
        <p:spPr>
          <a:xfrm>
            <a:off x="3528670" y="35173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4" name="object 22"/>
          <p:cNvSpPr/>
          <p:nvPr/>
        </p:nvSpPr>
        <p:spPr>
          <a:xfrm>
            <a:off x="3252845" y="520650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5" name="object 20"/>
          <p:cNvSpPr/>
          <p:nvPr/>
        </p:nvSpPr>
        <p:spPr>
          <a:xfrm>
            <a:off x="3849401" y="4051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6" name="object 18"/>
          <p:cNvSpPr/>
          <p:nvPr/>
        </p:nvSpPr>
        <p:spPr>
          <a:xfrm>
            <a:off x="6713687" y="269105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7" name="object 6"/>
          <p:cNvSpPr txBox="1"/>
          <p:nvPr/>
        </p:nvSpPr>
        <p:spPr>
          <a:xfrm>
            <a:off x="1332125" y="3759280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sp>
        <p:nvSpPr>
          <p:cNvPr id="118" name="object 5"/>
          <p:cNvSpPr txBox="1"/>
          <p:nvPr/>
        </p:nvSpPr>
        <p:spPr>
          <a:xfrm>
            <a:off x="5426815" y="6116930"/>
            <a:ext cx="542241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Age</a:t>
            </a:r>
            <a:endParaRPr sz="2400">
              <a:cs typeface="Calibri"/>
            </a:endParaRPr>
          </a:p>
        </p:txBody>
      </p:sp>
      <p:grpSp>
        <p:nvGrpSpPr>
          <p:cNvPr id="119" name="Group 118"/>
          <p:cNvGrpSpPr/>
          <p:nvPr/>
        </p:nvGrpSpPr>
        <p:grpSpPr>
          <a:xfrm>
            <a:off x="2383438" y="1888930"/>
            <a:ext cx="6303362" cy="4054670"/>
            <a:chOff x="2343901" y="1923700"/>
            <a:chExt cx="6303362" cy="4054670"/>
          </a:xfrm>
        </p:grpSpPr>
        <p:sp>
          <p:nvSpPr>
            <p:cNvPr id="120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121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</p:spTree>
    <p:extLst>
      <p:ext uri="{BB962C8B-B14F-4D97-AF65-F5344CB8AC3E}">
        <p14:creationId xmlns:p14="http://schemas.microsoft.com/office/powerpoint/2010/main" val="4175075106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" name="object 70"/>
          <p:cNvSpPr/>
          <p:nvPr/>
        </p:nvSpPr>
        <p:spPr>
          <a:xfrm>
            <a:off x="2383438" y="5943600"/>
            <a:ext cx="6303362" cy="0"/>
          </a:xfrm>
          <a:custGeom>
            <a:avLst/>
            <a:gdLst/>
            <a:ahLst/>
            <a:cxnLst/>
            <a:rect l="l" t="t" r="r" b="b"/>
            <a:pathLst>
              <a:path w="6303362">
                <a:moveTo>
                  <a:pt x="0" y="0"/>
                </a:moveTo>
                <a:lnTo>
                  <a:pt x="6303362" y="0"/>
                </a:lnTo>
              </a:path>
            </a:pathLst>
          </a:custGeom>
          <a:ln w="25399">
            <a:solidFill>
              <a:srgbClr val="6094C9"/>
            </a:solidFill>
            <a:headEnd type="none"/>
            <a:tailEnd type="arrow"/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3" name="object 16"/>
          <p:cNvSpPr/>
          <p:nvPr/>
        </p:nvSpPr>
        <p:spPr>
          <a:xfrm>
            <a:off x="2668469" y="583455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4" name="object 17"/>
          <p:cNvSpPr/>
          <p:nvPr/>
        </p:nvSpPr>
        <p:spPr>
          <a:xfrm>
            <a:off x="6273057" y="576957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232" y="183106"/>
                </a:lnTo>
                <a:lnTo>
                  <a:pt x="1582" y="198179"/>
                </a:lnTo>
                <a:lnTo>
                  <a:pt x="4094" y="212848"/>
                </a:lnTo>
                <a:lnTo>
                  <a:pt x="7715" y="227057"/>
                </a:lnTo>
                <a:lnTo>
                  <a:pt x="12394" y="240752"/>
                </a:lnTo>
                <a:lnTo>
                  <a:pt x="18081" y="253876"/>
                </a:lnTo>
                <a:lnTo>
                  <a:pt x="24723" y="266374"/>
                </a:lnTo>
                <a:lnTo>
                  <a:pt x="32271" y="278192"/>
                </a:lnTo>
                <a:lnTo>
                  <a:pt x="40672" y="289272"/>
                </a:lnTo>
                <a:lnTo>
                  <a:pt x="49875" y="299561"/>
                </a:lnTo>
                <a:lnTo>
                  <a:pt x="59829" y="309001"/>
                </a:lnTo>
                <a:lnTo>
                  <a:pt x="70484" y="317539"/>
                </a:lnTo>
                <a:lnTo>
                  <a:pt x="81787" y="325118"/>
                </a:lnTo>
                <a:lnTo>
                  <a:pt x="93688" y="331684"/>
                </a:lnTo>
                <a:lnTo>
                  <a:pt x="106135" y="337180"/>
                </a:lnTo>
                <a:lnTo>
                  <a:pt x="119077" y="341551"/>
                </a:lnTo>
                <a:lnTo>
                  <a:pt x="132464" y="344742"/>
                </a:lnTo>
                <a:lnTo>
                  <a:pt x="146243" y="346697"/>
                </a:lnTo>
                <a:lnTo>
                  <a:pt x="160364" y="347361"/>
                </a:lnTo>
                <a:lnTo>
                  <a:pt x="169067" y="347110"/>
                </a:lnTo>
                <a:lnTo>
                  <a:pt x="182985" y="345647"/>
                </a:lnTo>
                <a:lnTo>
                  <a:pt x="196529" y="342927"/>
                </a:lnTo>
                <a:lnTo>
                  <a:pt x="209649" y="339005"/>
                </a:lnTo>
                <a:lnTo>
                  <a:pt x="222293" y="333937"/>
                </a:lnTo>
                <a:lnTo>
                  <a:pt x="234411" y="327778"/>
                </a:lnTo>
                <a:lnTo>
                  <a:pt x="245951" y="320584"/>
                </a:lnTo>
                <a:lnTo>
                  <a:pt x="256863" y="312410"/>
                </a:lnTo>
                <a:lnTo>
                  <a:pt x="267094" y="303311"/>
                </a:lnTo>
                <a:lnTo>
                  <a:pt x="276593" y="293344"/>
                </a:lnTo>
                <a:lnTo>
                  <a:pt x="285310" y="282563"/>
                </a:lnTo>
                <a:lnTo>
                  <a:pt x="293193" y="271024"/>
                </a:lnTo>
                <a:lnTo>
                  <a:pt x="300192" y="258782"/>
                </a:lnTo>
                <a:lnTo>
                  <a:pt x="306254" y="245893"/>
                </a:lnTo>
                <a:lnTo>
                  <a:pt x="311328" y="232412"/>
                </a:lnTo>
                <a:lnTo>
                  <a:pt x="315364" y="218395"/>
                </a:lnTo>
                <a:lnTo>
                  <a:pt x="318311" y="203897"/>
                </a:lnTo>
                <a:lnTo>
                  <a:pt x="320116" y="188974"/>
                </a:lnTo>
                <a:lnTo>
                  <a:pt x="320729" y="173681"/>
                </a:lnTo>
                <a:lnTo>
                  <a:pt x="320497" y="164254"/>
                </a:lnTo>
                <a:lnTo>
                  <a:pt x="319146" y="149181"/>
                </a:lnTo>
                <a:lnTo>
                  <a:pt x="316634" y="134512"/>
                </a:lnTo>
                <a:lnTo>
                  <a:pt x="313013" y="120303"/>
                </a:lnTo>
                <a:lnTo>
                  <a:pt x="308334" y="106609"/>
                </a:lnTo>
                <a:lnTo>
                  <a:pt x="302647" y="93484"/>
                </a:lnTo>
                <a:lnTo>
                  <a:pt x="296004" y="80986"/>
                </a:lnTo>
                <a:lnTo>
                  <a:pt x="288457" y="69169"/>
                </a:lnTo>
                <a:lnTo>
                  <a:pt x="280056" y="58088"/>
                </a:lnTo>
                <a:lnTo>
                  <a:pt x="270853" y="47800"/>
                </a:lnTo>
                <a:lnTo>
                  <a:pt x="260898" y="38359"/>
                </a:lnTo>
                <a:lnTo>
                  <a:pt x="250244" y="29822"/>
                </a:lnTo>
                <a:lnTo>
                  <a:pt x="238941" y="22242"/>
                </a:lnTo>
                <a:lnTo>
                  <a:pt x="227040" y="15677"/>
                </a:lnTo>
                <a:lnTo>
                  <a:pt x="214592" y="10181"/>
                </a:lnTo>
                <a:lnTo>
                  <a:pt x="201650" y="5810"/>
                </a:lnTo>
                <a:lnTo>
                  <a:pt x="188264" y="2619"/>
                </a:lnTo>
                <a:lnTo>
                  <a:pt x="174484" y="664"/>
                </a:lnTo>
                <a:lnTo>
                  <a:pt x="160364" y="0"/>
                </a:lnTo>
                <a:lnTo>
                  <a:pt x="151661" y="251"/>
                </a:lnTo>
                <a:lnTo>
                  <a:pt x="137744" y="1714"/>
                </a:lnTo>
                <a:lnTo>
                  <a:pt x="124199" y="4434"/>
                </a:lnTo>
                <a:lnTo>
                  <a:pt x="111079" y="8356"/>
                </a:lnTo>
                <a:lnTo>
                  <a:pt x="98435" y="13424"/>
                </a:lnTo>
                <a:lnTo>
                  <a:pt x="86317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5" y="54017"/>
                </a:lnTo>
                <a:lnTo>
                  <a:pt x="35418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9"/>
                </a:lnTo>
                <a:lnTo>
                  <a:pt x="5364" y="128966"/>
                </a:lnTo>
                <a:lnTo>
                  <a:pt x="2418" y="143464"/>
                </a:lnTo>
                <a:lnTo>
                  <a:pt x="613" y="158387"/>
                </a:lnTo>
                <a:lnTo>
                  <a:pt x="0" y="173681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5" name="object 18"/>
          <p:cNvSpPr/>
          <p:nvPr/>
        </p:nvSpPr>
        <p:spPr>
          <a:xfrm>
            <a:off x="6273057" y="576957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6" name="object 19"/>
          <p:cNvSpPr/>
          <p:nvPr/>
        </p:nvSpPr>
        <p:spPr>
          <a:xfrm>
            <a:off x="5853655" y="571095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232" y="183106"/>
                </a:lnTo>
                <a:lnTo>
                  <a:pt x="1582" y="198179"/>
                </a:lnTo>
                <a:lnTo>
                  <a:pt x="4094" y="212848"/>
                </a:lnTo>
                <a:lnTo>
                  <a:pt x="7715" y="227057"/>
                </a:lnTo>
                <a:lnTo>
                  <a:pt x="12394" y="240752"/>
                </a:lnTo>
                <a:lnTo>
                  <a:pt x="18081" y="253876"/>
                </a:lnTo>
                <a:lnTo>
                  <a:pt x="24723" y="266374"/>
                </a:lnTo>
                <a:lnTo>
                  <a:pt x="32271" y="278192"/>
                </a:lnTo>
                <a:lnTo>
                  <a:pt x="40672" y="289272"/>
                </a:lnTo>
                <a:lnTo>
                  <a:pt x="49875" y="299561"/>
                </a:lnTo>
                <a:lnTo>
                  <a:pt x="59829" y="309001"/>
                </a:lnTo>
                <a:lnTo>
                  <a:pt x="70484" y="317539"/>
                </a:lnTo>
                <a:lnTo>
                  <a:pt x="81787" y="325119"/>
                </a:lnTo>
                <a:lnTo>
                  <a:pt x="93688" y="331684"/>
                </a:lnTo>
                <a:lnTo>
                  <a:pt x="106135" y="337180"/>
                </a:lnTo>
                <a:lnTo>
                  <a:pt x="119077" y="341551"/>
                </a:lnTo>
                <a:lnTo>
                  <a:pt x="132464" y="344742"/>
                </a:lnTo>
                <a:lnTo>
                  <a:pt x="146243" y="346697"/>
                </a:lnTo>
                <a:lnTo>
                  <a:pt x="160364" y="347361"/>
                </a:lnTo>
                <a:lnTo>
                  <a:pt x="169067" y="347110"/>
                </a:lnTo>
                <a:lnTo>
                  <a:pt x="182985" y="345647"/>
                </a:lnTo>
                <a:lnTo>
                  <a:pt x="196529" y="342927"/>
                </a:lnTo>
                <a:lnTo>
                  <a:pt x="209649" y="339005"/>
                </a:lnTo>
                <a:lnTo>
                  <a:pt x="222293" y="333937"/>
                </a:lnTo>
                <a:lnTo>
                  <a:pt x="234411" y="327778"/>
                </a:lnTo>
                <a:lnTo>
                  <a:pt x="245952" y="320584"/>
                </a:lnTo>
                <a:lnTo>
                  <a:pt x="256863" y="312410"/>
                </a:lnTo>
                <a:lnTo>
                  <a:pt x="267094" y="303311"/>
                </a:lnTo>
                <a:lnTo>
                  <a:pt x="276593" y="293344"/>
                </a:lnTo>
                <a:lnTo>
                  <a:pt x="285310" y="282563"/>
                </a:lnTo>
                <a:lnTo>
                  <a:pt x="293193" y="271024"/>
                </a:lnTo>
                <a:lnTo>
                  <a:pt x="300192" y="258782"/>
                </a:lnTo>
                <a:lnTo>
                  <a:pt x="306254" y="245893"/>
                </a:lnTo>
                <a:lnTo>
                  <a:pt x="311328" y="232412"/>
                </a:lnTo>
                <a:lnTo>
                  <a:pt x="315364" y="218395"/>
                </a:lnTo>
                <a:lnTo>
                  <a:pt x="318311" y="203897"/>
                </a:lnTo>
                <a:lnTo>
                  <a:pt x="320116" y="188974"/>
                </a:lnTo>
                <a:lnTo>
                  <a:pt x="320729" y="173680"/>
                </a:lnTo>
                <a:lnTo>
                  <a:pt x="320497" y="164254"/>
                </a:lnTo>
                <a:lnTo>
                  <a:pt x="319146" y="149181"/>
                </a:lnTo>
                <a:lnTo>
                  <a:pt x="316634" y="134512"/>
                </a:lnTo>
                <a:lnTo>
                  <a:pt x="313013" y="120303"/>
                </a:lnTo>
                <a:lnTo>
                  <a:pt x="308334" y="106609"/>
                </a:lnTo>
                <a:lnTo>
                  <a:pt x="302647" y="93484"/>
                </a:lnTo>
                <a:lnTo>
                  <a:pt x="296005" y="80986"/>
                </a:lnTo>
                <a:lnTo>
                  <a:pt x="288457" y="69169"/>
                </a:lnTo>
                <a:lnTo>
                  <a:pt x="280056" y="58088"/>
                </a:lnTo>
                <a:lnTo>
                  <a:pt x="270853" y="47800"/>
                </a:lnTo>
                <a:lnTo>
                  <a:pt x="260898" y="38359"/>
                </a:lnTo>
                <a:lnTo>
                  <a:pt x="250244" y="29822"/>
                </a:lnTo>
                <a:lnTo>
                  <a:pt x="238941" y="22242"/>
                </a:lnTo>
                <a:lnTo>
                  <a:pt x="227040" y="15677"/>
                </a:lnTo>
                <a:lnTo>
                  <a:pt x="214592" y="10181"/>
                </a:lnTo>
                <a:lnTo>
                  <a:pt x="201650" y="5810"/>
                </a:lnTo>
                <a:lnTo>
                  <a:pt x="188264" y="2619"/>
                </a:lnTo>
                <a:lnTo>
                  <a:pt x="174484" y="664"/>
                </a:lnTo>
                <a:lnTo>
                  <a:pt x="160364" y="0"/>
                </a:lnTo>
                <a:lnTo>
                  <a:pt x="151661" y="251"/>
                </a:lnTo>
                <a:lnTo>
                  <a:pt x="137744" y="1714"/>
                </a:lnTo>
                <a:lnTo>
                  <a:pt x="124199" y="4434"/>
                </a:lnTo>
                <a:lnTo>
                  <a:pt x="111079" y="8356"/>
                </a:lnTo>
                <a:lnTo>
                  <a:pt x="98435" y="13424"/>
                </a:lnTo>
                <a:lnTo>
                  <a:pt x="86317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5" y="54017"/>
                </a:lnTo>
                <a:lnTo>
                  <a:pt x="35418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9"/>
                </a:lnTo>
                <a:lnTo>
                  <a:pt x="5364" y="128966"/>
                </a:lnTo>
                <a:lnTo>
                  <a:pt x="2418" y="143464"/>
                </a:lnTo>
                <a:lnTo>
                  <a:pt x="613" y="158387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7" name="object 21"/>
          <p:cNvSpPr/>
          <p:nvPr/>
        </p:nvSpPr>
        <p:spPr>
          <a:xfrm>
            <a:off x="5300557" y="587860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232" y="183107"/>
                </a:lnTo>
                <a:lnTo>
                  <a:pt x="1583" y="198180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7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3"/>
                </a:lnTo>
                <a:lnTo>
                  <a:pt x="49876" y="299561"/>
                </a:lnTo>
                <a:lnTo>
                  <a:pt x="59830" y="309002"/>
                </a:lnTo>
                <a:lnTo>
                  <a:pt x="70485" y="317539"/>
                </a:lnTo>
                <a:lnTo>
                  <a:pt x="81788" y="325119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8" y="347110"/>
                </a:lnTo>
                <a:lnTo>
                  <a:pt x="182985" y="345647"/>
                </a:lnTo>
                <a:lnTo>
                  <a:pt x="196529" y="342927"/>
                </a:lnTo>
                <a:lnTo>
                  <a:pt x="209649" y="339005"/>
                </a:lnTo>
                <a:lnTo>
                  <a:pt x="222293" y="333937"/>
                </a:lnTo>
                <a:lnTo>
                  <a:pt x="234411" y="327778"/>
                </a:lnTo>
                <a:lnTo>
                  <a:pt x="245951" y="320584"/>
                </a:lnTo>
                <a:lnTo>
                  <a:pt x="256863" y="312410"/>
                </a:lnTo>
                <a:lnTo>
                  <a:pt x="267094" y="303312"/>
                </a:lnTo>
                <a:lnTo>
                  <a:pt x="276593" y="293344"/>
                </a:lnTo>
                <a:lnTo>
                  <a:pt x="285310" y="282563"/>
                </a:lnTo>
                <a:lnTo>
                  <a:pt x="293193" y="271024"/>
                </a:lnTo>
                <a:lnTo>
                  <a:pt x="300192" y="258782"/>
                </a:lnTo>
                <a:lnTo>
                  <a:pt x="306254" y="245893"/>
                </a:lnTo>
                <a:lnTo>
                  <a:pt x="311328" y="232412"/>
                </a:lnTo>
                <a:lnTo>
                  <a:pt x="315364" y="218395"/>
                </a:lnTo>
                <a:lnTo>
                  <a:pt x="318311" y="203897"/>
                </a:lnTo>
                <a:lnTo>
                  <a:pt x="320116" y="188974"/>
                </a:lnTo>
                <a:lnTo>
                  <a:pt x="320729" y="173680"/>
                </a:lnTo>
                <a:lnTo>
                  <a:pt x="320497" y="164255"/>
                </a:lnTo>
                <a:lnTo>
                  <a:pt x="319146" y="149182"/>
                </a:lnTo>
                <a:lnTo>
                  <a:pt x="316635" y="134513"/>
                </a:lnTo>
                <a:lnTo>
                  <a:pt x="313014" y="120304"/>
                </a:lnTo>
                <a:lnTo>
                  <a:pt x="308334" y="106609"/>
                </a:lnTo>
                <a:lnTo>
                  <a:pt x="302647" y="93485"/>
                </a:lnTo>
                <a:lnTo>
                  <a:pt x="296005" y="80987"/>
                </a:lnTo>
                <a:lnTo>
                  <a:pt x="288458" y="69169"/>
                </a:lnTo>
                <a:lnTo>
                  <a:pt x="280057" y="58089"/>
                </a:lnTo>
                <a:lnTo>
                  <a:pt x="270853" y="47800"/>
                </a:lnTo>
                <a:lnTo>
                  <a:pt x="260899" y="38360"/>
                </a:lnTo>
                <a:lnTo>
                  <a:pt x="250244" y="29822"/>
                </a:lnTo>
                <a:lnTo>
                  <a:pt x="238941" y="22242"/>
                </a:lnTo>
                <a:lnTo>
                  <a:pt x="227040" y="15677"/>
                </a:lnTo>
                <a:lnTo>
                  <a:pt x="214593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1" y="251"/>
                </a:lnTo>
                <a:lnTo>
                  <a:pt x="137744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5" y="13424"/>
                </a:lnTo>
                <a:lnTo>
                  <a:pt x="86317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50"/>
                </a:lnTo>
                <a:lnTo>
                  <a:pt x="44135" y="54017"/>
                </a:lnTo>
                <a:lnTo>
                  <a:pt x="35418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9"/>
                </a:lnTo>
                <a:lnTo>
                  <a:pt x="5364" y="128966"/>
                </a:lnTo>
                <a:lnTo>
                  <a:pt x="2418" y="143464"/>
                </a:lnTo>
                <a:lnTo>
                  <a:pt x="613" y="158387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8" name="object 23"/>
          <p:cNvSpPr/>
          <p:nvPr/>
        </p:nvSpPr>
        <p:spPr>
          <a:xfrm>
            <a:off x="6361937" y="579347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1"/>
                </a:moveTo>
                <a:lnTo>
                  <a:pt x="232" y="183107"/>
                </a:lnTo>
                <a:lnTo>
                  <a:pt x="1583" y="198180"/>
                </a:lnTo>
                <a:lnTo>
                  <a:pt x="4094" y="212849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7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3"/>
                </a:lnTo>
                <a:lnTo>
                  <a:pt x="49876" y="299561"/>
                </a:lnTo>
                <a:lnTo>
                  <a:pt x="59830" y="309002"/>
                </a:lnTo>
                <a:lnTo>
                  <a:pt x="70485" y="317539"/>
                </a:lnTo>
                <a:lnTo>
                  <a:pt x="81788" y="325119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2"/>
                </a:lnTo>
                <a:lnTo>
                  <a:pt x="169068" y="347110"/>
                </a:lnTo>
                <a:lnTo>
                  <a:pt x="182985" y="345647"/>
                </a:lnTo>
                <a:lnTo>
                  <a:pt x="196529" y="342927"/>
                </a:lnTo>
                <a:lnTo>
                  <a:pt x="209649" y="339005"/>
                </a:lnTo>
                <a:lnTo>
                  <a:pt x="222294" y="333937"/>
                </a:lnTo>
                <a:lnTo>
                  <a:pt x="234412" y="327778"/>
                </a:lnTo>
                <a:lnTo>
                  <a:pt x="245952" y="320584"/>
                </a:lnTo>
                <a:lnTo>
                  <a:pt x="256863" y="312410"/>
                </a:lnTo>
                <a:lnTo>
                  <a:pt x="267094" y="303312"/>
                </a:lnTo>
                <a:lnTo>
                  <a:pt x="276594" y="293344"/>
                </a:lnTo>
                <a:lnTo>
                  <a:pt x="285310" y="282563"/>
                </a:lnTo>
                <a:lnTo>
                  <a:pt x="293194" y="271024"/>
                </a:lnTo>
                <a:lnTo>
                  <a:pt x="300192" y="258782"/>
                </a:lnTo>
                <a:lnTo>
                  <a:pt x="306254" y="245893"/>
                </a:lnTo>
                <a:lnTo>
                  <a:pt x="311328" y="232412"/>
                </a:lnTo>
                <a:lnTo>
                  <a:pt x="315364" y="218395"/>
                </a:lnTo>
                <a:lnTo>
                  <a:pt x="318311" y="203897"/>
                </a:lnTo>
                <a:lnTo>
                  <a:pt x="320116" y="188974"/>
                </a:lnTo>
                <a:lnTo>
                  <a:pt x="320729" y="173681"/>
                </a:lnTo>
                <a:lnTo>
                  <a:pt x="320497" y="164255"/>
                </a:lnTo>
                <a:lnTo>
                  <a:pt x="319146" y="149182"/>
                </a:lnTo>
                <a:lnTo>
                  <a:pt x="316635" y="134513"/>
                </a:lnTo>
                <a:lnTo>
                  <a:pt x="313014" y="120304"/>
                </a:lnTo>
                <a:lnTo>
                  <a:pt x="308334" y="106609"/>
                </a:lnTo>
                <a:lnTo>
                  <a:pt x="302648" y="93485"/>
                </a:lnTo>
                <a:lnTo>
                  <a:pt x="296005" y="80987"/>
                </a:lnTo>
                <a:lnTo>
                  <a:pt x="288458" y="69169"/>
                </a:lnTo>
                <a:lnTo>
                  <a:pt x="280057" y="58089"/>
                </a:lnTo>
                <a:lnTo>
                  <a:pt x="270854" y="47800"/>
                </a:lnTo>
                <a:lnTo>
                  <a:pt x="260899" y="38360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1" y="251"/>
                </a:lnTo>
                <a:lnTo>
                  <a:pt x="137744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5" y="13424"/>
                </a:lnTo>
                <a:lnTo>
                  <a:pt x="86317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50"/>
                </a:lnTo>
                <a:lnTo>
                  <a:pt x="44135" y="54017"/>
                </a:lnTo>
                <a:lnTo>
                  <a:pt x="35418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9"/>
                </a:lnTo>
                <a:lnTo>
                  <a:pt x="5364" y="128966"/>
                </a:lnTo>
                <a:lnTo>
                  <a:pt x="2418" y="143464"/>
                </a:lnTo>
                <a:lnTo>
                  <a:pt x="613" y="158387"/>
                </a:lnTo>
                <a:lnTo>
                  <a:pt x="0" y="173681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9" name="object 24"/>
          <p:cNvSpPr/>
          <p:nvPr/>
        </p:nvSpPr>
        <p:spPr>
          <a:xfrm>
            <a:off x="6361936" y="579347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0" name="object 25"/>
          <p:cNvSpPr/>
          <p:nvPr/>
        </p:nvSpPr>
        <p:spPr>
          <a:xfrm>
            <a:off x="5880842" y="573498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1"/>
                </a:moveTo>
                <a:lnTo>
                  <a:pt x="232" y="183107"/>
                </a:lnTo>
                <a:lnTo>
                  <a:pt x="1583" y="198180"/>
                </a:lnTo>
                <a:lnTo>
                  <a:pt x="4094" y="212849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7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3"/>
                </a:lnTo>
                <a:lnTo>
                  <a:pt x="49876" y="299561"/>
                </a:lnTo>
                <a:lnTo>
                  <a:pt x="59830" y="309002"/>
                </a:lnTo>
                <a:lnTo>
                  <a:pt x="70485" y="317539"/>
                </a:lnTo>
                <a:lnTo>
                  <a:pt x="81788" y="325119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2"/>
                </a:lnTo>
                <a:lnTo>
                  <a:pt x="169069" y="347110"/>
                </a:lnTo>
                <a:lnTo>
                  <a:pt x="182986" y="345647"/>
                </a:lnTo>
                <a:lnTo>
                  <a:pt x="196530" y="342927"/>
                </a:lnTo>
                <a:lnTo>
                  <a:pt x="209650" y="339005"/>
                </a:lnTo>
                <a:lnTo>
                  <a:pt x="222295" y="333937"/>
                </a:lnTo>
                <a:lnTo>
                  <a:pt x="234413" y="327778"/>
                </a:lnTo>
                <a:lnTo>
                  <a:pt x="245953" y="320584"/>
                </a:lnTo>
                <a:lnTo>
                  <a:pt x="256864" y="312410"/>
                </a:lnTo>
                <a:lnTo>
                  <a:pt x="267095" y="303311"/>
                </a:lnTo>
                <a:lnTo>
                  <a:pt x="276595" y="293344"/>
                </a:lnTo>
                <a:lnTo>
                  <a:pt x="285311" y="282563"/>
                </a:lnTo>
                <a:lnTo>
                  <a:pt x="293195" y="271024"/>
                </a:lnTo>
                <a:lnTo>
                  <a:pt x="300193" y="258782"/>
                </a:lnTo>
                <a:lnTo>
                  <a:pt x="306255" y="245893"/>
                </a:lnTo>
                <a:lnTo>
                  <a:pt x="311330" y="232412"/>
                </a:lnTo>
                <a:lnTo>
                  <a:pt x="315366" y="218395"/>
                </a:lnTo>
                <a:lnTo>
                  <a:pt x="318312" y="203897"/>
                </a:lnTo>
                <a:lnTo>
                  <a:pt x="320117" y="188974"/>
                </a:lnTo>
                <a:lnTo>
                  <a:pt x="320730" y="173681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8" y="93484"/>
                </a:lnTo>
                <a:lnTo>
                  <a:pt x="296006" y="80986"/>
                </a:lnTo>
                <a:lnTo>
                  <a:pt x="288458" y="69169"/>
                </a:lnTo>
                <a:lnTo>
                  <a:pt x="280057" y="58088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1" y="251"/>
                </a:lnTo>
                <a:lnTo>
                  <a:pt x="137744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5" y="13424"/>
                </a:lnTo>
                <a:lnTo>
                  <a:pt x="86317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50"/>
                </a:lnTo>
                <a:lnTo>
                  <a:pt x="44135" y="54017"/>
                </a:lnTo>
                <a:lnTo>
                  <a:pt x="35418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9"/>
                </a:lnTo>
                <a:lnTo>
                  <a:pt x="5364" y="128966"/>
                </a:lnTo>
                <a:lnTo>
                  <a:pt x="2418" y="143464"/>
                </a:lnTo>
                <a:lnTo>
                  <a:pt x="613" y="158387"/>
                </a:lnTo>
                <a:lnTo>
                  <a:pt x="0" y="173681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1" name="object 28"/>
          <p:cNvSpPr/>
          <p:nvPr/>
        </p:nvSpPr>
        <p:spPr>
          <a:xfrm>
            <a:off x="4557260" y="58683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2" name="object 29"/>
          <p:cNvSpPr/>
          <p:nvPr/>
        </p:nvSpPr>
        <p:spPr>
          <a:xfrm>
            <a:off x="5107607" y="583061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232" y="183107"/>
                </a:lnTo>
                <a:lnTo>
                  <a:pt x="1583" y="198180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1" y="253877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2" y="289273"/>
                </a:lnTo>
                <a:lnTo>
                  <a:pt x="49876" y="299561"/>
                </a:lnTo>
                <a:lnTo>
                  <a:pt x="59830" y="309002"/>
                </a:lnTo>
                <a:lnTo>
                  <a:pt x="70485" y="317539"/>
                </a:lnTo>
                <a:lnTo>
                  <a:pt x="81788" y="325119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7"/>
                </a:lnTo>
                <a:lnTo>
                  <a:pt x="196530" y="342927"/>
                </a:lnTo>
                <a:lnTo>
                  <a:pt x="209650" y="339005"/>
                </a:lnTo>
                <a:lnTo>
                  <a:pt x="222295" y="333937"/>
                </a:lnTo>
                <a:lnTo>
                  <a:pt x="234413" y="327778"/>
                </a:lnTo>
                <a:lnTo>
                  <a:pt x="245953" y="320584"/>
                </a:lnTo>
                <a:lnTo>
                  <a:pt x="256864" y="312410"/>
                </a:lnTo>
                <a:lnTo>
                  <a:pt x="267095" y="303311"/>
                </a:lnTo>
                <a:lnTo>
                  <a:pt x="276594" y="293344"/>
                </a:lnTo>
                <a:lnTo>
                  <a:pt x="285311" y="282563"/>
                </a:lnTo>
                <a:lnTo>
                  <a:pt x="293195" y="271024"/>
                </a:lnTo>
                <a:lnTo>
                  <a:pt x="300193" y="258782"/>
                </a:lnTo>
                <a:lnTo>
                  <a:pt x="306255" y="245893"/>
                </a:lnTo>
                <a:lnTo>
                  <a:pt x="311330" y="232412"/>
                </a:lnTo>
                <a:lnTo>
                  <a:pt x="315366" y="218395"/>
                </a:lnTo>
                <a:lnTo>
                  <a:pt x="318312" y="203897"/>
                </a:lnTo>
                <a:lnTo>
                  <a:pt x="320117" y="188974"/>
                </a:lnTo>
                <a:lnTo>
                  <a:pt x="320730" y="173681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8" y="93484"/>
                </a:lnTo>
                <a:lnTo>
                  <a:pt x="296006" y="80986"/>
                </a:lnTo>
                <a:lnTo>
                  <a:pt x="288458" y="69169"/>
                </a:lnTo>
                <a:lnTo>
                  <a:pt x="280057" y="58088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1" y="251"/>
                </a:lnTo>
                <a:lnTo>
                  <a:pt x="137744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5" y="13424"/>
                </a:lnTo>
                <a:lnTo>
                  <a:pt x="86317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50"/>
                </a:lnTo>
                <a:lnTo>
                  <a:pt x="44135" y="54017"/>
                </a:lnTo>
                <a:lnTo>
                  <a:pt x="35418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9"/>
                </a:lnTo>
                <a:lnTo>
                  <a:pt x="5364" y="128966"/>
                </a:lnTo>
                <a:lnTo>
                  <a:pt x="2418" y="143464"/>
                </a:lnTo>
                <a:lnTo>
                  <a:pt x="613" y="158387"/>
                </a:lnTo>
                <a:lnTo>
                  <a:pt x="0" y="173681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3" name="object 30"/>
          <p:cNvSpPr/>
          <p:nvPr/>
        </p:nvSpPr>
        <p:spPr>
          <a:xfrm>
            <a:off x="5107607" y="583061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4" name="object 32"/>
          <p:cNvSpPr/>
          <p:nvPr/>
        </p:nvSpPr>
        <p:spPr>
          <a:xfrm>
            <a:off x="2907043" y="585028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5" name="object 34"/>
          <p:cNvSpPr/>
          <p:nvPr/>
        </p:nvSpPr>
        <p:spPr>
          <a:xfrm>
            <a:off x="7648012" y="578724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6" name="object 36"/>
          <p:cNvSpPr/>
          <p:nvPr/>
        </p:nvSpPr>
        <p:spPr>
          <a:xfrm>
            <a:off x="6593786" y="57902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7" name="object 38"/>
          <p:cNvSpPr/>
          <p:nvPr/>
        </p:nvSpPr>
        <p:spPr>
          <a:xfrm>
            <a:off x="8001594" y="582076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5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8" name="object 40"/>
          <p:cNvSpPr/>
          <p:nvPr/>
        </p:nvSpPr>
        <p:spPr>
          <a:xfrm>
            <a:off x="4724741" y="584823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9" name="object 42"/>
          <p:cNvSpPr/>
          <p:nvPr/>
        </p:nvSpPr>
        <p:spPr>
          <a:xfrm>
            <a:off x="5107607" y="57796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0" name="object 44"/>
          <p:cNvSpPr/>
          <p:nvPr/>
        </p:nvSpPr>
        <p:spPr>
          <a:xfrm>
            <a:off x="3418124" y="578557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1" name="object 46"/>
          <p:cNvSpPr/>
          <p:nvPr/>
        </p:nvSpPr>
        <p:spPr>
          <a:xfrm>
            <a:off x="3257759" y="588072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2" name="object 47"/>
          <p:cNvSpPr/>
          <p:nvPr/>
        </p:nvSpPr>
        <p:spPr>
          <a:xfrm>
            <a:off x="6091186" y="576214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232" y="183107"/>
                </a:lnTo>
                <a:lnTo>
                  <a:pt x="1583" y="198180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1" y="253877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2" y="289273"/>
                </a:lnTo>
                <a:lnTo>
                  <a:pt x="49876" y="299561"/>
                </a:lnTo>
                <a:lnTo>
                  <a:pt x="59830" y="309002"/>
                </a:lnTo>
                <a:lnTo>
                  <a:pt x="70485" y="317539"/>
                </a:lnTo>
                <a:lnTo>
                  <a:pt x="81788" y="325119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7"/>
                </a:lnTo>
                <a:lnTo>
                  <a:pt x="196530" y="342927"/>
                </a:lnTo>
                <a:lnTo>
                  <a:pt x="209650" y="339005"/>
                </a:lnTo>
                <a:lnTo>
                  <a:pt x="222295" y="333937"/>
                </a:lnTo>
                <a:lnTo>
                  <a:pt x="234413" y="327778"/>
                </a:lnTo>
                <a:lnTo>
                  <a:pt x="245953" y="320584"/>
                </a:lnTo>
                <a:lnTo>
                  <a:pt x="256864" y="312410"/>
                </a:lnTo>
                <a:lnTo>
                  <a:pt x="267095" y="303311"/>
                </a:lnTo>
                <a:lnTo>
                  <a:pt x="276594" y="293344"/>
                </a:lnTo>
                <a:lnTo>
                  <a:pt x="285311" y="282563"/>
                </a:lnTo>
                <a:lnTo>
                  <a:pt x="293195" y="271024"/>
                </a:lnTo>
                <a:lnTo>
                  <a:pt x="300193" y="258782"/>
                </a:lnTo>
                <a:lnTo>
                  <a:pt x="306255" y="245893"/>
                </a:lnTo>
                <a:lnTo>
                  <a:pt x="311330" y="232412"/>
                </a:lnTo>
                <a:lnTo>
                  <a:pt x="315366" y="218395"/>
                </a:lnTo>
                <a:lnTo>
                  <a:pt x="318312" y="203897"/>
                </a:lnTo>
                <a:lnTo>
                  <a:pt x="320117" y="188974"/>
                </a:lnTo>
                <a:lnTo>
                  <a:pt x="320730" y="173681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8" y="93484"/>
                </a:lnTo>
                <a:lnTo>
                  <a:pt x="296006" y="80986"/>
                </a:lnTo>
                <a:lnTo>
                  <a:pt x="288458" y="69169"/>
                </a:lnTo>
                <a:lnTo>
                  <a:pt x="280057" y="58088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1" y="251"/>
                </a:lnTo>
                <a:lnTo>
                  <a:pt x="137744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5" y="13424"/>
                </a:lnTo>
                <a:lnTo>
                  <a:pt x="86317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50"/>
                </a:lnTo>
                <a:lnTo>
                  <a:pt x="44135" y="54017"/>
                </a:lnTo>
                <a:lnTo>
                  <a:pt x="35418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9"/>
                </a:lnTo>
                <a:lnTo>
                  <a:pt x="5364" y="128966"/>
                </a:lnTo>
                <a:lnTo>
                  <a:pt x="2418" y="143464"/>
                </a:lnTo>
                <a:lnTo>
                  <a:pt x="613" y="158387"/>
                </a:lnTo>
                <a:lnTo>
                  <a:pt x="0" y="173681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3" name="object 48"/>
          <p:cNvSpPr/>
          <p:nvPr/>
        </p:nvSpPr>
        <p:spPr>
          <a:xfrm>
            <a:off x="6091185" y="576214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4" name="object 50"/>
          <p:cNvSpPr/>
          <p:nvPr/>
        </p:nvSpPr>
        <p:spPr>
          <a:xfrm>
            <a:off x="5239383" y="57900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5" name="object 51"/>
          <p:cNvSpPr/>
          <p:nvPr/>
        </p:nvSpPr>
        <p:spPr>
          <a:xfrm>
            <a:off x="7163762" y="585801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232" y="183106"/>
                </a:lnTo>
                <a:lnTo>
                  <a:pt x="1582" y="198179"/>
                </a:lnTo>
                <a:lnTo>
                  <a:pt x="4094" y="212848"/>
                </a:lnTo>
                <a:lnTo>
                  <a:pt x="7715" y="227057"/>
                </a:lnTo>
                <a:lnTo>
                  <a:pt x="12394" y="240752"/>
                </a:lnTo>
                <a:lnTo>
                  <a:pt x="18081" y="253876"/>
                </a:lnTo>
                <a:lnTo>
                  <a:pt x="24723" y="266374"/>
                </a:lnTo>
                <a:lnTo>
                  <a:pt x="32271" y="278192"/>
                </a:lnTo>
                <a:lnTo>
                  <a:pt x="40672" y="289272"/>
                </a:lnTo>
                <a:lnTo>
                  <a:pt x="49875" y="299561"/>
                </a:lnTo>
                <a:lnTo>
                  <a:pt x="59829" y="309001"/>
                </a:lnTo>
                <a:lnTo>
                  <a:pt x="70484" y="317539"/>
                </a:lnTo>
                <a:lnTo>
                  <a:pt x="81787" y="325119"/>
                </a:lnTo>
                <a:lnTo>
                  <a:pt x="93688" y="331684"/>
                </a:lnTo>
                <a:lnTo>
                  <a:pt x="106135" y="337180"/>
                </a:lnTo>
                <a:lnTo>
                  <a:pt x="119077" y="341551"/>
                </a:lnTo>
                <a:lnTo>
                  <a:pt x="132464" y="344742"/>
                </a:lnTo>
                <a:lnTo>
                  <a:pt x="146243" y="346697"/>
                </a:lnTo>
                <a:lnTo>
                  <a:pt x="160364" y="347361"/>
                </a:lnTo>
                <a:lnTo>
                  <a:pt x="169067" y="347110"/>
                </a:lnTo>
                <a:lnTo>
                  <a:pt x="182985" y="345647"/>
                </a:lnTo>
                <a:lnTo>
                  <a:pt x="196529" y="342927"/>
                </a:lnTo>
                <a:lnTo>
                  <a:pt x="209649" y="339005"/>
                </a:lnTo>
                <a:lnTo>
                  <a:pt x="222293" y="333937"/>
                </a:lnTo>
                <a:lnTo>
                  <a:pt x="234411" y="327778"/>
                </a:lnTo>
                <a:lnTo>
                  <a:pt x="245952" y="320584"/>
                </a:lnTo>
                <a:lnTo>
                  <a:pt x="256863" y="312410"/>
                </a:lnTo>
                <a:lnTo>
                  <a:pt x="267094" y="303311"/>
                </a:lnTo>
                <a:lnTo>
                  <a:pt x="276593" y="293344"/>
                </a:lnTo>
                <a:lnTo>
                  <a:pt x="285310" y="282563"/>
                </a:lnTo>
                <a:lnTo>
                  <a:pt x="293193" y="271024"/>
                </a:lnTo>
                <a:lnTo>
                  <a:pt x="300192" y="258782"/>
                </a:lnTo>
                <a:lnTo>
                  <a:pt x="306254" y="245893"/>
                </a:lnTo>
                <a:lnTo>
                  <a:pt x="311328" y="232412"/>
                </a:lnTo>
                <a:lnTo>
                  <a:pt x="315364" y="218395"/>
                </a:lnTo>
                <a:lnTo>
                  <a:pt x="318311" y="203897"/>
                </a:lnTo>
                <a:lnTo>
                  <a:pt x="320116" y="188974"/>
                </a:lnTo>
                <a:lnTo>
                  <a:pt x="320729" y="173680"/>
                </a:lnTo>
                <a:lnTo>
                  <a:pt x="320497" y="164254"/>
                </a:lnTo>
                <a:lnTo>
                  <a:pt x="319146" y="149181"/>
                </a:lnTo>
                <a:lnTo>
                  <a:pt x="316634" y="134512"/>
                </a:lnTo>
                <a:lnTo>
                  <a:pt x="313013" y="120303"/>
                </a:lnTo>
                <a:lnTo>
                  <a:pt x="308334" y="106609"/>
                </a:lnTo>
                <a:lnTo>
                  <a:pt x="302647" y="93484"/>
                </a:lnTo>
                <a:lnTo>
                  <a:pt x="296005" y="80986"/>
                </a:lnTo>
                <a:lnTo>
                  <a:pt x="288457" y="69169"/>
                </a:lnTo>
                <a:lnTo>
                  <a:pt x="280056" y="58088"/>
                </a:lnTo>
                <a:lnTo>
                  <a:pt x="270853" y="47800"/>
                </a:lnTo>
                <a:lnTo>
                  <a:pt x="260898" y="38359"/>
                </a:lnTo>
                <a:lnTo>
                  <a:pt x="250244" y="29822"/>
                </a:lnTo>
                <a:lnTo>
                  <a:pt x="238941" y="22242"/>
                </a:lnTo>
                <a:lnTo>
                  <a:pt x="227040" y="15677"/>
                </a:lnTo>
                <a:lnTo>
                  <a:pt x="214592" y="10181"/>
                </a:lnTo>
                <a:lnTo>
                  <a:pt x="201650" y="5810"/>
                </a:lnTo>
                <a:lnTo>
                  <a:pt x="188264" y="2619"/>
                </a:lnTo>
                <a:lnTo>
                  <a:pt x="174484" y="664"/>
                </a:lnTo>
                <a:lnTo>
                  <a:pt x="160364" y="0"/>
                </a:lnTo>
                <a:lnTo>
                  <a:pt x="151661" y="251"/>
                </a:lnTo>
                <a:lnTo>
                  <a:pt x="137744" y="1714"/>
                </a:lnTo>
                <a:lnTo>
                  <a:pt x="124199" y="4434"/>
                </a:lnTo>
                <a:lnTo>
                  <a:pt x="111079" y="8356"/>
                </a:lnTo>
                <a:lnTo>
                  <a:pt x="98435" y="13424"/>
                </a:lnTo>
                <a:lnTo>
                  <a:pt x="86317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5" y="54017"/>
                </a:lnTo>
                <a:lnTo>
                  <a:pt x="35418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9"/>
                </a:lnTo>
                <a:lnTo>
                  <a:pt x="5364" y="128966"/>
                </a:lnTo>
                <a:lnTo>
                  <a:pt x="2418" y="143464"/>
                </a:lnTo>
                <a:lnTo>
                  <a:pt x="613" y="15838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6" name="object 54"/>
          <p:cNvSpPr/>
          <p:nvPr/>
        </p:nvSpPr>
        <p:spPr>
          <a:xfrm>
            <a:off x="5359085" y="585327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7" name="object 56"/>
          <p:cNvSpPr/>
          <p:nvPr/>
        </p:nvSpPr>
        <p:spPr>
          <a:xfrm>
            <a:off x="7171053" y="580535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7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9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8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50" y="291973"/>
                </a:lnTo>
                <a:lnTo>
                  <a:pt x="302221" y="281377"/>
                </a:lnTo>
                <a:lnTo>
                  <a:pt x="310252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8" name="object 58"/>
          <p:cNvSpPr/>
          <p:nvPr/>
        </p:nvSpPr>
        <p:spPr>
          <a:xfrm>
            <a:off x="5531142" y="57796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9" name="object 60"/>
          <p:cNvSpPr/>
          <p:nvPr/>
        </p:nvSpPr>
        <p:spPr>
          <a:xfrm>
            <a:off x="7356198" y="58085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0" name="object 62"/>
          <p:cNvSpPr/>
          <p:nvPr/>
        </p:nvSpPr>
        <p:spPr>
          <a:xfrm>
            <a:off x="6172602" y="56843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1" name="object 64"/>
          <p:cNvSpPr/>
          <p:nvPr/>
        </p:nvSpPr>
        <p:spPr>
          <a:xfrm>
            <a:off x="4877989" y="580535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2" name="object 66"/>
          <p:cNvSpPr/>
          <p:nvPr/>
        </p:nvSpPr>
        <p:spPr>
          <a:xfrm>
            <a:off x="5581873" y="580884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3" name="object 68"/>
          <p:cNvSpPr/>
          <p:nvPr/>
        </p:nvSpPr>
        <p:spPr>
          <a:xfrm>
            <a:off x="5930822" y="578724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4" name="object 70"/>
          <p:cNvSpPr/>
          <p:nvPr/>
        </p:nvSpPr>
        <p:spPr>
          <a:xfrm>
            <a:off x="3899218" y="582076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5" name="object 74"/>
          <p:cNvSpPr/>
          <p:nvPr/>
        </p:nvSpPr>
        <p:spPr>
          <a:xfrm>
            <a:off x="3578489" y="578724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6" name="object 75"/>
          <p:cNvSpPr/>
          <p:nvPr/>
        </p:nvSpPr>
        <p:spPr>
          <a:xfrm>
            <a:off x="6361937" y="580297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232" y="183107"/>
                </a:lnTo>
                <a:lnTo>
                  <a:pt x="1583" y="198180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1" y="253877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2" y="289273"/>
                </a:lnTo>
                <a:lnTo>
                  <a:pt x="49876" y="299561"/>
                </a:lnTo>
                <a:lnTo>
                  <a:pt x="59830" y="309002"/>
                </a:lnTo>
                <a:lnTo>
                  <a:pt x="70485" y="317539"/>
                </a:lnTo>
                <a:lnTo>
                  <a:pt x="81788" y="325119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8" y="347110"/>
                </a:lnTo>
                <a:lnTo>
                  <a:pt x="182985" y="345647"/>
                </a:lnTo>
                <a:lnTo>
                  <a:pt x="196529" y="342927"/>
                </a:lnTo>
                <a:lnTo>
                  <a:pt x="209649" y="339005"/>
                </a:lnTo>
                <a:lnTo>
                  <a:pt x="222294" y="333937"/>
                </a:lnTo>
                <a:lnTo>
                  <a:pt x="234412" y="327778"/>
                </a:lnTo>
                <a:lnTo>
                  <a:pt x="245952" y="320584"/>
                </a:lnTo>
                <a:lnTo>
                  <a:pt x="256863" y="312410"/>
                </a:lnTo>
                <a:lnTo>
                  <a:pt x="267094" y="303312"/>
                </a:lnTo>
                <a:lnTo>
                  <a:pt x="276594" y="293344"/>
                </a:lnTo>
                <a:lnTo>
                  <a:pt x="285310" y="282563"/>
                </a:lnTo>
                <a:lnTo>
                  <a:pt x="293194" y="271024"/>
                </a:lnTo>
                <a:lnTo>
                  <a:pt x="300192" y="258782"/>
                </a:lnTo>
                <a:lnTo>
                  <a:pt x="306254" y="245893"/>
                </a:lnTo>
                <a:lnTo>
                  <a:pt x="311328" y="232412"/>
                </a:lnTo>
                <a:lnTo>
                  <a:pt x="315364" y="218395"/>
                </a:lnTo>
                <a:lnTo>
                  <a:pt x="318311" y="203897"/>
                </a:lnTo>
                <a:lnTo>
                  <a:pt x="320116" y="188974"/>
                </a:lnTo>
                <a:lnTo>
                  <a:pt x="320729" y="173681"/>
                </a:lnTo>
                <a:lnTo>
                  <a:pt x="320497" y="164255"/>
                </a:lnTo>
                <a:lnTo>
                  <a:pt x="319146" y="149182"/>
                </a:lnTo>
                <a:lnTo>
                  <a:pt x="316635" y="134513"/>
                </a:lnTo>
                <a:lnTo>
                  <a:pt x="313014" y="120304"/>
                </a:lnTo>
                <a:lnTo>
                  <a:pt x="308334" y="106609"/>
                </a:lnTo>
                <a:lnTo>
                  <a:pt x="302648" y="93485"/>
                </a:lnTo>
                <a:lnTo>
                  <a:pt x="296005" y="80986"/>
                </a:lnTo>
                <a:lnTo>
                  <a:pt x="288458" y="69169"/>
                </a:lnTo>
                <a:lnTo>
                  <a:pt x="280057" y="58089"/>
                </a:lnTo>
                <a:lnTo>
                  <a:pt x="270854" y="47800"/>
                </a:lnTo>
                <a:lnTo>
                  <a:pt x="260899" y="38360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1" y="251"/>
                </a:lnTo>
                <a:lnTo>
                  <a:pt x="137744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5" y="13424"/>
                </a:lnTo>
                <a:lnTo>
                  <a:pt x="86317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50"/>
                </a:lnTo>
                <a:lnTo>
                  <a:pt x="44135" y="54017"/>
                </a:lnTo>
                <a:lnTo>
                  <a:pt x="35418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9"/>
                </a:lnTo>
                <a:lnTo>
                  <a:pt x="5364" y="128966"/>
                </a:lnTo>
                <a:lnTo>
                  <a:pt x="2418" y="143464"/>
                </a:lnTo>
                <a:lnTo>
                  <a:pt x="613" y="158387"/>
                </a:lnTo>
                <a:lnTo>
                  <a:pt x="0" y="173681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7" name="object 78"/>
          <p:cNvSpPr/>
          <p:nvPr/>
        </p:nvSpPr>
        <p:spPr>
          <a:xfrm>
            <a:off x="6754153" y="580401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5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8" name="object 74"/>
          <p:cNvSpPr/>
          <p:nvPr/>
        </p:nvSpPr>
        <p:spPr>
          <a:xfrm>
            <a:off x="6173977" y="5803468"/>
            <a:ext cx="394167" cy="381727"/>
          </a:xfrm>
          <a:custGeom>
            <a:avLst/>
            <a:gdLst/>
            <a:ahLst/>
            <a:cxnLst/>
            <a:rect l="l" t="t" r="r" b="b"/>
            <a:pathLst>
              <a:path w="394167" h="381727">
                <a:moveTo>
                  <a:pt x="0" y="0"/>
                </a:moveTo>
                <a:lnTo>
                  <a:pt x="394167" y="0"/>
                </a:lnTo>
                <a:lnTo>
                  <a:pt x="394167" y="381727"/>
                </a:lnTo>
                <a:lnTo>
                  <a:pt x="0" y="381727"/>
                </a:lnTo>
                <a:lnTo>
                  <a:pt x="0" y="0"/>
                </a:lnTo>
                <a:close/>
              </a:path>
            </a:pathLst>
          </a:custGeom>
          <a:solidFill>
            <a:srgbClr val="59BAD1"/>
          </a:solidFill>
          <a:ln w="57150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0" name="object 74"/>
          <p:cNvSpPr/>
          <p:nvPr/>
        </p:nvSpPr>
        <p:spPr>
          <a:xfrm>
            <a:off x="7835433" y="5803468"/>
            <a:ext cx="394167" cy="381727"/>
          </a:xfrm>
          <a:custGeom>
            <a:avLst/>
            <a:gdLst/>
            <a:ahLst/>
            <a:cxnLst/>
            <a:rect l="l" t="t" r="r" b="b"/>
            <a:pathLst>
              <a:path w="394167" h="381727">
                <a:moveTo>
                  <a:pt x="0" y="0"/>
                </a:moveTo>
                <a:lnTo>
                  <a:pt x="394167" y="0"/>
                </a:lnTo>
                <a:lnTo>
                  <a:pt x="394167" y="381727"/>
                </a:lnTo>
                <a:lnTo>
                  <a:pt x="0" y="381727"/>
                </a:lnTo>
                <a:lnTo>
                  <a:pt x="0" y="0"/>
                </a:lnTo>
                <a:close/>
              </a:path>
            </a:pathLst>
          </a:custGeom>
          <a:solidFill>
            <a:srgbClr val="FAA757"/>
          </a:solidFill>
          <a:ln w="57150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1" name="object 5"/>
          <p:cNvSpPr txBox="1"/>
          <p:nvPr/>
        </p:nvSpPr>
        <p:spPr>
          <a:xfrm>
            <a:off x="2101916" y="369650"/>
            <a:ext cx="6889684" cy="807913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 marR="41909">
              <a:lnSpc>
                <a:spcPts val="3454"/>
              </a:lnSpc>
              <a:spcBef>
                <a:spcPts val="172"/>
              </a:spcBef>
            </a:pPr>
            <a:r>
              <a:rPr lang="en-US" sz="4800" baseline="2560" dirty="0" smtClean="0">
                <a:solidFill>
                  <a:srgbClr val="4E81BC"/>
                </a:solidFill>
                <a:latin typeface="+mj-lt"/>
                <a:cs typeface="Calibri"/>
              </a:rPr>
              <a:t>Spectral Clustering</a:t>
            </a:r>
            <a:endParaRPr sz="3200" dirty="0">
              <a:latin typeface="+mj-lt"/>
              <a:cs typeface="Calibri"/>
            </a:endParaRPr>
          </a:p>
          <a:p>
            <a:pPr marL="12700">
              <a:lnSpc>
                <a:spcPts val="2770"/>
              </a:lnSpc>
            </a:pPr>
            <a:r>
              <a:rPr lang="en-US" sz="3200" baseline="1137" dirty="0" smtClean="0">
                <a:solidFill>
                  <a:srgbClr val="7F7E7E"/>
                </a:solidFill>
                <a:cs typeface="Calibri"/>
              </a:rPr>
              <a:t>Now perform K‐Means on the low dimension space  </a:t>
            </a:r>
            <a:endParaRPr lang="en-US" sz="3200" baseline="1137" dirty="0">
              <a:solidFill>
                <a:srgbClr val="7F7E7E"/>
              </a:solidFill>
              <a:cs typeface="Calibri"/>
            </a:endParaRPr>
          </a:p>
        </p:txBody>
      </p:sp>
      <p:sp>
        <p:nvSpPr>
          <p:cNvPr id="132" name="object 32"/>
          <p:cNvSpPr/>
          <p:nvPr/>
        </p:nvSpPr>
        <p:spPr>
          <a:xfrm>
            <a:off x="3084023" y="585028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4" name="object 50"/>
          <p:cNvSpPr/>
          <p:nvPr/>
        </p:nvSpPr>
        <p:spPr>
          <a:xfrm>
            <a:off x="3652253" y="5803468"/>
            <a:ext cx="394167" cy="381727"/>
          </a:xfrm>
          <a:custGeom>
            <a:avLst/>
            <a:gdLst/>
            <a:ahLst/>
            <a:cxnLst/>
            <a:rect l="l" t="t" r="r" b="b"/>
            <a:pathLst>
              <a:path w="394167" h="381727">
                <a:moveTo>
                  <a:pt x="0" y="0"/>
                </a:moveTo>
                <a:lnTo>
                  <a:pt x="394167" y="0"/>
                </a:lnTo>
                <a:lnTo>
                  <a:pt x="394167" y="381727"/>
                </a:lnTo>
                <a:lnTo>
                  <a:pt x="0" y="381727"/>
                </a:lnTo>
                <a:lnTo>
                  <a:pt x="0" y="0"/>
                </a:lnTo>
                <a:close/>
              </a:path>
            </a:pathLst>
          </a:custGeom>
          <a:solidFill>
            <a:srgbClr val="AAC56C"/>
          </a:solidFill>
          <a:ln w="57150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5" name="object 3"/>
          <p:cNvSpPr txBox="1"/>
          <p:nvPr/>
        </p:nvSpPr>
        <p:spPr>
          <a:xfrm>
            <a:off x="4212239" y="6273889"/>
            <a:ext cx="264576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 algn="ctr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0.7 Income + 0.3</a:t>
            </a:r>
            <a:r>
              <a:rPr lang="en-US" sz="3600" spc="0" baseline="2275" dirty="0" smtClean="0">
                <a:solidFill>
                  <a:srgbClr val="7F7E7E"/>
                </a:solidFill>
                <a:cs typeface="Calibri"/>
              </a:rPr>
              <a:t> Age</a:t>
            </a:r>
            <a:endParaRPr sz="2400" dirty="0">
              <a:cs typeface="Calibri"/>
            </a:endParaRPr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" name="object 70"/>
          <p:cNvSpPr/>
          <p:nvPr/>
        </p:nvSpPr>
        <p:spPr>
          <a:xfrm>
            <a:off x="2383438" y="5943600"/>
            <a:ext cx="6303362" cy="0"/>
          </a:xfrm>
          <a:custGeom>
            <a:avLst/>
            <a:gdLst/>
            <a:ahLst/>
            <a:cxnLst/>
            <a:rect l="l" t="t" r="r" b="b"/>
            <a:pathLst>
              <a:path w="6303362">
                <a:moveTo>
                  <a:pt x="0" y="0"/>
                </a:moveTo>
                <a:lnTo>
                  <a:pt x="6303362" y="0"/>
                </a:lnTo>
              </a:path>
            </a:pathLst>
          </a:custGeom>
          <a:ln w="25399">
            <a:solidFill>
              <a:srgbClr val="6094C9"/>
            </a:solidFill>
            <a:headEnd type="none"/>
            <a:tailEnd type="arrow"/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3" name="object 16"/>
          <p:cNvSpPr/>
          <p:nvPr/>
        </p:nvSpPr>
        <p:spPr>
          <a:xfrm>
            <a:off x="2668469" y="583455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4" name="object 17"/>
          <p:cNvSpPr/>
          <p:nvPr/>
        </p:nvSpPr>
        <p:spPr>
          <a:xfrm>
            <a:off x="6273057" y="576957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232" y="183106"/>
                </a:lnTo>
                <a:lnTo>
                  <a:pt x="1582" y="198179"/>
                </a:lnTo>
                <a:lnTo>
                  <a:pt x="4094" y="212848"/>
                </a:lnTo>
                <a:lnTo>
                  <a:pt x="7715" y="227057"/>
                </a:lnTo>
                <a:lnTo>
                  <a:pt x="12394" y="240752"/>
                </a:lnTo>
                <a:lnTo>
                  <a:pt x="18081" y="253876"/>
                </a:lnTo>
                <a:lnTo>
                  <a:pt x="24723" y="266374"/>
                </a:lnTo>
                <a:lnTo>
                  <a:pt x="32271" y="278192"/>
                </a:lnTo>
                <a:lnTo>
                  <a:pt x="40672" y="289272"/>
                </a:lnTo>
                <a:lnTo>
                  <a:pt x="49875" y="299561"/>
                </a:lnTo>
                <a:lnTo>
                  <a:pt x="59829" y="309001"/>
                </a:lnTo>
                <a:lnTo>
                  <a:pt x="70484" y="317539"/>
                </a:lnTo>
                <a:lnTo>
                  <a:pt x="81787" y="325118"/>
                </a:lnTo>
                <a:lnTo>
                  <a:pt x="93688" y="331684"/>
                </a:lnTo>
                <a:lnTo>
                  <a:pt x="106135" y="337180"/>
                </a:lnTo>
                <a:lnTo>
                  <a:pt x="119077" y="341551"/>
                </a:lnTo>
                <a:lnTo>
                  <a:pt x="132464" y="344742"/>
                </a:lnTo>
                <a:lnTo>
                  <a:pt x="146243" y="346697"/>
                </a:lnTo>
                <a:lnTo>
                  <a:pt x="160364" y="347361"/>
                </a:lnTo>
                <a:lnTo>
                  <a:pt x="169067" y="347110"/>
                </a:lnTo>
                <a:lnTo>
                  <a:pt x="182985" y="345647"/>
                </a:lnTo>
                <a:lnTo>
                  <a:pt x="196529" y="342927"/>
                </a:lnTo>
                <a:lnTo>
                  <a:pt x="209649" y="339005"/>
                </a:lnTo>
                <a:lnTo>
                  <a:pt x="222293" y="333937"/>
                </a:lnTo>
                <a:lnTo>
                  <a:pt x="234411" y="327778"/>
                </a:lnTo>
                <a:lnTo>
                  <a:pt x="245951" y="320584"/>
                </a:lnTo>
                <a:lnTo>
                  <a:pt x="256863" y="312410"/>
                </a:lnTo>
                <a:lnTo>
                  <a:pt x="267094" y="303311"/>
                </a:lnTo>
                <a:lnTo>
                  <a:pt x="276593" y="293344"/>
                </a:lnTo>
                <a:lnTo>
                  <a:pt x="285310" y="282563"/>
                </a:lnTo>
                <a:lnTo>
                  <a:pt x="293193" y="271024"/>
                </a:lnTo>
                <a:lnTo>
                  <a:pt x="300192" y="258782"/>
                </a:lnTo>
                <a:lnTo>
                  <a:pt x="306254" y="245893"/>
                </a:lnTo>
                <a:lnTo>
                  <a:pt x="311328" y="232412"/>
                </a:lnTo>
                <a:lnTo>
                  <a:pt x="315364" y="218395"/>
                </a:lnTo>
                <a:lnTo>
                  <a:pt x="318311" y="203897"/>
                </a:lnTo>
                <a:lnTo>
                  <a:pt x="320116" y="188974"/>
                </a:lnTo>
                <a:lnTo>
                  <a:pt x="320729" y="173681"/>
                </a:lnTo>
                <a:lnTo>
                  <a:pt x="320497" y="164254"/>
                </a:lnTo>
                <a:lnTo>
                  <a:pt x="319146" y="149181"/>
                </a:lnTo>
                <a:lnTo>
                  <a:pt x="316634" y="134512"/>
                </a:lnTo>
                <a:lnTo>
                  <a:pt x="313013" y="120303"/>
                </a:lnTo>
                <a:lnTo>
                  <a:pt x="308334" y="106609"/>
                </a:lnTo>
                <a:lnTo>
                  <a:pt x="302647" y="93484"/>
                </a:lnTo>
                <a:lnTo>
                  <a:pt x="296004" y="80986"/>
                </a:lnTo>
                <a:lnTo>
                  <a:pt x="288457" y="69169"/>
                </a:lnTo>
                <a:lnTo>
                  <a:pt x="280056" y="58088"/>
                </a:lnTo>
                <a:lnTo>
                  <a:pt x="270853" y="47800"/>
                </a:lnTo>
                <a:lnTo>
                  <a:pt x="260898" y="38359"/>
                </a:lnTo>
                <a:lnTo>
                  <a:pt x="250244" y="29822"/>
                </a:lnTo>
                <a:lnTo>
                  <a:pt x="238941" y="22242"/>
                </a:lnTo>
                <a:lnTo>
                  <a:pt x="227040" y="15677"/>
                </a:lnTo>
                <a:lnTo>
                  <a:pt x="214592" y="10181"/>
                </a:lnTo>
                <a:lnTo>
                  <a:pt x="201650" y="5810"/>
                </a:lnTo>
                <a:lnTo>
                  <a:pt x="188264" y="2619"/>
                </a:lnTo>
                <a:lnTo>
                  <a:pt x="174484" y="664"/>
                </a:lnTo>
                <a:lnTo>
                  <a:pt x="160364" y="0"/>
                </a:lnTo>
                <a:lnTo>
                  <a:pt x="151661" y="251"/>
                </a:lnTo>
                <a:lnTo>
                  <a:pt x="137744" y="1714"/>
                </a:lnTo>
                <a:lnTo>
                  <a:pt x="124199" y="4434"/>
                </a:lnTo>
                <a:lnTo>
                  <a:pt x="111079" y="8356"/>
                </a:lnTo>
                <a:lnTo>
                  <a:pt x="98435" y="13424"/>
                </a:lnTo>
                <a:lnTo>
                  <a:pt x="86317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5" y="54017"/>
                </a:lnTo>
                <a:lnTo>
                  <a:pt x="35418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9"/>
                </a:lnTo>
                <a:lnTo>
                  <a:pt x="5364" y="128966"/>
                </a:lnTo>
                <a:lnTo>
                  <a:pt x="2418" y="143464"/>
                </a:lnTo>
                <a:lnTo>
                  <a:pt x="613" y="158387"/>
                </a:lnTo>
                <a:lnTo>
                  <a:pt x="0" y="173681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5" name="object 18"/>
          <p:cNvSpPr/>
          <p:nvPr/>
        </p:nvSpPr>
        <p:spPr>
          <a:xfrm>
            <a:off x="6273057" y="576957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6" name="object 19"/>
          <p:cNvSpPr/>
          <p:nvPr/>
        </p:nvSpPr>
        <p:spPr>
          <a:xfrm>
            <a:off x="5853655" y="571095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232" y="183106"/>
                </a:lnTo>
                <a:lnTo>
                  <a:pt x="1582" y="198179"/>
                </a:lnTo>
                <a:lnTo>
                  <a:pt x="4094" y="212848"/>
                </a:lnTo>
                <a:lnTo>
                  <a:pt x="7715" y="227057"/>
                </a:lnTo>
                <a:lnTo>
                  <a:pt x="12394" y="240752"/>
                </a:lnTo>
                <a:lnTo>
                  <a:pt x="18081" y="253876"/>
                </a:lnTo>
                <a:lnTo>
                  <a:pt x="24723" y="266374"/>
                </a:lnTo>
                <a:lnTo>
                  <a:pt x="32271" y="278192"/>
                </a:lnTo>
                <a:lnTo>
                  <a:pt x="40672" y="289272"/>
                </a:lnTo>
                <a:lnTo>
                  <a:pt x="49875" y="299561"/>
                </a:lnTo>
                <a:lnTo>
                  <a:pt x="59829" y="309001"/>
                </a:lnTo>
                <a:lnTo>
                  <a:pt x="70484" y="317539"/>
                </a:lnTo>
                <a:lnTo>
                  <a:pt x="81787" y="325119"/>
                </a:lnTo>
                <a:lnTo>
                  <a:pt x="93688" y="331684"/>
                </a:lnTo>
                <a:lnTo>
                  <a:pt x="106135" y="337180"/>
                </a:lnTo>
                <a:lnTo>
                  <a:pt x="119077" y="341551"/>
                </a:lnTo>
                <a:lnTo>
                  <a:pt x="132464" y="344742"/>
                </a:lnTo>
                <a:lnTo>
                  <a:pt x="146243" y="346697"/>
                </a:lnTo>
                <a:lnTo>
                  <a:pt x="160364" y="347361"/>
                </a:lnTo>
                <a:lnTo>
                  <a:pt x="169067" y="347110"/>
                </a:lnTo>
                <a:lnTo>
                  <a:pt x="182985" y="345647"/>
                </a:lnTo>
                <a:lnTo>
                  <a:pt x="196529" y="342927"/>
                </a:lnTo>
                <a:lnTo>
                  <a:pt x="209649" y="339005"/>
                </a:lnTo>
                <a:lnTo>
                  <a:pt x="222293" y="333937"/>
                </a:lnTo>
                <a:lnTo>
                  <a:pt x="234411" y="327778"/>
                </a:lnTo>
                <a:lnTo>
                  <a:pt x="245952" y="320584"/>
                </a:lnTo>
                <a:lnTo>
                  <a:pt x="256863" y="312410"/>
                </a:lnTo>
                <a:lnTo>
                  <a:pt x="267094" y="303311"/>
                </a:lnTo>
                <a:lnTo>
                  <a:pt x="276593" y="293344"/>
                </a:lnTo>
                <a:lnTo>
                  <a:pt x="285310" y="282563"/>
                </a:lnTo>
                <a:lnTo>
                  <a:pt x="293193" y="271024"/>
                </a:lnTo>
                <a:lnTo>
                  <a:pt x="300192" y="258782"/>
                </a:lnTo>
                <a:lnTo>
                  <a:pt x="306254" y="245893"/>
                </a:lnTo>
                <a:lnTo>
                  <a:pt x="311328" y="232412"/>
                </a:lnTo>
                <a:lnTo>
                  <a:pt x="315364" y="218395"/>
                </a:lnTo>
                <a:lnTo>
                  <a:pt x="318311" y="203897"/>
                </a:lnTo>
                <a:lnTo>
                  <a:pt x="320116" y="188974"/>
                </a:lnTo>
                <a:lnTo>
                  <a:pt x="320729" y="173680"/>
                </a:lnTo>
                <a:lnTo>
                  <a:pt x="320497" y="164254"/>
                </a:lnTo>
                <a:lnTo>
                  <a:pt x="319146" y="149181"/>
                </a:lnTo>
                <a:lnTo>
                  <a:pt x="316634" y="134512"/>
                </a:lnTo>
                <a:lnTo>
                  <a:pt x="313013" y="120303"/>
                </a:lnTo>
                <a:lnTo>
                  <a:pt x="308334" y="106609"/>
                </a:lnTo>
                <a:lnTo>
                  <a:pt x="302647" y="93484"/>
                </a:lnTo>
                <a:lnTo>
                  <a:pt x="296005" y="80986"/>
                </a:lnTo>
                <a:lnTo>
                  <a:pt x="288457" y="69169"/>
                </a:lnTo>
                <a:lnTo>
                  <a:pt x="280056" y="58088"/>
                </a:lnTo>
                <a:lnTo>
                  <a:pt x="270853" y="47800"/>
                </a:lnTo>
                <a:lnTo>
                  <a:pt x="260898" y="38359"/>
                </a:lnTo>
                <a:lnTo>
                  <a:pt x="250244" y="29822"/>
                </a:lnTo>
                <a:lnTo>
                  <a:pt x="238941" y="22242"/>
                </a:lnTo>
                <a:lnTo>
                  <a:pt x="227040" y="15677"/>
                </a:lnTo>
                <a:lnTo>
                  <a:pt x="214592" y="10181"/>
                </a:lnTo>
                <a:lnTo>
                  <a:pt x="201650" y="5810"/>
                </a:lnTo>
                <a:lnTo>
                  <a:pt x="188264" y="2619"/>
                </a:lnTo>
                <a:lnTo>
                  <a:pt x="174484" y="664"/>
                </a:lnTo>
                <a:lnTo>
                  <a:pt x="160364" y="0"/>
                </a:lnTo>
                <a:lnTo>
                  <a:pt x="151661" y="251"/>
                </a:lnTo>
                <a:lnTo>
                  <a:pt x="137744" y="1714"/>
                </a:lnTo>
                <a:lnTo>
                  <a:pt x="124199" y="4434"/>
                </a:lnTo>
                <a:lnTo>
                  <a:pt x="111079" y="8356"/>
                </a:lnTo>
                <a:lnTo>
                  <a:pt x="98435" y="13424"/>
                </a:lnTo>
                <a:lnTo>
                  <a:pt x="86317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5" y="54017"/>
                </a:lnTo>
                <a:lnTo>
                  <a:pt x="35418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9"/>
                </a:lnTo>
                <a:lnTo>
                  <a:pt x="5364" y="128966"/>
                </a:lnTo>
                <a:lnTo>
                  <a:pt x="2418" y="143464"/>
                </a:lnTo>
                <a:lnTo>
                  <a:pt x="613" y="158387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7" name="object 21"/>
          <p:cNvSpPr/>
          <p:nvPr/>
        </p:nvSpPr>
        <p:spPr>
          <a:xfrm>
            <a:off x="5300557" y="587860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232" y="183107"/>
                </a:lnTo>
                <a:lnTo>
                  <a:pt x="1583" y="198180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7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3"/>
                </a:lnTo>
                <a:lnTo>
                  <a:pt x="49876" y="299561"/>
                </a:lnTo>
                <a:lnTo>
                  <a:pt x="59830" y="309002"/>
                </a:lnTo>
                <a:lnTo>
                  <a:pt x="70485" y="317539"/>
                </a:lnTo>
                <a:lnTo>
                  <a:pt x="81788" y="325119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8" y="347110"/>
                </a:lnTo>
                <a:lnTo>
                  <a:pt x="182985" y="345647"/>
                </a:lnTo>
                <a:lnTo>
                  <a:pt x="196529" y="342927"/>
                </a:lnTo>
                <a:lnTo>
                  <a:pt x="209649" y="339005"/>
                </a:lnTo>
                <a:lnTo>
                  <a:pt x="222293" y="333937"/>
                </a:lnTo>
                <a:lnTo>
                  <a:pt x="234411" y="327778"/>
                </a:lnTo>
                <a:lnTo>
                  <a:pt x="245951" y="320584"/>
                </a:lnTo>
                <a:lnTo>
                  <a:pt x="256863" y="312410"/>
                </a:lnTo>
                <a:lnTo>
                  <a:pt x="267094" y="303312"/>
                </a:lnTo>
                <a:lnTo>
                  <a:pt x="276593" y="293344"/>
                </a:lnTo>
                <a:lnTo>
                  <a:pt x="285310" y="282563"/>
                </a:lnTo>
                <a:lnTo>
                  <a:pt x="293193" y="271024"/>
                </a:lnTo>
                <a:lnTo>
                  <a:pt x="300192" y="258782"/>
                </a:lnTo>
                <a:lnTo>
                  <a:pt x="306254" y="245893"/>
                </a:lnTo>
                <a:lnTo>
                  <a:pt x="311328" y="232412"/>
                </a:lnTo>
                <a:lnTo>
                  <a:pt x="315364" y="218395"/>
                </a:lnTo>
                <a:lnTo>
                  <a:pt x="318311" y="203897"/>
                </a:lnTo>
                <a:lnTo>
                  <a:pt x="320116" y="188974"/>
                </a:lnTo>
                <a:lnTo>
                  <a:pt x="320729" y="173680"/>
                </a:lnTo>
                <a:lnTo>
                  <a:pt x="320497" y="164255"/>
                </a:lnTo>
                <a:lnTo>
                  <a:pt x="319146" y="149182"/>
                </a:lnTo>
                <a:lnTo>
                  <a:pt x="316635" y="134513"/>
                </a:lnTo>
                <a:lnTo>
                  <a:pt x="313014" y="120304"/>
                </a:lnTo>
                <a:lnTo>
                  <a:pt x="308334" y="106609"/>
                </a:lnTo>
                <a:lnTo>
                  <a:pt x="302647" y="93485"/>
                </a:lnTo>
                <a:lnTo>
                  <a:pt x="296005" y="80987"/>
                </a:lnTo>
                <a:lnTo>
                  <a:pt x="288458" y="69169"/>
                </a:lnTo>
                <a:lnTo>
                  <a:pt x="280057" y="58089"/>
                </a:lnTo>
                <a:lnTo>
                  <a:pt x="270853" y="47800"/>
                </a:lnTo>
                <a:lnTo>
                  <a:pt x="260899" y="38360"/>
                </a:lnTo>
                <a:lnTo>
                  <a:pt x="250244" y="29822"/>
                </a:lnTo>
                <a:lnTo>
                  <a:pt x="238941" y="22242"/>
                </a:lnTo>
                <a:lnTo>
                  <a:pt x="227040" y="15677"/>
                </a:lnTo>
                <a:lnTo>
                  <a:pt x="214593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1" y="251"/>
                </a:lnTo>
                <a:lnTo>
                  <a:pt x="137744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5" y="13424"/>
                </a:lnTo>
                <a:lnTo>
                  <a:pt x="86317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50"/>
                </a:lnTo>
                <a:lnTo>
                  <a:pt x="44135" y="54017"/>
                </a:lnTo>
                <a:lnTo>
                  <a:pt x="35418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9"/>
                </a:lnTo>
                <a:lnTo>
                  <a:pt x="5364" y="128966"/>
                </a:lnTo>
                <a:lnTo>
                  <a:pt x="2418" y="143464"/>
                </a:lnTo>
                <a:lnTo>
                  <a:pt x="613" y="158387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8" name="object 23"/>
          <p:cNvSpPr/>
          <p:nvPr/>
        </p:nvSpPr>
        <p:spPr>
          <a:xfrm>
            <a:off x="6361937" y="579347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1"/>
                </a:moveTo>
                <a:lnTo>
                  <a:pt x="232" y="183107"/>
                </a:lnTo>
                <a:lnTo>
                  <a:pt x="1583" y="198180"/>
                </a:lnTo>
                <a:lnTo>
                  <a:pt x="4094" y="212849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7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3"/>
                </a:lnTo>
                <a:lnTo>
                  <a:pt x="49876" y="299561"/>
                </a:lnTo>
                <a:lnTo>
                  <a:pt x="59830" y="309002"/>
                </a:lnTo>
                <a:lnTo>
                  <a:pt x="70485" y="317539"/>
                </a:lnTo>
                <a:lnTo>
                  <a:pt x="81788" y="325119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2"/>
                </a:lnTo>
                <a:lnTo>
                  <a:pt x="169068" y="347110"/>
                </a:lnTo>
                <a:lnTo>
                  <a:pt x="182985" y="345647"/>
                </a:lnTo>
                <a:lnTo>
                  <a:pt x="196529" y="342927"/>
                </a:lnTo>
                <a:lnTo>
                  <a:pt x="209649" y="339005"/>
                </a:lnTo>
                <a:lnTo>
                  <a:pt x="222294" y="333937"/>
                </a:lnTo>
                <a:lnTo>
                  <a:pt x="234412" y="327778"/>
                </a:lnTo>
                <a:lnTo>
                  <a:pt x="245952" y="320584"/>
                </a:lnTo>
                <a:lnTo>
                  <a:pt x="256863" y="312410"/>
                </a:lnTo>
                <a:lnTo>
                  <a:pt x="267094" y="303312"/>
                </a:lnTo>
                <a:lnTo>
                  <a:pt x="276594" y="293344"/>
                </a:lnTo>
                <a:lnTo>
                  <a:pt x="285310" y="282563"/>
                </a:lnTo>
                <a:lnTo>
                  <a:pt x="293194" y="271024"/>
                </a:lnTo>
                <a:lnTo>
                  <a:pt x="300192" y="258782"/>
                </a:lnTo>
                <a:lnTo>
                  <a:pt x="306254" y="245893"/>
                </a:lnTo>
                <a:lnTo>
                  <a:pt x="311328" y="232412"/>
                </a:lnTo>
                <a:lnTo>
                  <a:pt x="315364" y="218395"/>
                </a:lnTo>
                <a:lnTo>
                  <a:pt x="318311" y="203897"/>
                </a:lnTo>
                <a:lnTo>
                  <a:pt x="320116" y="188974"/>
                </a:lnTo>
                <a:lnTo>
                  <a:pt x="320729" y="173681"/>
                </a:lnTo>
                <a:lnTo>
                  <a:pt x="320497" y="164255"/>
                </a:lnTo>
                <a:lnTo>
                  <a:pt x="319146" y="149182"/>
                </a:lnTo>
                <a:lnTo>
                  <a:pt x="316635" y="134513"/>
                </a:lnTo>
                <a:lnTo>
                  <a:pt x="313014" y="120304"/>
                </a:lnTo>
                <a:lnTo>
                  <a:pt x="308334" y="106609"/>
                </a:lnTo>
                <a:lnTo>
                  <a:pt x="302648" y="93485"/>
                </a:lnTo>
                <a:lnTo>
                  <a:pt x="296005" y="80987"/>
                </a:lnTo>
                <a:lnTo>
                  <a:pt x="288458" y="69169"/>
                </a:lnTo>
                <a:lnTo>
                  <a:pt x="280057" y="58089"/>
                </a:lnTo>
                <a:lnTo>
                  <a:pt x="270854" y="47800"/>
                </a:lnTo>
                <a:lnTo>
                  <a:pt x="260899" y="38360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1" y="251"/>
                </a:lnTo>
                <a:lnTo>
                  <a:pt x="137744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5" y="13424"/>
                </a:lnTo>
                <a:lnTo>
                  <a:pt x="86317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50"/>
                </a:lnTo>
                <a:lnTo>
                  <a:pt x="44135" y="54017"/>
                </a:lnTo>
                <a:lnTo>
                  <a:pt x="35418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9"/>
                </a:lnTo>
                <a:lnTo>
                  <a:pt x="5364" y="128966"/>
                </a:lnTo>
                <a:lnTo>
                  <a:pt x="2418" y="143464"/>
                </a:lnTo>
                <a:lnTo>
                  <a:pt x="613" y="158387"/>
                </a:lnTo>
                <a:lnTo>
                  <a:pt x="0" y="173681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9" name="object 24"/>
          <p:cNvSpPr/>
          <p:nvPr/>
        </p:nvSpPr>
        <p:spPr>
          <a:xfrm>
            <a:off x="6361936" y="579347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0" name="object 25"/>
          <p:cNvSpPr/>
          <p:nvPr/>
        </p:nvSpPr>
        <p:spPr>
          <a:xfrm>
            <a:off x="5880842" y="573498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1"/>
                </a:moveTo>
                <a:lnTo>
                  <a:pt x="232" y="183107"/>
                </a:lnTo>
                <a:lnTo>
                  <a:pt x="1583" y="198180"/>
                </a:lnTo>
                <a:lnTo>
                  <a:pt x="4094" y="212849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7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3"/>
                </a:lnTo>
                <a:lnTo>
                  <a:pt x="49876" y="299561"/>
                </a:lnTo>
                <a:lnTo>
                  <a:pt x="59830" y="309002"/>
                </a:lnTo>
                <a:lnTo>
                  <a:pt x="70485" y="317539"/>
                </a:lnTo>
                <a:lnTo>
                  <a:pt x="81788" y="325119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2"/>
                </a:lnTo>
                <a:lnTo>
                  <a:pt x="169069" y="347110"/>
                </a:lnTo>
                <a:lnTo>
                  <a:pt x="182986" y="345647"/>
                </a:lnTo>
                <a:lnTo>
                  <a:pt x="196530" y="342927"/>
                </a:lnTo>
                <a:lnTo>
                  <a:pt x="209650" y="339005"/>
                </a:lnTo>
                <a:lnTo>
                  <a:pt x="222295" y="333937"/>
                </a:lnTo>
                <a:lnTo>
                  <a:pt x="234413" y="327778"/>
                </a:lnTo>
                <a:lnTo>
                  <a:pt x="245953" y="320584"/>
                </a:lnTo>
                <a:lnTo>
                  <a:pt x="256864" y="312410"/>
                </a:lnTo>
                <a:lnTo>
                  <a:pt x="267095" y="303311"/>
                </a:lnTo>
                <a:lnTo>
                  <a:pt x="276595" y="293344"/>
                </a:lnTo>
                <a:lnTo>
                  <a:pt x="285311" y="282563"/>
                </a:lnTo>
                <a:lnTo>
                  <a:pt x="293195" y="271024"/>
                </a:lnTo>
                <a:lnTo>
                  <a:pt x="300193" y="258782"/>
                </a:lnTo>
                <a:lnTo>
                  <a:pt x="306255" y="245893"/>
                </a:lnTo>
                <a:lnTo>
                  <a:pt x="311330" y="232412"/>
                </a:lnTo>
                <a:lnTo>
                  <a:pt x="315366" y="218395"/>
                </a:lnTo>
                <a:lnTo>
                  <a:pt x="318312" y="203897"/>
                </a:lnTo>
                <a:lnTo>
                  <a:pt x="320117" y="188974"/>
                </a:lnTo>
                <a:lnTo>
                  <a:pt x="320730" y="173681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8" y="93484"/>
                </a:lnTo>
                <a:lnTo>
                  <a:pt x="296006" y="80986"/>
                </a:lnTo>
                <a:lnTo>
                  <a:pt x="288458" y="69169"/>
                </a:lnTo>
                <a:lnTo>
                  <a:pt x="280057" y="58088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1" y="251"/>
                </a:lnTo>
                <a:lnTo>
                  <a:pt x="137744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5" y="13424"/>
                </a:lnTo>
                <a:lnTo>
                  <a:pt x="86317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50"/>
                </a:lnTo>
                <a:lnTo>
                  <a:pt x="44135" y="54017"/>
                </a:lnTo>
                <a:lnTo>
                  <a:pt x="35418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9"/>
                </a:lnTo>
                <a:lnTo>
                  <a:pt x="5364" y="128966"/>
                </a:lnTo>
                <a:lnTo>
                  <a:pt x="2418" y="143464"/>
                </a:lnTo>
                <a:lnTo>
                  <a:pt x="613" y="158387"/>
                </a:lnTo>
                <a:lnTo>
                  <a:pt x="0" y="173681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1" name="object 28"/>
          <p:cNvSpPr/>
          <p:nvPr/>
        </p:nvSpPr>
        <p:spPr>
          <a:xfrm>
            <a:off x="4557260" y="58683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2" name="object 29"/>
          <p:cNvSpPr/>
          <p:nvPr/>
        </p:nvSpPr>
        <p:spPr>
          <a:xfrm>
            <a:off x="5107607" y="583061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232" y="183107"/>
                </a:lnTo>
                <a:lnTo>
                  <a:pt x="1583" y="198180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1" y="253877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2" y="289273"/>
                </a:lnTo>
                <a:lnTo>
                  <a:pt x="49876" y="299561"/>
                </a:lnTo>
                <a:lnTo>
                  <a:pt x="59830" y="309002"/>
                </a:lnTo>
                <a:lnTo>
                  <a:pt x="70485" y="317539"/>
                </a:lnTo>
                <a:lnTo>
                  <a:pt x="81788" y="325119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7"/>
                </a:lnTo>
                <a:lnTo>
                  <a:pt x="196530" y="342927"/>
                </a:lnTo>
                <a:lnTo>
                  <a:pt x="209650" y="339005"/>
                </a:lnTo>
                <a:lnTo>
                  <a:pt x="222295" y="333937"/>
                </a:lnTo>
                <a:lnTo>
                  <a:pt x="234413" y="327778"/>
                </a:lnTo>
                <a:lnTo>
                  <a:pt x="245953" y="320584"/>
                </a:lnTo>
                <a:lnTo>
                  <a:pt x="256864" y="312410"/>
                </a:lnTo>
                <a:lnTo>
                  <a:pt x="267095" y="303311"/>
                </a:lnTo>
                <a:lnTo>
                  <a:pt x="276594" y="293344"/>
                </a:lnTo>
                <a:lnTo>
                  <a:pt x="285311" y="282563"/>
                </a:lnTo>
                <a:lnTo>
                  <a:pt x="293195" y="271024"/>
                </a:lnTo>
                <a:lnTo>
                  <a:pt x="300193" y="258782"/>
                </a:lnTo>
                <a:lnTo>
                  <a:pt x="306255" y="245893"/>
                </a:lnTo>
                <a:lnTo>
                  <a:pt x="311330" y="232412"/>
                </a:lnTo>
                <a:lnTo>
                  <a:pt x="315366" y="218395"/>
                </a:lnTo>
                <a:lnTo>
                  <a:pt x="318312" y="203897"/>
                </a:lnTo>
                <a:lnTo>
                  <a:pt x="320117" y="188974"/>
                </a:lnTo>
                <a:lnTo>
                  <a:pt x="320730" y="173681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8" y="93484"/>
                </a:lnTo>
                <a:lnTo>
                  <a:pt x="296006" y="80986"/>
                </a:lnTo>
                <a:lnTo>
                  <a:pt x="288458" y="69169"/>
                </a:lnTo>
                <a:lnTo>
                  <a:pt x="280057" y="58088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1" y="251"/>
                </a:lnTo>
                <a:lnTo>
                  <a:pt x="137744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5" y="13424"/>
                </a:lnTo>
                <a:lnTo>
                  <a:pt x="86317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50"/>
                </a:lnTo>
                <a:lnTo>
                  <a:pt x="44135" y="54017"/>
                </a:lnTo>
                <a:lnTo>
                  <a:pt x="35418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9"/>
                </a:lnTo>
                <a:lnTo>
                  <a:pt x="5364" y="128966"/>
                </a:lnTo>
                <a:lnTo>
                  <a:pt x="2418" y="143464"/>
                </a:lnTo>
                <a:lnTo>
                  <a:pt x="613" y="158387"/>
                </a:lnTo>
                <a:lnTo>
                  <a:pt x="0" y="173681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3" name="object 30"/>
          <p:cNvSpPr/>
          <p:nvPr/>
        </p:nvSpPr>
        <p:spPr>
          <a:xfrm>
            <a:off x="5107607" y="583061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4" name="object 32"/>
          <p:cNvSpPr/>
          <p:nvPr/>
        </p:nvSpPr>
        <p:spPr>
          <a:xfrm>
            <a:off x="2907043" y="585028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5" name="object 34"/>
          <p:cNvSpPr/>
          <p:nvPr/>
        </p:nvSpPr>
        <p:spPr>
          <a:xfrm>
            <a:off x="7648012" y="578724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6" name="object 36"/>
          <p:cNvSpPr/>
          <p:nvPr/>
        </p:nvSpPr>
        <p:spPr>
          <a:xfrm>
            <a:off x="6593786" y="57902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7" name="object 38"/>
          <p:cNvSpPr/>
          <p:nvPr/>
        </p:nvSpPr>
        <p:spPr>
          <a:xfrm>
            <a:off x="8001594" y="582076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5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8" name="object 40"/>
          <p:cNvSpPr/>
          <p:nvPr/>
        </p:nvSpPr>
        <p:spPr>
          <a:xfrm>
            <a:off x="4724741" y="584823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9" name="object 42"/>
          <p:cNvSpPr/>
          <p:nvPr/>
        </p:nvSpPr>
        <p:spPr>
          <a:xfrm>
            <a:off x="5107607" y="57796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0" name="object 44"/>
          <p:cNvSpPr/>
          <p:nvPr/>
        </p:nvSpPr>
        <p:spPr>
          <a:xfrm>
            <a:off x="3418124" y="578557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1" name="object 46"/>
          <p:cNvSpPr/>
          <p:nvPr/>
        </p:nvSpPr>
        <p:spPr>
          <a:xfrm>
            <a:off x="3257759" y="588072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2" name="object 47"/>
          <p:cNvSpPr/>
          <p:nvPr/>
        </p:nvSpPr>
        <p:spPr>
          <a:xfrm>
            <a:off x="6091186" y="576214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232" y="183107"/>
                </a:lnTo>
                <a:lnTo>
                  <a:pt x="1583" y="198180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1" y="253877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2" y="289273"/>
                </a:lnTo>
                <a:lnTo>
                  <a:pt x="49876" y="299561"/>
                </a:lnTo>
                <a:lnTo>
                  <a:pt x="59830" y="309002"/>
                </a:lnTo>
                <a:lnTo>
                  <a:pt x="70485" y="317539"/>
                </a:lnTo>
                <a:lnTo>
                  <a:pt x="81788" y="325119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7"/>
                </a:lnTo>
                <a:lnTo>
                  <a:pt x="196530" y="342927"/>
                </a:lnTo>
                <a:lnTo>
                  <a:pt x="209650" y="339005"/>
                </a:lnTo>
                <a:lnTo>
                  <a:pt x="222295" y="333937"/>
                </a:lnTo>
                <a:lnTo>
                  <a:pt x="234413" y="327778"/>
                </a:lnTo>
                <a:lnTo>
                  <a:pt x="245953" y="320584"/>
                </a:lnTo>
                <a:lnTo>
                  <a:pt x="256864" y="312410"/>
                </a:lnTo>
                <a:lnTo>
                  <a:pt x="267095" y="303311"/>
                </a:lnTo>
                <a:lnTo>
                  <a:pt x="276594" y="293344"/>
                </a:lnTo>
                <a:lnTo>
                  <a:pt x="285311" y="282563"/>
                </a:lnTo>
                <a:lnTo>
                  <a:pt x="293195" y="271024"/>
                </a:lnTo>
                <a:lnTo>
                  <a:pt x="300193" y="258782"/>
                </a:lnTo>
                <a:lnTo>
                  <a:pt x="306255" y="245893"/>
                </a:lnTo>
                <a:lnTo>
                  <a:pt x="311330" y="232412"/>
                </a:lnTo>
                <a:lnTo>
                  <a:pt x="315366" y="218395"/>
                </a:lnTo>
                <a:lnTo>
                  <a:pt x="318312" y="203897"/>
                </a:lnTo>
                <a:lnTo>
                  <a:pt x="320117" y="188974"/>
                </a:lnTo>
                <a:lnTo>
                  <a:pt x="320730" y="173681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8" y="93484"/>
                </a:lnTo>
                <a:lnTo>
                  <a:pt x="296006" y="80986"/>
                </a:lnTo>
                <a:lnTo>
                  <a:pt x="288458" y="69169"/>
                </a:lnTo>
                <a:lnTo>
                  <a:pt x="280057" y="58088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1" y="251"/>
                </a:lnTo>
                <a:lnTo>
                  <a:pt x="137744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5" y="13424"/>
                </a:lnTo>
                <a:lnTo>
                  <a:pt x="86317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50"/>
                </a:lnTo>
                <a:lnTo>
                  <a:pt x="44135" y="54017"/>
                </a:lnTo>
                <a:lnTo>
                  <a:pt x="35418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9"/>
                </a:lnTo>
                <a:lnTo>
                  <a:pt x="5364" y="128966"/>
                </a:lnTo>
                <a:lnTo>
                  <a:pt x="2418" y="143464"/>
                </a:lnTo>
                <a:lnTo>
                  <a:pt x="613" y="158387"/>
                </a:lnTo>
                <a:lnTo>
                  <a:pt x="0" y="173681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3" name="object 48"/>
          <p:cNvSpPr/>
          <p:nvPr/>
        </p:nvSpPr>
        <p:spPr>
          <a:xfrm>
            <a:off x="6091185" y="576214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4" name="object 50"/>
          <p:cNvSpPr/>
          <p:nvPr/>
        </p:nvSpPr>
        <p:spPr>
          <a:xfrm>
            <a:off x="5239383" y="57900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5" name="object 51"/>
          <p:cNvSpPr/>
          <p:nvPr/>
        </p:nvSpPr>
        <p:spPr>
          <a:xfrm>
            <a:off x="7163762" y="585801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232" y="183106"/>
                </a:lnTo>
                <a:lnTo>
                  <a:pt x="1582" y="198179"/>
                </a:lnTo>
                <a:lnTo>
                  <a:pt x="4094" y="212848"/>
                </a:lnTo>
                <a:lnTo>
                  <a:pt x="7715" y="227057"/>
                </a:lnTo>
                <a:lnTo>
                  <a:pt x="12394" y="240752"/>
                </a:lnTo>
                <a:lnTo>
                  <a:pt x="18081" y="253876"/>
                </a:lnTo>
                <a:lnTo>
                  <a:pt x="24723" y="266374"/>
                </a:lnTo>
                <a:lnTo>
                  <a:pt x="32271" y="278192"/>
                </a:lnTo>
                <a:lnTo>
                  <a:pt x="40672" y="289272"/>
                </a:lnTo>
                <a:lnTo>
                  <a:pt x="49875" y="299561"/>
                </a:lnTo>
                <a:lnTo>
                  <a:pt x="59829" y="309001"/>
                </a:lnTo>
                <a:lnTo>
                  <a:pt x="70484" y="317539"/>
                </a:lnTo>
                <a:lnTo>
                  <a:pt x="81787" y="325119"/>
                </a:lnTo>
                <a:lnTo>
                  <a:pt x="93688" y="331684"/>
                </a:lnTo>
                <a:lnTo>
                  <a:pt x="106135" y="337180"/>
                </a:lnTo>
                <a:lnTo>
                  <a:pt x="119077" y="341551"/>
                </a:lnTo>
                <a:lnTo>
                  <a:pt x="132464" y="344742"/>
                </a:lnTo>
                <a:lnTo>
                  <a:pt x="146243" y="346697"/>
                </a:lnTo>
                <a:lnTo>
                  <a:pt x="160364" y="347361"/>
                </a:lnTo>
                <a:lnTo>
                  <a:pt x="169067" y="347110"/>
                </a:lnTo>
                <a:lnTo>
                  <a:pt x="182985" y="345647"/>
                </a:lnTo>
                <a:lnTo>
                  <a:pt x="196529" y="342927"/>
                </a:lnTo>
                <a:lnTo>
                  <a:pt x="209649" y="339005"/>
                </a:lnTo>
                <a:lnTo>
                  <a:pt x="222293" y="333937"/>
                </a:lnTo>
                <a:lnTo>
                  <a:pt x="234411" y="327778"/>
                </a:lnTo>
                <a:lnTo>
                  <a:pt x="245952" y="320584"/>
                </a:lnTo>
                <a:lnTo>
                  <a:pt x="256863" y="312410"/>
                </a:lnTo>
                <a:lnTo>
                  <a:pt x="267094" y="303311"/>
                </a:lnTo>
                <a:lnTo>
                  <a:pt x="276593" y="293344"/>
                </a:lnTo>
                <a:lnTo>
                  <a:pt x="285310" y="282563"/>
                </a:lnTo>
                <a:lnTo>
                  <a:pt x="293193" y="271024"/>
                </a:lnTo>
                <a:lnTo>
                  <a:pt x="300192" y="258782"/>
                </a:lnTo>
                <a:lnTo>
                  <a:pt x="306254" y="245893"/>
                </a:lnTo>
                <a:lnTo>
                  <a:pt x="311328" y="232412"/>
                </a:lnTo>
                <a:lnTo>
                  <a:pt x="315364" y="218395"/>
                </a:lnTo>
                <a:lnTo>
                  <a:pt x="318311" y="203897"/>
                </a:lnTo>
                <a:lnTo>
                  <a:pt x="320116" y="188974"/>
                </a:lnTo>
                <a:lnTo>
                  <a:pt x="320729" y="173680"/>
                </a:lnTo>
                <a:lnTo>
                  <a:pt x="320497" y="164254"/>
                </a:lnTo>
                <a:lnTo>
                  <a:pt x="319146" y="149181"/>
                </a:lnTo>
                <a:lnTo>
                  <a:pt x="316634" y="134512"/>
                </a:lnTo>
                <a:lnTo>
                  <a:pt x="313013" y="120303"/>
                </a:lnTo>
                <a:lnTo>
                  <a:pt x="308334" y="106609"/>
                </a:lnTo>
                <a:lnTo>
                  <a:pt x="302647" y="93484"/>
                </a:lnTo>
                <a:lnTo>
                  <a:pt x="296005" y="80986"/>
                </a:lnTo>
                <a:lnTo>
                  <a:pt x="288457" y="69169"/>
                </a:lnTo>
                <a:lnTo>
                  <a:pt x="280056" y="58088"/>
                </a:lnTo>
                <a:lnTo>
                  <a:pt x="270853" y="47800"/>
                </a:lnTo>
                <a:lnTo>
                  <a:pt x="260898" y="38359"/>
                </a:lnTo>
                <a:lnTo>
                  <a:pt x="250244" y="29822"/>
                </a:lnTo>
                <a:lnTo>
                  <a:pt x="238941" y="22242"/>
                </a:lnTo>
                <a:lnTo>
                  <a:pt x="227040" y="15677"/>
                </a:lnTo>
                <a:lnTo>
                  <a:pt x="214592" y="10181"/>
                </a:lnTo>
                <a:lnTo>
                  <a:pt x="201650" y="5810"/>
                </a:lnTo>
                <a:lnTo>
                  <a:pt x="188264" y="2619"/>
                </a:lnTo>
                <a:lnTo>
                  <a:pt x="174484" y="664"/>
                </a:lnTo>
                <a:lnTo>
                  <a:pt x="160364" y="0"/>
                </a:lnTo>
                <a:lnTo>
                  <a:pt x="151661" y="251"/>
                </a:lnTo>
                <a:lnTo>
                  <a:pt x="137744" y="1714"/>
                </a:lnTo>
                <a:lnTo>
                  <a:pt x="124199" y="4434"/>
                </a:lnTo>
                <a:lnTo>
                  <a:pt x="111079" y="8356"/>
                </a:lnTo>
                <a:lnTo>
                  <a:pt x="98435" y="13424"/>
                </a:lnTo>
                <a:lnTo>
                  <a:pt x="86317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5" y="54017"/>
                </a:lnTo>
                <a:lnTo>
                  <a:pt x="35418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9"/>
                </a:lnTo>
                <a:lnTo>
                  <a:pt x="5364" y="128966"/>
                </a:lnTo>
                <a:lnTo>
                  <a:pt x="2418" y="143464"/>
                </a:lnTo>
                <a:lnTo>
                  <a:pt x="613" y="15838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6" name="object 54"/>
          <p:cNvSpPr/>
          <p:nvPr/>
        </p:nvSpPr>
        <p:spPr>
          <a:xfrm>
            <a:off x="5359085" y="585327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7" name="object 56"/>
          <p:cNvSpPr/>
          <p:nvPr/>
        </p:nvSpPr>
        <p:spPr>
          <a:xfrm>
            <a:off x="7171053" y="580535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7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9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8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50" y="291973"/>
                </a:lnTo>
                <a:lnTo>
                  <a:pt x="302221" y="281377"/>
                </a:lnTo>
                <a:lnTo>
                  <a:pt x="310252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8" name="object 58"/>
          <p:cNvSpPr/>
          <p:nvPr/>
        </p:nvSpPr>
        <p:spPr>
          <a:xfrm>
            <a:off x="5531142" y="57796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9" name="object 60"/>
          <p:cNvSpPr/>
          <p:nvPr/>
        </p:nvSpPr>
        <p:spPr>
          <a:xfrm>
            <a:off x="7356198" y="58085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0" name="object 62"/>
          <p:cNvSpPr/>
          <p:nvPr/>
        </p:nvSpPr>
        <p:spPr>
          <a:xfrm>
            <a:off x="6172602" y="56843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1" name="object 64"/>
          <p:cNvSpPr/>
          <p:nvPr/>
        </p:nvSpPr>
        <p:spPr>
          <a:xfrm>
            <a:off x="4877989" y="580535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2" name="object 66"/>
          <p:cNvSpPr/>
          <p:nvPr/>
        </p:nvSpPr>
        <p:spPr>
          <a:xfrm>
            <a:off x="5581873" y="580884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3" name="object 68"/>
          <p:cNvSpPr/>
          <p:nvPr/>
        </p:nvSpPr>
        <p:spPr>
          <a:xfrm>
            <a:off x="5930822" y="578724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4" name="object 70"/>
          <p:cNvSpPr/>
          <p:nvPr/>
        </p:nvSpPr>
        <p:spPr>
          <a:xfrm>
            <a:off x="3899218" y="582076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5" name="object 74"/>
          <p:cNvSpPr/>
          <p:nvPr/>
        </p:nvSpPr>
        <p:spPr>
          <a:xfrm>
            <a:off x="3578489" y="578724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6" name="object 75"/>
          <p:cNvSpPr/>
          <p:nvPr/>
        </p:nvSpPr>
        <p:spPr>
          <a:xfrm>
            <a:off x="6361937" y="580297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232" y="183107"/>
                </a:lnTo>
                <a:lnTo>
                  <a:pt x="1583" y="198180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1" y="253877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2" y="289273"/>
                </a:lnTo>
                <a:lnTo>
                  <a:pt x="49876" y="299561"/>
                </a:lnTo>
                <a:lnTo>
                  <a:pt x="59830" y="309002"/>
                </a:lnTo>
                <a:lnTo>
                  <a:pt x="70485" y="317539"/>
                </a:lnTo>
                <a:lnTo>
                  <a:pt x="81788" y="325119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8" y="347110"/>
                </a:lnTo>
                <a:lnTo>
                  <a:pt x="182985" y="345647"/>
                </a:lnTo>
                <a:lnTo>
                  <a:pt x="196529" y="342927"/>
                </a:lnTo>
                <a:lnTo>
                  <a:pt x="209649" y="339005"/>
                </a:lnTo>
                <a:lnTo>
                  <a:pt x="222294" y="333937"/>
                </a:lnTo>
                <a:lnTo>
                  <a:pt x="234412" y="327778"/>
                </a:lnTo>
                <a:lnTo>
                  <a:pt x="245952" y="320584"/>
                </a:lnTo>
                <a:lnTo>
                  <a:pt x="256863" y="312410"/>
                </a:lnTo>
                <a:lnTo>
                  <a:pt x="267094" y="303312"/>
                </a:lnTo>
                <a:lnTo>
                  <a:pt x="276594" y="293344"/>
                </a:lnTo>
                <a:lnTo>
                  <a:pt x="285310" y="282563"/>
                </a:lnTo>
                <a:lnTo>
                  <a:pt x="293194" y="271024"/>
                </a:lnTo>
                <a:lnTo>
                  <a:pt x="300192" y="258782"/>
                </a:lnTo>
                <a:lnTo>
                  <a:pt x="306254" y="245893"/>
                </a:lnTo>
                <a:lnTo>
                  <a:pt x="311328" y="232412"/>
                </a:lnTo>
                <a:lnTo>
                  <a:pt x="315364" y="218395"/>
                </a:lnTo>
                <a:lnTo>
                  <a:pt x="318311" y="203897"/>
                </a:lnTo>
                <a:lnTo>
                  <a:pt x="320116" y="188974"/>
                </a:lnTo>
                <a:lnTo>
                  <a:pt x="320729" y="173681"/>
                </a:lnTo>
                <a:lnTo>
                  <a:pt x="320497" y="164255"/>
                </a:lnTo>
                <a:lnTo>
                  <a:pt x="319146" y="149182"/>
                </a:lnTo>
                <a:lnTo>
                  <a:pt x="316635" y="134513"/>
                </a:lnTo>
                <a:lnTo>
                  <a:pt x="313014" y="120304"/>
                </a:lnTo>
                <a:lnTo>
                  <a:pt x="308334" y="106609"/>
                </a:lnTo>
                <a:lnTo>
                  <a:pt x="302648" y="93485"/>
                </a:lnTo>
                <a:lnTo>
                  <a:pt x="296005" y="80986"/>
                </a:lnTo>
                <a:lnTo>
                  <a:pt x="288458" y="69169"/>
                </a:lnTo>
                <a:lnTo>
                  <a:pt x="280057" y="58089"/>
                </a:lnTo>
                <a:lnTo>
                  <a:pt x="270854" y="47800"/>
                </a:lnTo>
                <a:lnTo>
                  <a:pt x="260899" y="38360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1" y="251"/>
                </a:lnTo>
                <a:lnTo>
                  <a:pt x="137744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5" y="13424"/>
                </a:lnTo>
                <a:lnTo>
                  <a:pt x="86317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50"/>
                </a:lnTo>
                <a:lnTo>
                  <a:pt x="44135" y="54017"/>
                </a:lnTo>
                <a:lnTo>
                  <a:pt x="35418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9"/>
                </a:lnTo>
                <a:lnTo>
                  <a:pt x="5364" y="128966"/>
                </a:lnTo>
                <a:lnTo>
                  <a:pt x="2418" y="143464"/>
                </a:lnTo>
                <a:lnTo>
                  <a:pt x="613" y="158387"/>
                </a:lnTo>
                <a:lnTo>
                  <a:pt x="0" y="173681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7" name="object 78"/>
          <p:cNvSpPr/>
          <p:nvPr/>
        </p:nvSpPr>
        <p:spPr>
          <a:xfrm>
            <a:off x="6754153" y="580401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5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8" name="object 74"/>
          <p:cNvSpPr/>
          <p:nvPr/>
        </p:nvSpPr>
        <p:spPr>
          <a:xfrm>
            <a:off x="5687605" y="5803468"/>
            <a:ext cx="394167" cy="381727"/>
          </a:xfrm>
          <a:custGeom>
            <a:avLst/>
            <a:gdLst/>
            <a:ahLst/>
            <a:cxnLst/>
            <a:rect l="l" t="t" r="r" b="b"/>
            <a:pathLst>
              <a:path w="394167" h="381727">
                <a:moveTo>
                  <a:pt x="0" y="0"/>
                </a:moveTo>
                <a:lnTo>
                  <a:pt x="394167" y="0"/>
                </a:lnTo>
                <a:lnTo>
                  <a:pt x="394167" y="381727"/>
                </a:lnTo>
                <a:lnTo>
                  <a:pt x="0" y="381727"/>
                </a:lnTo>
                <a:lnTo>
                  <a:pt x="0" y="0"/>
                </a:lnTo>
                <a:close/>
              </a:path>
            </a:pathLst>
          </a:custGeom>
          <a:solidFill>
            <a:srgbClr val="59BAD1"/>
          </a:solidFill>
          <a:ln w="57150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0" name="object 74"/>
          <p:cNvSpPr/>
          <p:nvPr/>
        </p:nvSpPr>
        <p:spPr>
          <a:xfrm>
            <a:off x="7576922" y="5803468"/>
            <a:ext cx="394167" cy="381727"/>
          </a:xfrm>
          <a:custGeom>
            <a:avLst/>
            <a:gdLst/>
            <a:ahLst/>
            <a:cxnLst/>
            <a:rect l="l" t="t" r="r" b="b"/>
            <a:pathLst>
              <a:path w="394167" h="381727">
                <a:moveTo>
                  <a:pt x="0" y="0"/>
                </a:moveTo>
                <a:lnTo>
                  <a:pt x="394167" y="0"/>
                </a:lnTo>
                <a:lnTo>
                  <a:pt x="394167" y="381727"/>
                </a:lnTo>
                <a:lnTo>
                  <a:pt x="0" y="381727"/>
                </a:lnTo>
                <a:lnTo>
                  <a:pt x="0" y="0"/>
                </a:lnTo>
                <a:close/>
              </a:path>
            </a:pathLst>
          </a:custGeom>
          <a:solidFill>
            <a:srgbClr val="FAA757"/>
          </a:solidFill>
          <a:ln w="57150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1" name="object 5"/>
          <p:cNvSpPr txBox="1"/>
          <p:nvPr/>
        </p:nvSpPr>
        <p:spPr>
          <a:xfrm>
            <a:off x="2101916" y="369650"/>
            <a:ext cx="6889684" cy="807913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 marR="41909">
              <a:lnSpc>
                <a:spcPts val="3454"/>
              </a:lnSpc>
              <a:spcBef>
                <a:spcPts val="172"/>
              </a:spcBef>
            </a:pPr>
            <a:r>
              <a:rPr lang="en-US" sz="4800" baseline="2560" dirty="0" smtClean="0">
                <a:solidFill>
                  <a:srgbClr val="4E81BC"/>
                </a:solidFill>
                <a:latin typeface="+mj-lt"/>
                <a:cs typeface="Calibri"/>
              </a:rPr>
              <a:t>Spectral Clustering</a:t>
            </a:r>
            <a:endParaRPr sz="3200" dirty="0">
              <a:latin typeface="+mj-lt"/>
              <a:cs typeface="Calibri"/>
            </a:endParaRPr>
          </a:p>
          <a:p>
            <a:pPr marL="12700">
              <a:lnSpc>
                <a:spcPts val="2770"/>
              </a:lnSpc>
            </a:pPr>
            <a:r>
              <a:rPr lang="en-US" sz="3200" baseline="1137" dirty="0" smtClean="0">
                <a:solidFill>
                  <a:srgbClr val="7F7E7E"/>
                </a:solidFill>
                <a:cs typeface="Calibri"/>
              </a:rPr>
              <a:t>Now perform K‐Means on the low dimension space  </a:t>
            </a:r>
            <a:endParaRPr lang="en-US" sz="3200" baseline="1137" dirty="0">
              <a:solidFill>
                <a:srgbClr val="7F7E7E"/>
              </a:solidFill>
              <a:cs typeface="Calibri"/>
            </a:endParaRPr>
          </a:p>
        </p:txBody>
      </p:sp>
      <p:sp>
        <p:nvSpPr>
          <p:cNvPr id="132" name="object 32"/>
          <p:cNvSpPr/>
          <p:nvPr/>
        </p:nvSpPr>
        <p:spPr>
          <a:xfrm>
            <a:off x="3084023" y="585028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3" name="object 50"/>
          <p:cNvSpPr/>
          <p:nvPr/>
        </p:nvSpPr>
        <p:spPr>
          <a:xfrm>
            <a:off x="3234945" y="5803468"/>
            <a:ext cx="394167" cy="381727"/>
          </a:xfrm>
          <a:custGeom>
            <a:avLst/>
            <a:gdLst/>
            <a:ahLst/>
            <a:cxnLst/>
            <a:rect l="l" t="t" r="r" b="b"/>
            <a:pathLst>
              <a:path w="394167" h="381727">
                <a:moveTo>
                  <a:pt x="0" y="0"/>
                </a:moveTo>
                <a:lnTo>
                  <a:pt x="394167" y="0"/>
                </a:lnTo>
                <a:lnTo>
                  <a:pt x="394167" y="381727"/>
                </a:lnTo>
                <a:lnTo>
                  <a:pt x="0" y="381727"/>
                </a:lnTo>
                <a:lnTo>
                  <a:pt x="0" y="0"/>
                </a:lnTo>
                <a:close/>
              </a:path>
            </a:pathLst>
          </a:custGeom>
          <a:solidFill>
            <a:srgbClr val="AAC56C"/>
          </a:solidFill>
          <a:ln w="57150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4" name="object 3"/>
          <p:cNvSpPr txBox="1"/>
          <p:nvPr/>
        </p:nvSpPr>
        <p:spPr>
          <a:xfrm>
            <a:off x="4212239" y="6273889"/>
            <a:ext cx="264576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 algn="ctr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0.7 Income + 0.3</a:t>
            </a:r>
            <a:r>
              <a:rPr lang="en-US" sz="3600" spc="0" baseline="2275" dirty="0" smtClean="0">
                <a:solidFill>
                  <a:srgbClr val="7F7E7E"/>
                </a:solidFill>
                <a:cs typeface="Calibri"/>
              </a:rPr>
              <a:t> Age</a:t>
            </a:r>
            <a:endParaRPr sz="2400" dirty="0">
              <a:cs typeface="Calibri"/>
            </a:endParaRPr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" name="object 70"/>
          <p:cNvSpPr/>
          <p:nvPr/>
        </p:nvSpPr>
        <p:spPr>
          <a:xfrm>
            <a:off x="2383438" y="5943600"/>
            <a:ext cx="6303362" cy="0"/>
          </a:xfrm>
          <a:custGeom>
            <a:avLst/>
            <a:gdLst/>
            <a:ahLst/>
            <a:cxnLst/>
            <a:rect l="l" t="t" r="r" b="b"/>
            <a:pathLst>
              <a:path w="6303362">
                <a:moveTo>
                  <a:pt x="0" y="0"/>
                </a:moveTo>
                <a:lnTo>
                  <a:pt x="6303362" y="0"/>
                </a:lnTo>
              </a:path>
            </a:pathLst>
          </a:custGeom>
          <a:ln w="25399">
            <a:solidFill>
              <a:srgbClr val="6094C9"/>
            </a:solidFill>
            <a:headEnd type="none"/>
            <a:tailEnd type="arrow"/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3" name="object 16"/>
          <p:cNvSpPr/>
          <p:nvPr/>
        </p:nvSpPr>
        <p:spPr>
          <a:xfrm>
            <a:off x="2668469" y="583455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4" name="object 17"/>
          <p:cNvSpPr/>
          <p:nvPr/>
        </p:nvSpPr>
        <p:spPr>
          <a:xfrm>
            <a:off x="6273057" y="576957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232" y="183106"/>
                </a:lnTo>
                <a:lnTo>
                  <a:pt x="1582" y="198179"/>
                </a:lnTo>
                <a:lnTo>
                  <a:pt x="4094" y="212848"/>
                </a:lnTo>
                <a:lnTo>
                  <a:pt x="7715" y="227057"/>
                </a:lnTo>
                <a:lnTo>
                  <a:pt x="12394" y="240752"/>
                </a:lnTo>
                <a:lnTo>
                  <a:pt x="18081" y="253876"/>
                </a:lnTo>
                <a:lnTo>
                  <a:pt x="24723" y="266374"/>
                </a:lnTo>
                <a:lnTo>
                  <a:pt x="32271" y="278192"/>
                </a:lnTo>
                <a:lnTo>
                  <a:pt x="40672" y="289272"/>
                </a:lnTo>
                <a:lnTo>
                  <a:pt x="49875" y="299561"/>
                </a:lnTo>
                <a:lnTo>
                  <a:pt x="59829" y="309001"/>
                </a:lnTo>
                <a:lnTo>
                  <a:pt x="70484" y="317539"/>
                </a:lnTo>
                <a:lnTo>
                  <a:pt x="81787" y="325118"/>
                </a:lnTo>
                <a:lnTo>
                  <a:pt x="93688" y="331684"/>
                </a:lnTo>
                <a:lnTo>
                  <a:pt x="106135" y="337180"/>
                </a:lnTo>
                <a:lnTo>
                  <a:pt x="119077" y="341551"/>
                </a:lnTo>
                <a:lnTo>
                  <a:pt x="132464" y="344742"/>
                </a:lnTo>
                <a:lnTo>
                  <a:pt x="146243" y="346697"/>
                </a:lnTo>
                <a:lnTo>
                  <a:pt x="160364" y="347361"/>
                </a:lnTo>
                <a:lnTo>
                  <a:pt x="169067" y="347110"/>
                </a:lnTo>
                <a:lnTo>
                  <a:pt x="182985" y="345647"/>
                </a:lnTo>
                <a:lnTo>
                  <a:pt x="196529" y="342927"/>
                </a:lnTo>
                <a:lnTo>
                  <a:pt x="209649" y="339005"/>
                </a:lnTo>
                <a:lnTo>
                  <a:pt x="222293" y="333937"/>
                </a:lnTo>
                <a:lnTo>
                  <a:pt x="234411" y="327778"/>
                </a:lnTo>
                <a:lnTo>
                  <a:pt x="245951" y="320584"/>
                </a:lnTo>
                <a:lnTo>
                  <a:pt x="256863" y="312410"/>
                </a:lnTo>
                <a:lnTo>
                  <a:pt x="267094" y="303311"/>
                </a:lnTo>
                <a:lnTo>
                  <a:pt x="276593" y="293344"/>
                </a:lnTo>
                <a:lnTo>
                  <a:pt x="285310" y="282563"/>
                </a:lnTo>
                <a:lnTo>
                  <a:pt x="293193" y="271024"/>
                </a:lnTo>
                <a:lnTo>
                  <a:pt x="300192" y="258782"/>
                </a:lnTo>
                <a:lnTo>
                  <a:pt x="306254" y="245893"/>
                </a:lnTo>
                <a:lnTo>
                  <a:pt x="311328" y="232412"/>
                </a:lnTo>
                <a:lnTo>
                  <a:pt x="315364" y="218395"/>
                </a:lnTo>
                <a:lnTo>
                  <a:pt x="318311" y="203897"/>
                </a:lnTo>
                <a:lnTo>
                  <a:pt x="320116" y="188974"/>
                </a:lnTo>
                <a:lnTo>
                  <a:pt x="320729" y="173681"/>
                </a:lnTo>
                <a:lnTo>
                  <a:pt x="320497" y="164254"/>
                </a:lnTo>
                <a:lnTo>
                  <a:pt x="319146" y="149181"/>
                </a:lnTo>
                <a:lnTo>
                  <a:pt x="316634" y="134512"/>
                </a:lnTo>
                <a:lnTo>
                  <a:pt x="313013" y="120303"/>
                </a:lnTo>
                <a:lnTo>
                  <a:pt x="308334" y="106609"/>
                </a:lnTo>
                <a:lnTo>
                  <a:pt x="302647" y="93484"/>
                </a:lnTo>
                <a:lnTo>
                  <a:pt x="296004" y="80986"/>
                </a:lnTo>
                <a:lnTo>
                  <a:pt x="288457" y="69169"/>
                </a:lnTo>
                <a:lnTo>
                  <a:pt x="280056" y="58088"/>
                </a:lnTo>
                <a:lnTo>
                  <a:pt x="270853" y="47800"/>
                </a:lnTo>
                <a:lnTo>
                  <a:pt x="260898" y="38359"/>
                </a:lnTo>
                <a:lnTo>
                  <a:pt x="250244" y="29822"/>
                </a:lnTo>
                <a:lnTo>
                  <a:pt x="238941" y="22242"/>
                </a:lnTo>
                <a:lnTo>
                  <a:pt x="227040" y="15677"/>
                </a:lnTo>
                <a:lnTo>
                  <a:pt x="214592" y="10181"/>
                </a:lnTo>
                <a:lnTo>
                  <a:pt x="201650" y="5810"/>
                </a:lnTo>
                <a:lnTo>
                  <a:pt x="188264" y="2619"/>
                </a:lnTo>
                <a:lnTo>
                  <a:pt x="174484" y="664"/>
                </a:lnTo>
                <a:lnTo>
                  <a:pt x="160364" y="0"/>
                </a:lnTo>
                <a:lnTo>
                  <a:pt x="151661" y="251"/>
                </a:lnTo>
                <a:lnTo>
                  <a:pt x="137744" y="1714"/>
                </a:lnTo>
                <a:lnTo>
                  <a:pt x="124199" y="4434"/>
                </a:lnTo>
                <a:lnTo>
                  <a:pt x="111079" y="8356"/>
                </a:lnTo>
                <a:lnTo>
                  <a:pt x="98435" y="13424"/>
                </a:lnTo>
                <a:lnTo>
                  <a:pt x="86317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5" y="54017"/>
                </a:lnTo>
                <a:lnTo>
                  <a:pt x="35418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9"/>
                </a:lnTo>
                <a:lnTo>
                  <a:pt x="5364" y="128966"/>
                </a:lnTo>
                <a:lnTo>
                  <a:pt x="2418" y="143464"/>
                </a:lnTo>
                <a:lnTo>
                  <a:pt x="613" y="158387"/>
                </a:lnTo>
                <a:lnTo>
                  <a:pt x="0" y="173681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5" name="object 18"/>
          <p:cNvSpPr/>
          <p:nvPr/>
        </p:nvSpPr>
        <p:spPr>
          <a:xfrm>
            <a:off x="6273057" y="576957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6" name="object 19"/>
          <p:cNvSpPr/>
          <p:nvPr/>
        </p:nvSpPr>
        <p:spPr>
          <a:xfrm>
            <a:off x="5853655" y="571095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232" y="183106"/>
                </a:lnTo>
                <a:lnTo>
                  <a:pt x="1582" y="198179"/>
                </a:lnTo>
                <a:lnTo>
                  <a:pt x="4094" y="212848"/>
                </a:lnTo>
                <a:lnTo>
                  <a:pt x="7715" y="227057"/>
                </a:lnTo>
                <a:lnTo>
                  <a:pt x="12394" y="240752"/>
                </a:lnTo>
                <a:lnTo>
                  <a:pt x="18081" y="253876"/>
                </a:lnTo>
                <a:lnTo>
                  <a:pt x="24723" y="266374"/>
                </a:lnTo>
                <a:lnTo>
                  <a:pt x="32271" y="278192"/>
                </a:lnTo>
                <a:lnTo>
                  <a:pt x="40672" y="289272"/>
                </a:lnTo>
                <a:lnTo>
                  <a:pt x="49875" y="299561"/>
                </a:lnTo>
                <a:lnTo>
                  <a:pt x="59829" y="309001"/>
                </a:lnTo>
                <a:lnTo>
                  <a:pt x="70484" y="317539"/>
                </a:lnTo>
                <a:lnTo>
                  <a:pt x="81787" y="325119"/>
                </a:lnTo>
                <a:lnTo>
                  <a:pt x="93688" y="331684"/>
                </a:lnTo>
                <a:lnTo>
                  <a:pt x="106135" y="337180"/>
                </a:lnTo>
                <a:lnTo>
                  <a:pt x="119077" y="341551"/>
                </a:lnTo>
                <a:lnTo>
                  <a:pt x="132464" y="344742"/>
                </a:lnTo>
                <a:lnTo>
                  <a:pt x="146243" y="346697"/>
                </a:lnTo>
                <a:lnTo>
                  <a:pt x="160364" y="347361"/>
                </a:lnTo>
                <a:lnTo>
                  <a:pt x="169067" y="347110"/>
                </a:lnTo>
                <a:lnTo>
                  <a:pt x="182985" y="345647"/>
                </a:lnTo>
                <a:lnTo>
                  <a:pt x="196529" y="342927"/>
                </a:lnTo>
                <a:lnTo>
                  <a:pt x="209649" y="339005"/>
                </a:lnTo>
                <a:lnTo>
                  <a:pt x="222293" y="333937"/>
                </a:lnTo>
                <a:lnTo>
                  <a:pt x="234411" y="327778"/>
                </a:lnTo>
                <a:lnTo>
                  <a:pt x="245952" y="320584"/>
                </a:lnTo>
                <a:lnTo>
                  <a:pt x="256863" y="312410"/>
                </a:lnTo>
                <a:lnTo>
                  <a:pt x="267094" y="303311"/>
                </a:lnTo>
                <a:lnTo>
                  <a:pt x="276593" y="293344"/>
                </a:lnTo>
                <a:lnTo>
                  <a:pt x="285310" y="282563"/>
                </a:lnTo>
                <a:lnTo>
                  <a:pt x="293193" y="271024"/>
                </a:lnTo>
                <a:lnTo>
                  <a:pt x="300192" y="258782"/>
                </a:lnTo>
                <a:lnTo>
                  <a:pt x="306254" y="245893"/>
                </a:lnTo>
                <a:lnTo>
                  <a:pt x="311328" y="232412"/>
                </a:lnTo>
                <a:lnTo>
                  <a:pt x="315364" y="218395"/>
                </a:lnTo>
                <a:lnTo>
                  <a:pt x="318311" y="203897"/>
                </a:lnTo>
                <a:lnTo>
                  <a:pt x="320116" y="188974"/>
                </a:lnTo>
                <a:lnTo>
                  <a:pt x="320729" y="173680"/>
                </a:lnTo>
                <a:lnTo>
                  <a:pt x="320497" y="164254"/>
                </a:lnTo>
                <a:lnTo>
                  <a:pt x="319146" y="149181"/>
                </a:lnTo>
                <a:lnTo>
                  <a:pt x="316634" y="134512"/>
                </a:lnTo>
                <a:lnTo>
                  <a:pt x="313013" y="120303"/>
                </a:lnTo>
                <a:lnTo>
                  <a:pt x="308334" y="106609"/>
                </a:lnTo>
                <a:lnTo>
                  <a:pt x="302647" y="93484"/>
                </a:lnTo>
                <a:lnTo>
                  <a:pt x="296005" y="80986"/>
                </a:lnTo>
                <a:lnTo>
                  <a:pt x="288457" y="69169"/>
                </a:lnTo>
                <a:lnTo>
                  <a:pt x="280056" y="58088"/>
                </a:lnTo>
                <a:lnTo>
                  <a:pt x="270853" y="47800"/>
                </a:lnTo>
                <a:lnTo>
                  <a:pt x="260898" y="38359"/>
                </a:lnTo>
                <a:lnTo>
                  <a:pt x="250244" y="29822"/>
                </a:lnTo>
                <a:lnTo>
                  <a:pt x="238941" y="22242"/>
                </a:lnTo>
                <a:lnTo>
                  <a:pt x="227040" y="15677"/>
                </a:lnTo>
                <a:lnTo>
                  <a:pt x="214592" y="10181"/>
                </a:lnTo>
                <a:lnTo>
                  <a:pt x="201650" y="5810"/>
                </a:lnTo>
                <a:lnTo>
                  <a:pt x="188264" y="2619"/>
                </a:lnTo>
                <a:lnTo>
                  <a:pt x="174484" y="664"/>
                </a:lnTo>
                <a:lnTo>
                  <a:pt x="160364" y="0"/>
                </a:lnTo>
                <a:lnTo>
                  <a:pt x="151661" y="251"/>
                </a:lnTo>
                <a:lnTo>
                  <a:pt x="137744" y="1714"/>
                </a:lnTo>
                <a:lnTo>
                  <a:pt x="124199" y="4434"/>
                </a:lnTo>
                <a:lnTo>
                  <a:pt x="111079" y="8356"/>
                </a:lnTo>
                <a:lnTo>
                  <a:pt x="98435" y="13424"/>
                </a:lnTo>
                <a:lnTo>
                  <a:pt x="86317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5" y="54017"/>
                </a:lnTo>
                <a:lnTo>
                  <a:pt x="35418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9"/>
                </a:lnTo>
                <a:lnTo>
                  <a:pt x="5364" y="128966"/>
                </a:lnTo>
                <a:lnTo>
                  <a:pt x="2418" y="143464"/>
                </a:lnTo>
                <a:lnTo>
                  <a:pt x="613" y="158387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7" name="object 21"/>
          <p:cNvSpPr/>
          <p:nvPr/>
        </p:nvSpPr>
        <p:spPr>
          <a:xfrm>
            <a:off x="5300557" y="587860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232" y="183107"/>
                </a:lnTo>
                <a:lnTo>
                  <a:pt x="1583" y="198180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7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3"/>
                </a:lnTo>
                <a:lnTo>
                  <a:pt x="49876" y="299561"/>
                </a:lnTo>
                <a:lnTo>
                  <a:pt x="59830" y="309002"/>
                </a:lnTo>
                <a:lnTo>
                  <a:pt x="70485" y="317539"/>
                </a:lnTo>
                <a:lnTo>
                  <a:pt x="81788" y="325119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8" y="347110"/>
                </a:lnTo>
                <a:lnTo>
                  <a:pt x="182985" y="345647"/>
                </a:lnTo>
                <a:lnTo>
                  <a:pt x="196529" y="342927"/>
                </a:lnTo>
                <a:lnTo>
                  <a:pt x="209649" y="339005"/>
                </a:lnTo>
                <a:lnTo>
                  <a:pt x="222293" y="333937"/>
                </a:lnTo>
                <a:lnTo>
                  <a:pt x="234411" y="327778"/>
                </a:lnTo>
                <a:lnTo>
                  <a:pt x="245951" y="320584"/>
                </a:lnTo>
                <a:lnTo>
                  <a:pt x="256863" y="312410"/>
                </a:lnTo>
                <a:lnTo>
                  <a:pt x="267094" y="303312"/>
                </a:lnTo>
                <a:lnTo>
                  <a:pt x="276593" y="293344"/>
                </a:lnTo>
                <a:lnTo>
                  <a:pt x="285310" y="282563"/>
                </a:lnTo>
                <a:lnTo>
                  <a:pt x="293193" y="271024"/>
                </a:lnTo>
                <a:lnTo>
                  <a:pt x="300192" y="258782"/>
                </a:lnTo>
                <a:lnTo>
                  <a:pt x="306254" y="245893"/>
                </a:lnTo>
                <a:lnTo>
                  <a:pt x="311328" y="232412"/>
                </a:lnTo>
                <a:lnTo>
                  <a:pt x="315364" y="218395"/>
                </a:lnTo>
                <a:lnTo>
                  <a:pt x="318311" y="203897"/>
                </a:lnTo>
                <a:lnTo>
                  <a:pt x="320116" y="188974"/>
                </a:lnTo>
                <a:lnTo>
                  <a:pt x="320729" y="173680"/>
                </a:lnTo>
                <a:lnTo>
                  <a:pt x="320497" y="164255"/>
                </a:lnTo>
                <a:lnTo>
                  <a:pt x="319146" y="149182"/>
                </a:lnTo>
                <a:lnTo>
                  <a:pt x="316635" y="134513"/>
                </a:lnTo>
                <a:lnTo>
                  <a:pt x="313014" y="120304"/>
                </a:lnTo>
                <a:lnTo>
                  <a:pt x="308334" y="106609"/>
                </a:lnTo>
                <a:lnTo>
                  <a:pt x="302647" y="93485"/>
                </a:lnTo>
                <a:lnTo>
                  <a:pt x="296005" y="80987"/>
                </a:lnTo>
                <a:lnTo>
                  <a:pt x="288458" y="69169"/>
                </a:lnTo>
                <a:lnTo>
                  <a:pt x="280057" y="58089"/>
                </a:lnTo>
                <a:lnTo>
                  <a:pt x="270853" y="47800"/>
                </a:lnTo>
                <a:lnTo>
                  <a:pt x="260899" y="38360"/>
                </a:lnTo>
                <a:lnTo>
                  <a:pt x="250244" y="29822"/>
                </a:lnTo>
                <a:lnTo>
                  <a:pt x="238941" y="22242"/>
                </a:lnTo>
                <a:lnTo>
                  <a:pt x="227040" y="15677"/>
                </a:lnTo>
                <a:lnTo>
                  <a:pt x="214593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1" y="251"/>
                </a:lnTo>
                <a:lnTo>
                  <a:pt x="137744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5" y="13424"/>
                </a:lnTo>
                <a:lnTo>
                  <a:pt x="86317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50"/>
                </a:lnTo>
                <a:lnTo>
                  <a:pt x="44135" y="54017"/>
                </a:lnTo>
                <a:lnTo>
                  <a:pt x="35418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9"/>
                </a:lnTo>
                <a:lnTo>
                  <a:pt x="5364" y="128966"/>
                </a:lnTo>
                <a:lnTo>
                  <a:pt x="2418" y="143464"/>
                </a:lnTo>
                <a:lnTo>
                  <a:pt x="613" y="158387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8" name="object 23"/>
          <p:cNvSpPr/>
          <p:nvPr/>
        </p:nvSpPr>
        <p:spPr>
          <a:xfrm>
            <a:off x="6361937" y="579347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1"/>
                </a:moveTo>
                <a:lnTo>
                  <a:pt x="232" y="183107"/>
                </a:lnTo>
                <a:lnTo>
                  <a:pt x="1583" y="198180"/>
                </a:lnTo>
                <a:lnTo>
                  <a:pt x="4094" y="212849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7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3"/>
                </a:lnTo>
                <a:lnTo>
                  <a:pt x="49876" y="299561"/>
                </a:lnTo>
                <a:lnTo>
                  <a:pt x="59830" y="309002"/>
                </a:lnTo>
                <a:lnTo>
                  <a:pt x="70485" y="317539"/>
                </a:lnTo>
                <a:lnTo>
                  <a:pt x="81788" y="325119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2"/>
                </a:lnTo>
                <a:lnTo>
                  <a:pt x="169068" y="347110"/>
                </a:lnTo>
                <a:lnTo>
                  <a:pt x="182985" y="345647"/>
                </a:lnTo>
                <a:lnTo>
                  <a:pt x="196529" y="342927"/>
                </a:lnTo>
                <a:lnTo>
                  <a:pt x="209649" y="339005"/>
                </a:lnTo>
                <a:lnTo>
                  <a:pt x="222294" y="333937"/>
                </a:lnTo>
                <a:lnTo>
                  <a:pt x="234412" y="327778"/>
                </a:lnTo>
                <a:lnTo>
                  <a:pt x="245952" y="320584"/>
                </a:lnTo>
                <a:lnTo>
                  <a:pt x="256863" y="312410"/>
                </a:lnTo>
                <a:lnTo>
                  <a:pt x="267094" y="303312"/>
                </a:lnTo>
                <a:lnTo>
                  <a:pt x="276594" y="293344"/>
                </a:lnTo>
                <a:lnTo>
                  <a:pt x="285310" y="282563"/>
                </a:lnTo>
                <a:lnTo>
                  <a:pt x="293194" y="271024"/>
                </a:lnTo>
                <a:lnTo>
                  <a:pt x="300192" y="258782"/>
                </a:lnTo>
                <a:lnTo>
                  <a:pt x="306254" y="245893"/>
                </a:lnTo>
                <a:lnTo>
                  <a:pt x="311328" y="232412"/>
                </a:lnTo>
                <a:lnTo>
                  <a:pt x="315364" y="218395"/>
                </a:lnTo>
                <a:lnTo>
                  <a:pt x="318311" y="203897"/>
                </a:lnTo>
                <a:lnTo>
                  <a:pt x="320116" y="188974"/>
                </a:lnTo>
                <a:lnTo>
                  <a:pt x="320729" y="173681"/>
                </a:lnTo>
                <a:lnTo>
                  <a:pt x="320497" y="164255"/>
                </a:lnTo>
                <a:lnTo>
                  <a:pt x="319146" y="149182"/>
                </a:lnTo>
                <a:lnTo>
                  <a:pt x="316635" y="134513"/>
                </a:lnTo>
                <a:lnTo>
                  <a:pt x="313014" y="120304"/>
                </a:lnTo>
                <a:lnTo>
                  <a:pt x="308334" y="106609"/>
                </a:lnTo>
                <a:lnTo>
                  <a:pt x="302648" y="93485"/>
                </a:lnTo>
                <a:lnTo>
                  <a:pt x="296005" y="80987"/>
                </a:lnTo>
                <a:lnTo>
                  <a:pt x="288458" y="69169"/>
                </a:lnTo>
                <a:lnTo>
                  <a:pt x="280057" y="58089"/>
                </a:lnTo>
                <a:lnTo>
                  <a:pt x="270854" y="47800"/>
                </a:lnTo>
                <a:lnTo>
                  <a:pt x="260899" y="38360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1" y="251"/>
                </a:lnTo>
                <a:lnTo>
                  <a:pt x="137744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5" y="13424"/>
                </a:lnTo>
                <a:lnTo>
                  <a:pt x="86317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50"/>
                </a:lnTo>
                <a:lnTo>
                  <a:pt x="44135" y="54017"/>
                </a:lnTo>
                <a:lnTo>
                  <a:pt x="35418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9"/>
                </a:lnTo>
                <a:lnTo>
                  <a:pt x="5364" y="128966"/>
                </a:lnTo>
                <a:lnTo>
                  <a:pt x="2418" y="143464"/>
                </a:lnTo>
                <a:lnTo>
                  <a:pt x="613" y="158387"/>
                </a:lnTo>
                <a:lnTo>
                  <a:pt x="0" y="173681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9" name="object 24"/>
          <p:cNvSpPr/>
          <p:nvPr/>
        </p:nvSpPr>
        <p:spPr>
          <a:xfrm>
            <a:off x="6361936" y="579347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0" name="object 25"/>
          <p:cNvSpPr/>
          <p:nvPr/>
        </p:nvSpPr>
        <p:spPr>
          <a:xfrm>
            <a:off x="5880842" y="573498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1"/>
                </a:moveTo>
                <a:lnTo>
                  <a:pt x="232" y="183107"/>
                </a:lnTo>
                <a:lnTo>
                  <a:pt x="1583" y="198180"/>
                </a:lnTo>
                <a:lnTo>
                  <a:pt x="4094" y="212849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7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3"/>
                </a:lnTo>
                <a:lnTo>
                  <a:pt x="49876" y="299561"/>
                </a:lnTo>
                <a:lnTo>
                  <a:pt x="59830" y="309002"/>
                </a:lnTo>
                <a:lnTo>
                  <a:pt x="70485" y="317539"/>
                </a:lnTo>
                <a:lnTo>
                  <a:pt x="81788" y="325119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2"/>
                </a:lnTo>
                <a:lnTo>
                  <a:pt x="169069" y="347110"/>
                </a:lnTo>
                <a:lnTo>
                  <a:pt x="182986" y="345647"/>
                </a:lnTo>
                <a:lnTo>
                  <a:pt x="196530" y="342927"/>
                </a:lnTo>
                <a:lnTo>
                  <a:pt x="209650" y="339005"/>
                </a:lnTo>
                <a:lnTo>
                  <a:pt x="222295" y="333937"/>
                </a:lnTo>
                <a:lnTo>
                  <a:pt x="234413" y="327778"/>
                </a:lnTo>
                <a:lnTo>
                  <a:pt x="245953" y="320584"/>
                </a:lnTo>
                <a:lnTo>
                  <a:pt x="256864" y="312410"/>
                </a:lnTo>
                <a:lnTo>
                  <a:pt x="267095" y="303311"/>
                </a:lnTo>
                <a:lnTo>
                  <a:pt x="276595" y="293344"/>
                </a:lnTo>
                <a:lnTo>
                  <a:pt x="285311" y="282563"/>
                </a:lnTo>
                <a:lnTo>
                  <a:pt x="293195" y="271024"/>
                </a:lnTo>
                <a:lnTo>
                  <a:pt x="300193" y="258782"/>
                </a:lnTo>
                <a:lnTo>
                  <a:pt x="306255" y="245893"/>
                </a:lnTo>
                <a:lnTo>
                  <a:pt x="311330" y="232412"/>
                </a:lnTo>
                <a:lnTo>
                  <a:pt x="315366" y="218395"/>
                </a:lnTo>
                <a:lnTo>
                  <a:pt x="318312" y="203897"/>
                </a:lnTo>
                <a:lnTo>
                  <a:pt x="320117" y="188974"/>
                </a:lnTo>
                <a:lnTo>
                  <a:pt x="320730" y="173681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8" y="93484"/>
                </a:lnTo>
                <a:lnTo>
                  <a:pt x="296006" y="80986"/>
                </a:lnTo>
                <a:lnTo>
                  <a:pt x="288458" y="69169"/>
                </a:lnTo>
                <a:lnTo>
                  <a:pt x="280057" y="58088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1" y="251"/>
                </a:lnTo>
                <a:lnTo>
                  <a:pt x="137744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5" y="13424"/>
                </a:lnTo>
                <a:lnTo>
                  <a:pt x="86317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50"/>
                </a:lnTo>
                <a:lnTo>
                  <a:pt x="44135" y="54017"/>
                </a:lnTo>
                <a:lnTo>
                  <a:pt x="35418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9"/>
                </a:lnTo>
                <a:lnTo>
                  <a:pt x="5364" y="128966"/>
                </a:lnTo>
                <a:lnTo>
                  <a:pt x="2418" y="143464"/>
                </a:lnTo>
                <a:lnTo>
                  <a:pt x="613" y="158387"/>
                </a:lnTo>
                <a:lnTo>
                  <a:pt x="0" y="173681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1" name="object 28"/>
          <p:cNvSpPr/>
          <p:nvPr/>
        </p:nvSpPr>
        <p:spPr>
          <a:xfrm>
            <a:off x="4557260" y="58683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2" name="object 29"/>
          <p:cNvSpPr/>
          <p:nvPr/>
        </p:nvSpPr>
        <p:spPr>
          <a:xfrm>
            <a:off x="5107607" y="583061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232" y="183107"/>
                </a:lnTo>
                <a:lnTo>
                  <a:pt x="1583" y="198180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1" y="253877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2" y="289273"/>
                </a:lnTo>
                <a:lnTo>
                  <a:pt x="49876" y="299561"/>
                </a:lnTo>
                <a:lnTo>
                  <a:pt x="59830" y="309002"/>
                </a:lnTo>
                <a:lnTo>
                  <a:pt x="70485" y="317539"/>
                </a:lnTo>
                <a:lnTo>
                  <a:pt x="81788" y="325119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7"/>
                </a:lnTo>
                <a:lnTo>
                  <a:pt x="196530" y="342927"/>
                </a:lnTo>
                <a:lnTo>
                  <a:pt x="209650" y="339005"/>
                </a:lnTo>
                <a:lnTo>
                  <a:pt x="222295" y="333937"/>
                </a:lnTo>
                <a:lnTo>
                  <a:pt x="234413" y="327778"/>
                </a:lnTo>
                <a:lnTo>
                  <a:pt x="245953" y="320584"/>
                </a:lnTo>
                <a:lnTo>
                  <a:pt x="256864" y="312410"/>
                </a:lnTo>
                <a:lnTo>
                  <a:pt x="267095" y="303311"/>
                </a:lnTo>
                <a:lnTo>
                  <a:pt x="276594" y="293344"/>
                </a:lnTo>
                <a:lnTo>
                  <a:pt x="285311" y="282563"/>
                </a:lnTo>
                <a:lnTo>
                  <a:pt x="293195" y="271024"/>
                </a:lnTo>
                <a:lnTo>
                  <a:pt x="300193" y="258782"/>
                </a:lnTo>
                <a:lnTo>
                  <a:pt x="306255" y="245893"/>
                </a:lnTo>
                <a:lnTo>
                  <a:pt x="311330" y="232412"/>
                </a:lnTo>
                <a:lnTo>
                  <a:pt x="315366" y="218395"/>
                </a:lnTo>
                <a:lnTo>
                  <a:pt x="318312" y="203897"/>
                </a:lnTo>
                <a:lnTo>
                  <a:pt x="320117" y="188974"/>
                </a:lnTo>
                <a:lnTo>
                  <a:pt x="320730" y="173681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8" y="93484"/>
                </a:lnTo>
                <a:lnTo>
                  <a:pt x="296006" y="80986"/>
                </a:lnTo>
                <a:lnTo>
                  <a:pt x="288458" y="69169"/>
                </a:lnTo>
                <a:lnTo>
                  <a:pt x="280057" y="58088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1" y="251"/>
                </a:lnTo>
                <a:lnTo>
                  <a:pt x="137744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5" y="13424"/>
                </a:lnTo>
                <a:lnTo>
                  <a:pt x="86317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50"/>
                </a:lnTo>
                <a:lnTo>
                  <a:pt x="44135" y="54017"/>
                </a:lnTo>
                <a:lnTo>
                  <a:pt x="35418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9"/>
                </a:lnTo>
                <a:lnTo>
                  <a:pt x="5364" y="128966"/>
                </a:lnTo>
                <a:lnTo>
                  <a:pt x="2418" y="143464"/>
                </a:lnTo>
                <a:lnTo>
                  <a:pt x="613" y="158387"/>
                </a:lnTo>
                <a:lnTo>
                  <a:pt x="0" y="173681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3" name="object 30"/>
          <p:cNvSpPr/>
          <p:nvPr/>
        </p:nvSpPr>
        <p:spPr>
          <a:xfrm>
            <a:off x="5107607" y="583061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4" name="object 32"/>
          <p:cNvSpPr/>
          <p:nvPr/>
        </p:nvSpPr>
        <p:spPr>
          <a:xfrm>
            <a:off x="2907043" y="585028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5" name="object 34"/>
          <p:cNvSpPr/>
          <p:nvPr/>
        </p:nvSpPr>
        <p:spPr>
          <a:xfrm>
            <a:off x="7648012" y="578724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6" name="object 36"/>
          <p:cNvSpPr/>
          <p:nvPr/>
        </p:nvSpPr>
        <p:spPr>
          <a:xfrm>
            <a:off x="6593786" y="57902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7" name="object 38"/>
          <p:cNvSpPr/>
          <p:nvPr/>
        </p:nvSpPr>
        <p:spPr>
          <a:xfrm>
            <a:off x="8001594" y="582076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5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8" name="object 40"/>
          <p:cNvSpPr/>
          <p:nvPr/>
        </p:nvSpPr>
        <p:spPr>
          <a:xfrm>
            <a:off x="4724741" y="584823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9" name="object 42"/>
          <p:cNvSpPr/>
          <p:nvPr/>
        </p:nvSpPr>
        <p:spPr>
          <a:xfrm>
            <a:off x="5107607" y="57796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0" name="object 44"/>
          <p:cNvSpPr/>
          <p:nvPr/>
        </p:nvSpPr>
        <p:spPr>
          <a:xfrm>
            <a:off x="3418124" y="578557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1" name="object 46"/>
          <p:cNvSpPr/>
          <p:nvPr/>
        </p:nvSpPr>
        <p:spPr>
          <a:xfrm>
            <a:off x="3257759" y="588072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2" name="object 47"/>
          <p:cNvSpPr/>
          <p:nvPr/>
        </p:nvSpPr>
        <p:spPr>
          <a:xfrm>
            <a:off x="6091186" y="576214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232" y="183107"/>
                </a:lnTo>
                <a:lnTo>
                  <a:pt x="1583" y="198180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1" y="253877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2" y="289273"/>
                </a:lnTo>
                <a:lnTo>
                  <a:pt x="49876" y="299561"/>
                </a:lnTo>
                <a:lnTo>
                  <a:pt x="59830" y="309002"/>
                </a:lnTo>
                <a:lnTo>
                  <a:pt x="70485" y="317539"/>
                </a:lnTo>
                <a:lnTo>
                  <a:pt x="81788" y="325119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7"/>
                </a:lnTo>
                <a:lnTo>
                  <a:pt x="196530" y="342927"/>
                </a:lnTo>
                <a:lnTo>
                  <a:pt x="209650" y="339005"/>
                </a:lnTo>
                <a:lnTo>
                  <a:pt x="222295" y="333937"/>
                </a:lnTo>
                <a:lnTo>
                  <a:pt x="234413" y="327778"/>
                </a:lnTo>
                <a:lnTo>
                  <a:pt x="245953" y="320584"/>
                </a:lnTo>
                <a:lnTo>
                  <a:pt x="256864" y="312410"/>
                </a:lnTo>
                <a:lnTo>
                  <a:pt x="267095" y="303311"/>
                </a:lnTo>
                <a:lnTo>
                  <a:pt x="276594" y="293344"/>
                </a:lnTo>
                <a:lnTo>
                  <a:pt x="285311" y="282563"/>
                </a:lnTo>
                <a:lnTo>
                  <a:pt x="293195" y="271024"/>
                </a:lnTo>
                <a:lnTo>
                  <a:pt x="300193" y="258782"/>
                </a:lnTo>
                <a:lnTo>
                  <a:pt x="306255" y="245893"/>
                </a:lnTo>
                <a:lnTo>
                  <a:pt x="311330" y="232412"/>
                </a:lnTo>
                <a:lnTo>
                  <a:pt x="315366" y="218395"/>
                </a:lnTo>
                <a:lnTo>
                  <a:pt x="318312" y="203897"/>
                </a:lnTo>
                <a:lnTo>
                  <a:pt x="320117" y="188974"/>
                </a:lnTo>
                <a:lnTo>
                  <a:pt x="320730" y="173681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8" y="93484"/>
                </a:lnTo>
                <a:lnTo>
                  <a:pt x="296006" y="80986"/>
                </a:lnTo>
                <a:lnTo>
                  <a:pt x="288458" y="69169"/>
                </a:lnTo>
                <a:lnTo>
                  <a:pt x="280057" y="58088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1" y="251"/>
                </a:lnTo>
                <a:lnTo>
                  <a:pt x="137744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5" y="13424"/>
                </a:lnTo>
                <a:lnTo>
                  <a:pt x="86317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50"/>
                </a:lnTo>
                <a:lnTo>
                  <a:pt x="44135" y="54017"/>
                </a:lnTo>
                <a:lnTo>
                  <a:pt x="35418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9"/>
                </a:lnTo>
                <a:lnTo>
                  <a:pt x="5364" y="128966"/>
                </a:lnTo>
                <a:lnTo>
                  <a:pt x="2418" y="143464"/>
                </a:lnTo>
                <a:lnTo>
                  <a:pt x="613" y="158387"/>
                </a:lnTo>
                <a:lnTo>
                  <a:pt x="0" y="173681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3" name="object 48"/>
          <p:cNvSpPr/>
          <p:nvPr/>
        </p:nvSpPr>
        <p:spPr>
          <a:xfrm>
            <a:off x="6091185" y="576214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4" name="object 50"/>
          <p:cNvSpPr/>
          <p:nvPr/>
        </p:nvSpPr>
        <p:spPr>
          <a:xfrm>
            <a:off x="5239383" y="57900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5" name="object 51"/>
          <p:cNvSpPr/>
          <p:nvPr/>
        </p:nvSpPr>
        <p:spPr>
          <a:xfrm>
            <a:off x="7163762" y="585801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232" y="183106"/>
                </a:lnTo>
                <a:lnTo>
                  <a:pt x="1582" y="198179"/>
                </a:lnTo>
                <a:lnTo>
                  <a:pt x="4094" y="212848"/>
                </a:lnTo>
                <a:lnTo>
                  <a:pt x="7715" y="227057"/>
                </a:lnTo>
                <a:lnTo>
                  <a:pt x="12394" y="240752"/>
                </a:lnTo>
                <a:lnTo>
                  <a:pt x="18081" y="253876"/>
                </a:lnTo>
                <a:lnTo>
                  <a:pt x="24723" y="266374"/>
                </a:lnTo>
                <a:lnTo>
                  <a:pt x="32271" y="278192"/>
                </a:lnTo>
                <a:lnTo>
                  <a:pt x="40672" y="289272"/>
                </a:lnTo>
                <a:lnTo>
                  <a:pt x="49875" y="299561"/>
                </a:lnTo>
                <a:lnTo>
                  <a:pt x="59829" y="309001"/>
                </a:lnTo>
                <a:lnTo>
                  <a:pt x="70484" y="317539"/>
                </a:lnTo>
                <a:lnTo>
                  <a:pt x="81787" y="325119"/>
                </a:lnTo>
                <a:lnTo>
                  <a:pt x="93688" y="331684"/>
                </a:lnTo>
                <a:lnTo>
                  <a:pt x="106135" y="337180"/>
                </a:lnTo>
                <a:lnTo>
                  <a:pt x="119077" y="341551"/>
                </a:lnTo>
                <a:lnTo>
                  <a:pt x="132464" y="344742"/>
                </a:lnTo>
                <a:lnTo>
                  <a:pt x="146243" y="346697"/>
                </a:lnTo>
                <a:lnTo>
                  <a:pt x="160364" y="347361"/>
                </a:lnTo>
                <a:lnTo>
                  <a:pt x="169067" y="347110"/>
                </a:lnTo>
                <a:lnTo>
                  <a:pt x="182985" y="345647"/>
                </a:lnTo>
                <a:lnTo>
                  <a:pt x="196529" y="342927"/>
                </a:lnTo>
                <a:lnTo>
                  <a:pt x="209649" y="339005"/>
                </a:lnTo>
                <a:lnTo>
                  <a:pt x="222293" y="333937"/>
                </a:lnTo>
                <a:lnTo>
                  <a:pt x="234411" y="327778"/>
                </a:lnTo>
                <a:lnTo>
                  <a:pt x="245952" y="320584"/>
                </a:lnTo>
                <a:lnTo>
                  <a:pt x="256863" y="312410"/>
                </a:lnTo>
                <a:lnTo>
                  <a:pt x="267094" y="303311"/>
                </a:lnTo>
                <a:lnTo>
                  <a:pt x="276593" y="293344"/>
                </a:lnTo>
                <a:lnTo>
                  <a:pt x="285310" y="282563"/>
                </a:lnTo>
                <a:lnTo>
                  <a:pt x="293193" y="271024"/>
                </a:lnTo>
                <a:lnTo>
                  <a:pt x="300192" y="258782"/>
                </a:lnTo>
                <a:lnTo>
                  <a:pt x="306254" y="245893"/>
                </a:lnTo>
                <a:lnTo>
                  <a:pt x="311328" y="232412"/>
                </a:lnTo>
                <a:lnTo>
                  <a:pt x="315364" y="218395"/>
                </a:lnTo>
                <a:lnTo>
                  <a:pt x="318311" y="203897"/>
                </a:lnTo>
                <a:lnTo>
                  <a:pt x="320116" y="188974"/>
                </a:lnTo>
                <a:lnTo>
                  <a:pt x="320729" y="173680"/>
                </a:lnTo>
                <a:lnTo>
                  <a:pt x="320497" y="164254"/>
                </a:lnTo>
                <a:lnTo>
                  <a:pt x="319146" y="149181"/>
                </a:lnTo>
                <a:lnTo>
                  <a:pt x="316634" y="134512"/>
                </a:lnTo>
                <a:lnTo>
                  <a:pt x="313013" y="120303"/>
                </a:lnTo>
                <a:lnTo>
                  <a:pt x="308334" y="106609"/>
                </a:lnTo>
                <a:lnTo>
                  <a:pt x="302647" y="93484"/>
                </a:lnTo>
                <a:lnTo>
                  <a:pt x="296005" y="80986"/>
                </a:lnTo>
                <a:lnTo>
                  <a:pt x="288457" y="69169"/>
                </a:lnTo>
                <a:lnTo>
                  <a:pt x="280056" y="58088"/>
                </a:lnTo>
                <a:lnTo>
                  <a:pt x="270853" y="47800"/>
                </a:lnTo>
                <a:lnTo>
                  <a:pt x="260898" y="38359"/>
                </a:lnTo>
                <a:lnTo>
                  <a:pt x="250244" y="29822"/>
                </a:lnTo>
                <a:lnTo>
                  <a:pt x="238941" y="22242"/>
                </a:lnTo>
                <a:lnTo>
                  <a:pt x="227040" y="15677"/>
                </a:lnTo>
                <a:lnTo>
                  <a:pt x="214592" y="10181"/>
                </a:lnTo>
                <a:lnTo>
                  <a:pt x="201650" y="5810"/>
                </a:lnTo>
                <a:lnTo>
                  <a:pt x="188264" y="2619"/>
                </a:lnTo>
                <a:lnTo>
                  <a:pt x="174484" y="664"/>
                </a:lnTo>
                <a:lnTo>
                  <a:pt x="160364" y="0"/>
                </a:lnTo>
                <a:lnTo>
                  <a:pt x="151661" y="251"/>
                </a:lnTo>
                <a:lnTo>
                  <a:pt x="137744" y="1714"/>
                </a:lnTo>
                <a:lnTo>
                  <a:pt x="124199" y="4434"/>
                </a:lnTo>
                <a:lnTo>
                  <a:pt x="111079" y="8356"/>
                </a:lnTo>
                <a:lnTo>
                  <a:pt x="98435" y="13424"/>
                </a:lnTo>
                <a:lnTo>
                  <a:pt x="86317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5" y="54017"/>
                </a:lnTo>
                <a:lnTo>
                  <a:pt x="35418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9"/>
                </a:lnTo>
                <a:lnTo>
                  <a:pt x="5364" y="128966"/>
                </a:lnTo>
                <a:lnTo>
                  <a:pt x="2418" y="143464"/>
                </a:lnTo>
                <a:lnTo>
                  <a:pt x="613" y="15838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6" name="object 54"/>
          <p:cNvSpPr/>
          <p:nvPr/>
        </p:nvSpPr>
        <p:spPr>
          <a:xfrm>
            <a:off x="5359085" y="585327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7" name="object 56"/>
          <p:cNvSpPr/>
          <p:nvPr/>
        </p:nvSpPr>
        <p:spPr>
          <a:xfrm>
            <a:off x="7171053" y="580535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7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9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8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50" y="291973"/>
                </a:lnTo>
                <a:lnTo>
                  <a:pt x="302221" y="281377"/>
                </a:lnTo>
                <a:lnTo>
                  <a:pt x="310252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8" name="object 58"/>
          <p:cNvSpPr/>
          <p:nvPr/>
        </p:nvSpPr>
        <p:spPr>
          <a:xfrm>
            <a:off x="5531142" y="57796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9" name="object 60"/>
          <p:cNvSpPr/>
          <p:nvPr/>
        </p:nvSpPr>
        <p:spPr>
          <a:xfrm>
            <a:off x="7356198" y="58085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0" name="object 62"/>
          <p:cNvSpPr/>
          <p:nvPr/>
        </p:nvSpPr>
        <p:spPr>
          <a:xfrm>
            <a:off x="6172602" y="56843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1" name="object 64"/>
          <p:cNvSpPr/>
          <p:nvPr/>
        </p:nvSpPr>
        <p:spPr>
          <a:xfrm>
            <a:off x="4877989" y="580535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2" name="object 66"/>
          <p:cNvSpPr/>
          <p:nvPr/>
        </p:nvSpPr>
        <p:spPr>
          <a:xfrm>
            <a:off x="5581873" y="580884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3" name="object 68"/>
          <p:cNvSpPr/>
          <p:nvPr/>
        </p:nvSpPr>
        <p:spPr>
          <a:xfrm>
            <a:off x="5930822" y="578724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4" name="object 70"/>
          <p:cNvSpPr/>
          <p:nvPr/>
        </p:nvSpPr>
        <p:spPr>
          <a:xfrm>
            <a:off x="3899218" y="582076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5" name="object 74"/>
          <p:cNvSpPr/>
          <p:nvPr/>
        </p:nvSpPr>
        <p:spPr>
          <a:xfrm>
            <a:off x="3578489" y="578724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6" name="object 75"/>
          <p:cNvSpPr/>
          <p:nvPr/>
        </p:nvSpPr>
        <p:spPr>
          <a:xfrm>
            <a:off x="6361937" y="580297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232" y="183107"/>
                </a:lnTo>
                <a:lnTo>
                  <a:pt x="1583" y="198180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1" y="253877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2" y="289273"/>
                </a:lnTo>
                <a:lnTo>
                  <a:pt x="49876" y="299561"/>
                </a:lnTo>
                <a:lnTo>
                  <a:pt x="59830" y="309002"/>
                </a:lnTo>
                <a:lnTo>
                  <a:pt x="70485" y="317539"/>
                </a:lnTo>
                <a:lnTo>
                  <a:pt x="81788" y="325119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8" y="347110"/>
                </a:lnTo>
                <a:lnTo>
                  <a:pt x="182985" y="345647"/>
                </a:lnTo>
                <a:lnTo>
                  <a:pt x="196529" y="342927"/>
                </a:lnTo>
                <a:lnTo>
                  <a:pt x="209649" y="339005"/>
                </a:lnTo>
                <a:lnTo>
                  <a:pt x="222294" y="333937"/>
                </a:lnTo>
                <a:lnTo>
                  <a:pt x="234412" y="327778"/>
                </a:lnTo>
                <a:lnTo>
                  <a:pt x="245952" y="320584"/>
                </a:lnTo>
                <a:lnTo>
                  <a:pt x="256863" y="312410"/>
                </a:lnTo>
                <a:lnTo>
                  <a:pt x="267094" y="303312"/>
                </a:lnTo>
                <a:lnTo>
                  <a:pt x="276594" y="293344"/>
                </a:lnTo>
                <a:lnTo>
                  <a:pt x="285310" y="282563"/>
                </a:lnTo>
                <a:lnTo>
                  <a:pt x="293194" y="271024"/>
                </a:lnTo>
                <a:lnTo>
                  <a:pt x="300192" y="258782"/>
                </a:lnTo>
                <a:lnTo>
                  <a:pt x="306254" y="245893"/>
                </a:lnTo>
                <a:lnTo>
                  <a:pt x="311328" y="232412"/>
                </a:lnTo>
                <a:lnTo>
                  <a:pt x="315364" y="218395"/>
                </a:lnTo>
                <a:lnTo>
                  <a:pt x="318311" y="203897"/>
                </a:lnTo>
                <a:lnTo>
                  <a:pt x="320116" y="188974"/>
                </a:lnTo>
                <a:lnTo>
                  <a:pt x="320729" y="173681"/>
                </a:lnTo>
                <a:lnTo>
                  <a:pt x="320497" y="164255"/>
                </a:lnTo>
                <a:lnTo>
                  <a:pt x="319146" y="149182"/>
                </a:lnTo>
                <a:lnTo>
                  <a:pt x="316635" y="134513"/>
                </a:lnTo>
                <a:lnTo>
                  <a:pt x="313014" y="120304"/>
                </a:lnTo>
                <a:lnTo>
                  <a:pt x="308334" y="106609"/>
                </a:lnTo>
                <a:lnTo>
                  <a:pt x="302648" y="93485"/>
                </a:lnTo>
                <a:lnTo>
                  <a:pt x="296005" y="80986"/>
                </a:lnTo>
                <a:lnTo>
                  <a:pt x="288458" y="69169"/>
                </a:lnTo>
                <a:lnTo>
                  <a:pt x="280057" y="58089"/>
                </a:lnTo>
                <a:lnTo>
                  <a:pt x="270854" y="47800"/>
                </a:lnTo>
                <a:lnTo>
                  <a:pt x="260899" y="38360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1" y="251"/>
                </a:lnTo>
                <a:lnTo>
                  <a:pt x="137744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5" y="13424"/>
                </a:lnTo>
                <a:lnTo>
                  <a:pt x="86317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50"/>
                </a:lnTo>
                <a:lnTo>
                  <a:pt x="44135" y="54017"/>
                </a:lnTo>
                <a:lnTo>
                  <a:pt x="35418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9"/>
                </a:lnTo>
                <a:lnTo>
                  <a:pt x="5364" y="128966"/>
                </a:lnTo>
                <a:lnTo>
                  <a:pt x="2418" y="143464"/>
                </a:lnTo>
                <a:lnTo>
                  <a:pt x="613" y="158387"/>
                </a:lnTo>
                <a:lnTo>
                  <a:pt x="0" y="173681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7" name="object 78"/>
          <p:cNvSpPr/>
          <p:nvPr/>
        </p:nvSpPr>
        <p:spPr>
          <a:xfrm>
            <a:off x="6754153" y="580401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5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8" name="object 74"/>
          <p:cNvSpPr/>
          <p:nvPr/>
        </p:nvSpPr>
        <p:spPr>
          <a:xfrm>
            <a:off x="5687605" y="5803468"/>
            <a:ext cx="394167" cy="381727"/>
          </a:xfrm>
          <a:custGeom>
            <a:avLst/>
            <a:gdLst/>
            <a:ahLst/>
            <a:cxnLst/>
            <a:rect l="l" t="t" r="r" b="b"/>
            <a:pathLst>
              <a:path w="394167" h="381727">
                <a:moveTo>
                  <a:pt x="0" y="0"/>
                </a:moveTo>
                <a:lnTo>
                  <a:pt x="394167" y="0"/>
                </a:lnTo>
                <a:lnTo>
                  <a:pt x="394167" y="381727"/>
                </a:lnTo>
                <a:lnTo>
                  <a:pt x="0" y="381727"/>
                </a:lnTo>
                <a:lnTo>
                  <a:pt x="0" y="0"/>
                </a:lnTo>
                <a:close/>
              </a:path>
            </a:pathLst>
          </a:custGeom>
          <a:solidFill>
            <a:srgbClr val="59BAD1"/>
          </a:solidFill>
          <a:ln w="57150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9" name="object 74"/>
          <p:cNvSpPr/>
          <p:nvPr/>
        </p:nvSpPr>
        <p:spPr>
          <a:xfrm>
            <a:off x="7576922" y="5803468"/>
            <a:ext cx="394167" cy="381727"/>
          </a:xfrm>
          <a:custGeom>
            <a:avLst/>
            <a:gdLst/>
            <a:ahLst/>
            <a:cxnLst/>
            <a:rect l="l" t="t" r="r" b="b"/>
            <a:pathLst>
              <a:path w="394167" h="381727">
                <a:moveTo>
                  <a:pt x="0" y="0"/>
                </a:moveTo>
                <a:lnTo>
                  <a:pt x="394167" y="0"/>
                </a:lnTo>
                <a:lnTo>
                  <a:pt x="394167" y="381727"/>
                </a:lnTo>
                <a:lnTo>
                  <a:pt x="0" y="381727"/>
                </a:lnTo>
                <a:lnTo>
                  <a:pt x="0" y="0"/>
                </a:lnTo>
                <a:close/>
              </a:path>
            </a:pathLst>
          </a:custGeom>
          <a:solidFill>
            <a:srgbClr val="FAA757"/>
          </a:solidFill>
          <a:ln w="57150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0" name="object 32"/>
          <p:cNvSpPr/>
          <p:nvPr/>
        </p:nvSpPr>
        <p:spPr>
          <a:xfrm>
            <a:off x="3084023" y="585028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1" name="object 50"/>
          <p:cNvSpPr/>
          <p:nvPr/>
        </p:nvSpPr>
        <p:spPr>
          <a:xfrm>
            <a:off x="3234945" y="5803468"/>
            <a:ext cx="394167" cy="381727"/>
          </a:xfrm>
          <a:custGeom>
            <a:avLst/>
            <a:gdLst/>
            <a:ahLst/>
            <a:cxnLst/>
            <a:rect l="l" t="t" r="r" b="b"/>
            <a:pathLst>
              <a:path w="394167" h="381727">
                <a:moveTo>
                  <a:pt x="0" y="0"/>
                </a:moveTo>
                <a:lnTo>
                  <a:pt x="394167" y="0"/>
                </a:lnTo>
                <a:lnTo>
                  <a:pt x="394167" y="381727"/>
                </a:lnTo>
                <a:lnTo>
                  <a:pt x="0" y="381727"/>
                </a:lnTo>
                <a:lnTo>
                  <a:pt x="0" y="0"/>
                </a:lnTo>
                <a:close/>
              </a:path>
            </a:pathLst>
          </a:custGeom>
          <a:solidFill>
            <a:srgbClr val="AAC56C"/>
          </a:solidFill>
          <a:ln w="57150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2" name="object 5"/>
          <p:cNvSpPr txBox="1"/>
          <p:nvPr/>
        </p:nvSpPr>
        <p:spPr>
          <a:xfrm>
            <a:off x="2101916" y="369650"/>
            <a:ext cx="6889684" cy="807913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 marR="41909">
              <a:lnSpc>
                <a:spcPts val="3454"/>
              </a:lnSpc>
              <a:spcBef>
                <a:spcPts val="172"/>
              </a:spcBef>
            </a:pPr>
            <a:r>
              <a:rPr lang="en-US" sz="4800" baseline="2560" dirty="0" smtClean="0">
                <a:solidFill>
                  <a:srgbClr val="4E81BC"/>
                </a:solidFill>
                <a:latin typeface="+mj-lt"/>
                <a:cs typeface="Calibri"/>
              </a:rPr>
              <a:t>Spectral Clustering</a:t>
            </a:r>
            <a:endParaRPr sz="3200" dirty="0">
              <a:latin typeface="+mj-lt"/>
              <a:cs typeface="Calibri"/>
            </a:endParaRPr>
          </a:p>
          <a:p>
            <a:pPr marL="12700">
              <a:lnSpc>
                <a:spcPts val="2770"/>
              </a:lnSpc>
            </a:pPr>
            <a:r>
              <a:rPr lang="en-US" sz="3200" baseline="1137" dirty="0" smtClean="0">
                <a:solidFill>
                  <a:srgbClr val="7F7E7E"/>
                </a:solidFill>
                <a:cs typeface="Calibri"/>
              </a:rPr>
              <a:t>Now perform K‐Means on the low dimension space  </a:t>
            </a:r>
            <a:endParaRPr lang="en-US" sz="3200" baseline="1137" dirty="0">
              <a:solidFill>
                <a:srgbClr val="7F7E7E"/>
              </a:solidFill>
              <a:cs typeface="Calibri"/>
            </a:endParaRPr>
          </a:p>
        </p:txBody>
      </p:sp>
      <p:sp>
        <p:nvSpPr>
          <p:cNvPr id="133" name="object 3"/>
          <p:cNvSpPr txBox="1"/>
          <p:nvPr/>
        </p:nvSpPr>
        <p:spPr>
          <a:xfrm>
            <a:off x="4212239" y="6273889"/>
            <a:ext cx="264576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 algn="ctr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0.7 Income + 0.3</a:t>
            </a:r>
            <a:r>
              <a:rPr lang="en-US" sz="3600" spc="0" baseline="2275" dirty="0" smtClean="0">
                <a:solidFill>
                  <a:srgbClr val="7F7E7E"/>
                </a:solidFill>
                <a:cs typeface="Calibri"/>
              </a:rPr>
              <a:t> Age</a:t>
            </a:r>
            <a:endParaRPr sz="2400" dirty="0">
              <a:cs typeface="Calibri"/>
            </a:endParaRPr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0" name="object 3"/>
          <p:cNvSpPr txBox="1"/>
          <p:nvPr/>
        </p:nvSpPr>
        <p:spPr>
          <a:xfrm>
            <a:off x="4212239" y="6273889"/>
            <a:ext cx="264576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 algn="ctr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0.7 Income + 0.3</a:t>
            </a:r>
            <a:r>
              <a:rPr lang="en-US" sz="3600" spc="0" baseline="2275" dirty="0" smtClean="0">
                <a:solidFill>
                  <a:srgbClr val="7F7E7E"/>
                </a:solidFill>
                <a:cs typeface="Calibri"/>
              </a:rPr>
              <a:t> Age</a:t>
            </a:r>
            <a:endParaRPr sz="2400" dirty="0">
              <a:cs typeface="Calibri"/>
            </a:endParaRPr>
          </a:p>
        </p:txBody>
      </p:sp>
      <p:sp>
        <p:nvSpPr>
          <p:cNvPr id="91" name="object 70"/>
          <p:cNvSpPr/>
          <p:nvPr/>
        </p:nvSpPr>
        <p:spPr>
          <a:xfrm>
            <a:off x="2383438" y="5943600"/>
            <a:ext cx="6303362" cy="0"/>
          </a:xfrm>
          <a:custGeom>
            <a:avLst/>
            <a:gdLst/>
            <a:ahLst/>
            <a:cxnLst/>
            <a:rect l="l" t="t" r="r" b="b"/>
            <a:pathLst>
              <a:path w="6303362">
                <a:moveTo>
                  <a:pt x="0" y="0"/>
                </a:moveTo>
                <a:lnTo>
                  <a:pt x="6303362" y="0"/>
                </a:lnTo>
              </a:path>
            </a:pathLst>
          </a:custGeom>
          <a:ln w="25399">
            <a:solidFill>
              <a:srgbClr val="6094C9"/>
            </a:solidFill>
            <a:headEnd type="none"/>
            <a:tailEnd type="arrow"/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2" name="object 16"/>
          <p:cNvSpPr/>
          <p:nvPr/>
        </p:nvSpPr>
        <p:spPr>
          <a:xfrm>
            <a:off x="2668469" y="583455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3" name="object 17"/>
          <p:cNvSpPr/>
          <p:nvPr/>
        </p:nvSpPr>
        <p:spPr>
          <a:xfrm>
            <a:off x="6273057" y="576957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232" y="183106"/>
                </a:lnTo>
                <a:lnTo>
                  <a:pt x="1582" y="198179"/>
                </a:lnTo>
                <a:lnTo>
                  <a:pt x="4094" y="212848"/>
                </a:lnTo>
                <a:lnTo>
                  <a:pt x="7715" y="227057"/>
                </a:lnTo>
                <a:lnTo>
                  <a:pt x="12394" y="240752"/>
                </a:lnTo>
                <a:lnTo>
                  <a:pt x="18081" y="253876"/>
                </a:lnTo>
                <a:lnTo>
                  <a:pt x="24723" y="266374"/>
                </a:lnTo>
                <a:lnTo>
                  <a:pt x="32271" y="278192"/>
                </a:lnTo>
                <a:lnTo>
                  <a:pt x="40672" y="289272"/>
                </a:lnTo>
                <a:lnTo>
                  <a:pt x="49875" y="299561"/>
                </a:lnTo>
                <a:lnTo>
                  <a:pt x="59829" y="309001"/>
                </a:lnTo>
                <a:lnTo>
                  <a:pt x="70484" y="317539"/>
                </a:lnTo>
                <a:lnTo>
                  <a:pt x="81787" y="325118"/>
                </a:lnTo>
                <a:lnTo>
                  <a:pt x="93688" y="331684"/>
                </a:lnTo>
                <a:lnTo>
                  <a:pt x="106135" y="337180"/>
                </a:lnTo>
                <a:lnTo>
                  <a:pt x="119077" y="341551"/>
                </a:lnTo>
                <a:lnTo>
                  <a:pt x="132464" y="344742"/>
                </a:lnTo>
                <a:lnTo>
                  <a:pt x="146243" y="346697"/>
                </a:lnTo>
                <a:lnTo>
                  <a:pt x="160364" y="347361"/>
                </a:lnTo>
                <a:lnTo>
                  <a:pt x="169067" y="347110"/>
                </a:lnTo>
                <a:lnTo>
                  <a:pt x="182985" y="345647"/>
                </a:lnTo>
                <a:lnTo>
                  <a:pt x="196529" y="342927"/>
                </a:lnTo>
                <a:lnTo>
                  <a:pt x="209649" y="339005"/>
                </a:lnTo>
                <a:lnTo>
                  <a:pt x="222293" y="333937"/>
                </a:lnTo>
                <a:lnTo>
                  <a:pt x="234411" y="327778"/>
                </a:lnTo>
                <a:lnTo>
                  <a:pt x="245951" y="320584"/>
                </a:lnTo>
                <a:lnTo>
                  <a:pt x="256863" y="312410"/>
                </a:lnTo>
                <a:lnTo>
                  <a:pt x="267094" y="303311"/>
                </a:lnTo>
                <a:lnTo>
                  <a:pt x="276593" y="293344"/>
                </a:lnTo>
                <a:lnTo>
                  <a:pt x="285310" y="282563"/>
                </a:lnTo>
                <a:lnTo>
                  <a:pt x="293193" y="271024"/>
                </a:lnTo>
                <a:lnTo>
                  <a:pt x="300192" y="258782"/>
                </a:lnTo>
                <a:lnTo>
                  <a:pt x="306254" y="245893"/>
                </a:lnTo>
                <a:lnTo>
                  <a:pt x="311328" y="232412"/>
                </a:lnTo>
                <a:lnTo>
                  <a:pt x="315364" y="218395"/>
                </a:lnTo>
                <a:lnTo>
                  <a:pt x="318311" y="203897"/>
                </a:lnTo>
                <a:lnTo>
                  <a:pt x="320116" y="188974"/>
                </a:lnTo>
                <a:lnTo>
                  <a:pt x="320729" y="173681"/>
                </a:lnTo>
                <a:lnTo>
                  <a:pt x="320497" y="164254"/>
                </a:lnTo>
                <a:lnTo>
                  <a:pt x="319146" y="149181"/>
                </a:lnTo>
                <a:lnTo>
                  <a:pt x="316634" y="134512"/>
                </a:lnTo>
                <a:lnTo>
                  <a:pt x="313013" y="120303"/>
                </a:lnTo>
                <a:lnTo>
                  <a:pt x="308334" y="106609"/>
                </a:lnTo>
                <a:lnTo>
                  <a:pt x="302647" y="93484"/>
                </a:lnTo>
                <a:lnTo>
                  <a:pt x="296004" y="80986"/>
                </a:lnTo>
                <a:lnTo>
                  <a:pt x="288457" y="69169"/>
                </a:lnTo>
                <a:lnTo>
                  <a:pt x="280056" y="58088"/>
                </a:lnTo>
                <a:lnTo>
                  <a:pt x="270853" y="47800"/>
                </a:lnTo>
                <a:lnTo>
                  <a:pt x="260898" y="38359"/>
                </a:lnTo>
                <a:lnTo>
                  <a:pt x="250244" y="29822"/>
                </a:lnTo>
                <a:lnTo>
                  <a:pt x="238941" y="22242"/>
                </a:lnTo>
                <a:lnTo>
                  <a:pt x="227040" y="15677"/>
                </a:lnTo>
                <a:lnTo>
                  <a:pt x="214592" y="10181"/>
                </a:lnTo>
                <a:lnTo>
                  <a:pt x="201650" y="5810"/>
                </a:lnTo>
                <a:lnTo>
                  <a:pt x="188264" y="2619"/>
                </a:lnTo>
                <a:lnTo>
                  <a:pt x="174484" y="664"/>
                </a:lnTo>
                <a:lnTo>
                  <a:pt x="160364" y="0"/>
                </a:lnTo>
                <a:lnTo>
                  <a:pt x="151661" y="251"/>
                </a:lnTo>
                <a:lnTo>
                  <a:pt x="137744" y="1714"/>
                </a:lnTo>
                <a:lnTo>
                  <a:pt x="124199" y="4434"/>
                </a:lnTo>
                <a:lnTo>
                  <a:pt x="111079" y="8356"/>
                </a:lnTo>
                <a:lnTo>
                  <a:pt x="98435" y="13424"/>
                </a:lnTo>
                <a:lnTo>
                  <a:pt x="86317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5" y="54017"/>
                </a:lnTo>
                <a:lnTo>
                  <a:pt x="35418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9"/>
                </a:lnTo>
                <a:lnTo>
                  <a:pt x="5364" y="128966"/>
                </a:lnTo>
                <a:lnTo>
                  <a:pt x="2418" y="143464"/>
                </a:lnTo>
                <a:lnTo>
                  <a:pt x="613" y="158387"/>
                </a:lnTo>
                <a:lnTo>
                  <a:pt x="0" y="173681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4" name="object 18"/>
          <p:cNvSpPr/>
          <p:nvPr/>
        </p:nvSpPr>
        <p:spPr>
          <a:xfrm>
            <a:off x="6273057" y="576957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5" name="object 19"/>
          <p:cNvSpPr/>
          <p:nvPr/>
        </p:nvSpPr>
        <p:spPr>
          <a:xfrm>
            <a:off x="5853655" y="571095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232" y="183106"/>
                </a:lnTo>
                <a:lnTo>
                  <a:pt x="1582" y="198179"/>
                </a:lnTo>
                <a:lnTo>
                  <a:pt x="4094" y="212848"/>
                </a:lnTo>
                <a:lnTo>
                  <a:pt x="7715" y="227057"/>
                </a:lnTo>
                <a:lnTo>
                  <a:pt x="12394" y="240752"/>
                </a:lnTo>
                <a:lnTo>
                  <a:pt x="18081" y="253876"/>
                </a:lnTo>
                <a:lnTo>
                  <a:pt x="24723" y="266374"/>
                </a:lnTo>
                <a:lnTo>
                  <a:pt x="32271" y="278192"/>
                </a:lnTo>
                <a:lnTo>
                  <a:pt x="40672" y="289272"/>
                </a:lnTo>
                <a:lnTo>
                  <a:pt x="49875" y="299561"/>
                </a:lnTo>
                <a:lnTo>
                  <a:pt x="59829" y="309001"/>
                </a:lnTo>
                <a:lnTo>
                  <a:pt x="70484" y="317539"/>
                </a:lnTo>
                <a:lnTo>
                  <a:pt x="81787" y="325119"/>
                </a:lnTo>
                <a:lnTo>
                  <a:pt x="93688" y="331684"/>
                </a:lnTo>
                <a:lnTo>
                  <a:pt x="106135" y="337180"/>
                </a:lnTo>
                <a:lnTo>
                  <a:pt x="119077" y="341551"/>
                </a:lnTo>
                <a:lnTo>
                  <a:pt x="132464" y="344742"/>
                </a:lnTo>
                <a:lnTo>
                  <a:pt x="146243" y="346697"/>
                </a:lnTo>
                <a:lnTo>
                  <a:pt x="160364" y="347361"/>
                </a:lnTo>
                <a:lnTo>
                  <a:pt x="169067" y="347110"/>
                </a:lnTo>
                <a:lnTo>
                  <a:pt x="182985" y="345647"/>
                </a:lnTo>
                <a:lnTo>
                  <a:pt x="196529" y="342927"/>
                </a:lnTo>
                <a:lnTo>
                  <a:pt x="209649" y="339005"/>
                </a:lnTo>
                <a:lnTo>
                  <a:pt x="222293" y="333937"/>
                </a:lnTo>
                <a:lnTo>
                  <a:pt x="234411" y="327778"/>
                </a:lnTo>
                <a:lnTo>
                  <a:pt x="245952" y="320584"/>
                </a:lnTo>
                <a:lnTo>
                  <a:pt x="256863" y="312410"/>
                </a:lnTo>
                <a:lnTo>
                  <a:pt x="267094" y="303311"/>
                </a:lnTo>
                <a:lnTo>
                  <a:pt x="276593" y="293344"/>
                </a:lnTo>
                <a:lnTo>
                  <a:pt x="285310" y="282563"/>
                </a:lnTo>
                <a:lnTo>
                  <a:pt x="293193" y="271024"/>
                </a:lnTo>
                <a:lnTo>
                  <a:pt x="300192" y="258782"/>
                </a:lnTo>
                <a:lnTo>
                  <a:pt x="306254" y="245893"/>
                </a:lnTo>
                <a:lnTo>
                  <a:pt x="311328" y="232412"/>
                </a:lnTo>
                <a:lnTo>
                  <a:pt x="315364" y="218395"/>
                </a:lnTo>
                <a:lnTo>
                  <a:pt x="318311" y="203897"/>
                </a:lnTo>
                <a:lnTo>
                  <a:pt x="320116" y="188974"/>
                </a:lnTo>
                <a:lnTo>
                  <a:pt x="320729" y="173680"/>
                </a:lnTo>
                <a:lnTo>
                  <a:pt x="320497" y="164254"/>
                </a:lnTo>
                <a:lnTo>
                  <a:pt x="319146" y="149181"/>
                </a:lnTo>
                <a:lnTo>
                  <a:pt x="316634" y="134512"/>
                </a:lnTo>
                <a:lnTo>
                  <a:pt x="313013" y="120303"/>
                </a:lnTo>
                <a:lnTo>
                  <a:pt x="308334" y="106609"/>
                </a:lnTo>
                <a:lnTo>
                  <a:pt x="302647" y="93484"/>
                </a:lnTo>
                <a:lnTo>
                  <a:pt x="296005" y="80986"/>
                </a:lnTo>
                <a:lnTo>
                  <a:pt x="288457" y="69169"/>
                </a:lnTo>
                <a:lnTo>
                  <a:pt x="280056" y="58088"/>
                </a:lnTo>
                <a:lnTo>
                  <a:pt x="270853" y="47800"/>
                </a:lnTo>
                <a:lnTo>
                  <a:pt x="260898" y="38359"/>
                </a:lnTo>
                <a:lnTo>
                  <a:pt x="250244" y="29822"/>
                </a:lnTo>
                <a:lnTo>
                  <a:pt x="238941" y="22242"/>
                </a:lnTo>
                <a:lnTo>
                  <a:pt x="227040" y="15677"/>
                </a:lnTo>
                <a:lnTo>
                  <a:pt x="214592" y="10181"/>
                </a:lnTo>
                <a:lnTo>
                  <a:pt x="201650" y="5810"/>
                </a:lnTo>
                <a:lnTo>
                  <a:pt x="188264" y="2619"/>
                </a:lnTo>
                <a:lnTo>
                  <a:pt x="174484" y="664"/>
                </a:lnTo>
                <a:lnTo>
                  <a:pt x="160364" y="0"/>
                </a:lnTo>
                <a:lnTo>
                  <a:pt x="151661" y="251"/>
                </a:lnTo>
                <a:lnTo>
                  <a:pt x="137744" y="1714"/>
                </a:lnTo>
                <a:lnTo>
                  <a:pt x="124199" y="4434"/>
                </a:lnTo>
                <a:lnTo>
                  <a:pt x="111079" y="8356"/>
                </a:lnTo>
                <a:lnTo>
                  <a:pt x="98435" y="13424"/>
                </a:lnTo>
                <a:lnTo>
                  <a:pt x="86317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5" y="54017"/>
                </a:lnTo>
                <a:lnTo>
                  <a:pt x="35418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9"/>
                </a:lnTo>
                <a:lnTo>
                  <a:pt x="5364" y="128966"/>
                </a:lnTo>
                <a:lnTo>
                  <a:pt x="2418" y="143464"/>
                </a:lnTo>
                <a:lnTo>
                  <a:pt x="613" y="158387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6" name="object 21"/>
          <p:cNvSpPr/>
          <p:nvPr/>
        </p:nvSpPr>
        <p:spPr>
          <a:xfrm>
            <a:off x="5300557" y="587860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232" y="183107"/>
                </a:lnTo>
                <a:lnTo>
                  <a:pt x="1583" y="198180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7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3"/>
                </a:lnTo>
                <a:lnTo>
                  <a:pt x="49876" y="299561"/>
                </a:lnTo>
                <a:lnTo>
                  <a:pt x="59830" y="309002"/>
                </a:lnTo>
                <a:lnTo>
                  <a:pt x="70485" y="317539"/>
                </a:lnTo>
                <a:lnTo>
                  <a:pt x="81788" y="325119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8" y="347110"/>
                </a:lnTo>
                <a:lnTo>
                  <a:pt x="182985" y="345647"/>
                </a:lnTo>
                <a:lnTo>
                  <a:pt x="196529" y="342927"/>
                </a:lnTo>
                <a:lnTo>
                  <a:pt x="209649" y="339005"/>
                </a:lnTo>
                <a:lnTo>
                  <a:pt x="222293" y="333937"/>
                </a:lnTo>
                <a:lnTo>
                  <a:pt x="234411" y="327778"/>
                </a:lnTo>
                <a:lnTo>
                  <a:pt x="245951" y="320584"/>
                </a:lnTo>
                <a:lnTo>
                  <a:pt x="256863" y="312410"/>
                </a:lnTo>
                <a:lnTo>
                  <a:pt x="267094" y="303312"/>
                </a:lnTo>
                <a:lnTo>
                  <a:pt x="276593" y="293344"/>
                </a:lnTo>
                <a:lnTo>
                  <a:pt x="285310" y="282563"/>
                </a:lnTo>
                <a:lnTo>
                  <a:pt x="293193" y="271024"/>
                </a:lnTo>
                <a:lnTo>
                  <a:pt x="300192" y="258782"/>
                </a:lnTo>
                <a:lnTo>
                  <a:pt x="306254" y="245893"/>
                </a:lnTo>
                <a:lnTo>
                  <a:pt x="311328" y="232412"/>
                </a:lnTo>
                <a:lnTo>
                  <a:pt x="315364" y="218395"/>
                </a:lnTo>
                <a:lnTo>
                  <a:pt x="318311" y="203897"/>
                </a:lnTo>
                <a:lnTo>
                  <a:pt x="320116" y="188974"/>
                </a:lnTo>
                <a:lnTo>
                  <a:pt x="320729" y="173680"/>
                </a:lnTo>
                <a:lnTo>
                  <a:pt x="320497" y="164255"/>
                </a:lnTo>
                <a:lnTo>
                  <a:pt x="319146" y="149182"/>
                </a:lnTo>
                <a:lnTo>
                  <a:pt x="316635" y="134513"/>
                </a:lnTo>
                <a:lnTo>
                  <a:pt x="313014" y="120304"/>
                </a:lnTo>
                <a:lnTo>
                  <a:pt x="308334" y="106609"/>
                </a:lnTo>
                <a:lnTo>
                  <a:pt x="302647" y="93485"/>
                </a:lnTo>
                <a:lnTo>
                  <a:pt x="296005" y="80987"/>
                </a:lnTo>
                <a:lnTo>
                  <a:pt x="288458" y="69169"/>
                </a:lnTo>
                <a:lnTo>
                  <a:pt x="280057" y="58089"/>
                </a:lnTo>
                <a:lnTo>
                  <a:pt x="270853" y="47800"/>
                </a:lnTo>
                <a:lnTo>
                  <a:pt x="260899" y="38360"/>
                </a:lnTo>
                <a:lnTo>
                  <a:pt x="250244" y="29822"/>
                </a:lnTo>
                <a:lnTo>
                  <a:pt x="238941" y="22242"/>
                </a:lnTo>
                <a:lnTo>
                  <a:pt x="227040" y="15677"/>
                </a:lnTo>
                <a:lnTo>
                  <a:pt x="214593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1" y="251"/>
                </a:lnTo>
                <a:lnTo>
                  <a:pt x="137744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5" y="13424"/>
                </a:lnTo>
                <a:lnTo>
                  <a:pt x="86317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50"/>
                </a:lnTo>
                <a:lnTo>
                  <a:pt x="44135" y="54017"/>
                </a:lnTo>
                <a:lnTo>
                  <a:pt x="35418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9"/>
                </a:lnTo>
                <a:lnTo>
                  <a:pt x="5364" y="128966"/>
                </a:lnTo>
                <a:lnTo>
                  <a:pt x="2418" y="143464"/>
                </a:lnTo>
                <a:lnTo>
                  <a:pt x="613" y="158387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7" name="object 23"/>
          <p:cNvSpPr/>
          <p:nvPr/>
        </p:nvSpPr>
        <p:spPr>
          <a:xfrm>
            <a:off x="6361937" y="579347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1"/>
                </a:moveTo>
                <a:lnTo>
                  <a:pt x="232" y="183107"/>
                </a:lnTo>
                <a:lnTo>
                  <a:pt x="1583" y="198180"/>
                </a:lnTo>
                <a:lnTo>
                  <a:pt x="4094" y="212849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7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3"/>
                </a:lnTo>
                <a:lnTo>
                  <a:pt x="49876" y="299561"/>
                </a:lnTo>
                <a:lnTo>
                  <a:pt x="59830" y="309002"/>
                </a:lnTo>
                <a:lnTo>
                  <a:pt x="70485" y="317539"/>
                </a:lnTo>
                <a:lnTo>
                  <a:pt x="81788" y="325119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2"/>
                </a:lnTo>
                <a:lnTo>
                  <a:pt x="169068" y="347110"/>
                </a:lnTo>
                <a:lnTo>
                  <a:pt x="182985" y="345647"/>
                </a:lnTo>
                <a:lnTo>
                  <a:pt x="196529" y="342927"/>
                </a:lnTo>
                <a:lnTo>
                  <a:pt x="209649" y="339005"/>
                </a:lnTo>
                <a:lnTo>
                  <a:pt x="222294" y="333937"/>
                </a:lnTo>
                <a:lnTo>
                  <a:pt x="234412" y="327778"/>
                </a:lnTo>
                <a:lnTo>
                  <a:pt x="245952" y="320584"/>
                </a:lnTo>
                <a:lnTo>
                  <a:pt x="256863" y="312410"/>
                </a:lnTo>
                <a:lnTo>
                  <a:pt x="267094" y="303312"/>
                </a:lnTo>
                <a:lnTo>
                  <a:pt x="276594" y="293344"/>
                </a:lnTo>
                <a:lnTo>
                  <a:pt x="285310" y="282563"/>
                </a:lnTo>
                <a:lnTo>
                  <a:pt x="293194" y="271024"/>
                </a:lnTo>
                <a:lnTo>
                  <a:pt x="300192" y="258782"/>
                </a:lnTo>
                <a:lnTo>
                  <a:pt x="306254" y="245893"/>
                </a:lnTo>
                <a:lnTo>
                  <a:pt x="311328" y="232412"/>
                </a:lnTo>
                <a:lnTo>
                  <a:pt x="315364" y="218395"/>
                </a:lnTo>
                <a:lnTo>
                  <a:pt x="318311" y="203897"/>
                </a:lnTo>
                <a:lnTo>
                  <a:pt x="320116" y="188974"/>
                </a:lnTo>
                <a:lnTo>
                  <a:pt x="320729" y="173681"/>
                </a:lnTo>
                <a:lnTo>
                  <a:pt x="320497" y="164255"/>
                </a:lnTo>
                <a:lnTo>
                  <a:pt x="319146" y="149182"/>
                </a:lnTo>
                <a:lnTo>
                  <a:pt x="316635" y="134513"/>
                </a:lnTo>
                <a:lnTo>
                  <a:pt x="313014" y="120304"/>
                </a:lnTo>
                <a:lnTo>
                  <a:pt x="308334" y="106609"/>
                </a:lnTo>
                <a:lnTo>
                  <a:pt x="302648" y="93485"/>
                </a:lnTo>
                <a:lnTo>
                  <a:pt x="296005" y="80987"/>
                </a:lnTo>
                <a:lnTo>
                  <a:pt x="288458" y="69169"/>
                </a:lnTo>
                <a:lnTo>
                  <a:pt x="280057" y="58089"/>
                </a:lnTo>
                <a:lnTo>
                  <a:pt x="270854" y="47800"/>
                </a:lnTo>
                <a:lnTo>
                  <a:pt x="260899" y="38360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1" y="251"/>
                </a:lnTo>
                <a:lnTo>
                  <a:pt x="137744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5" y="13424"/>
                </a:lnTo>
                <a:lnTo>
                  <a:pt x="86317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50"/>
                </a:lnTo>
                <a:lnTo>
                  <a:pt x="44135" y="54017"/>
                </a:lnTo>
                <a:lnTo>
                  <a:pt x="35418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9"/>
                </a:lnTo>
                <a:lnTo>
                  <a:pt x="5364" y="128966"/>
                </a:lnTo>
                <a:lnTo>
                  <a:pt x="2418" y="143464"/>
                </a:lnTo>
                <a:lnTo>
                  <a:pt x="613" y="158387"/>
                </a:lnTo>
                <a:lnTo>
                  <a:pt x="0" y="173681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8" name="object 24"/>
          <p:cNvSpPr/>
          <p:nvPr/>
        </p:nvSpPr>
        <p:spPr>
          <a:xfrm>
            <a:off x="6361936" y="579347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9" name="object 25"/>
          <p:cNvSpPr/>
          <p:nvPr/>
        </p:nvSpPr>
        <p:spPr>
          <a:xfrm>
            <a:off x="5880842" y="573498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1"/>
                </a:moveTo>
                <a:lnTo>
                  <a:pt x="232" y="183107"/>
                </a:lnTo>
                <a:lnTo>
                  <a:pt x="1583" y="198180"/>
                </a:lnTo>
                <a:lnTo>
                  <a:pt x="4094" y="212849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7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3"/>
                </a:lnTo>
                <a:lnTo>
                  <a:pt x="49876" y="299561"/>
                </a:lnTo>
                <a:lnTo>
                  <a:pt x="59830" y="309002"/>
                </a:lnTo>
                <a:lnTo>
                  <a:pt x="70485" y="317539"/>
                </a:lnTo>
                <a:lnTo>
                  <a:pt x="81788" y="325119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2"/>
                </a:lnTo>
                <a:lnTo>
                  <a:pt x="169069" y="347110"/>
                </a:lnTo>
                <a:lnTo>
                  <a:pt x="182986" y="345647"/>
                </a:lnTo>
                <a:lnTo>
                  <a:pt x="196530" y="342927"/>
                </a:lnTo>
                <a:lnTo>
                  <a:pt x="209650" y="339005"/>
                </a:lnTo>
                <a:lnTo>
                  <a:pt x="222295" y="333937"/>
                </a:lnTo>
                <a:lnTo>
                  <a:pt x="234413" y="327778"/>
                </a:lnTo>
                <a:lnTo>
                  <a:pt x="245953" y="320584"/>
                </a:lnTo>
                <a:lnTo>
                  <a:pt x="256864" y="312410"/>
                </a:lnTo>
                <a:lnTo>
                  <a:pt x="267095" y="303311"/>
                </a:lnTo>
                <a:lnTo>
                  <a:pt x="276595" y="293344"/>
                </a:lnTo>
                <a:lnTo>
                  <a:pt x="285311" y="282563"/>
                </a:lnTo>
                <a:lnTo>
                  <a:pt x="293195" y="271024"/>
                </a:lnTo>
                <a:lnTo>
                  <a:pt x="300193" y="258782"/>
                </a:lnTo>
                <a:lnTo>
                  <a:pt x="306255" y="245893"/>
                </a:lnTo>
                <a:lnTo>
                  <a:pt x="311330" y="232412"/>
                </a:lnTo>
                <a:lnTo>
                  <a:pt x="315366" y="218395"/>
                </a:lnTo>
                <a:lnTo>
                  <a:pt x="318312" y="203897"/>
                </a:lnTo>
                <a:lnTo>
                  <a:pt x="320117" y="188974"/>
                </a:lnTo>
                <a:lnTo>
                  <a:pt x="320730" y="173681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8" y="93484"/>
                </a:lnTo>
                <a:lnTo>
                  <a:pt x="296006" y="80986"/>
                </a:lnTo>
                <a:lnTo>
                  <a:pt x="288458" y="69169"/>
                </a:lnTo>
                <a:lnTo>
                  <a:pt x="280057" y="58088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1" y="251"/>
                </a:lnTo>
                <a:lnTo>
                  <a:pt x="137744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5" y="13424"/>
                </a:lnTo>
                <a:lnTo>
                  <a:pt x="86317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50"/>
                </a:lnTo>
                <a:lnTo>
                  <a:pt x="44135" y="54017"/>
                </a:lnTo>
                <a:lnTo>
                  <a:pt x="35418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9"/>
                </a:lnTo>
                <a:lnTo>
                  <a:pt x="5364" y="128966"/>
                </a:lnTo>
                <a:lnTo>
                  <a:pt x="2418" y="143464"/>
                </a:lnTo>
                <a:lnTo>
                  <a:pt x="613" y="158387"/>
                </a:lnTo>
                <a:lnTo>
                  <a:pt x="0" y="173681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0" name="object 28"/>
          <p:cNvSpPr/>
          <p:nvPr/>
        </p:nvSpPr>
        <p:spPr>
          <a:xfrm>
            <a:off x="4557260" y="58683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1" name="object 29"/>
          <p:cNvSpPr/>
          <p:nvPr/>
        </p:nvSpPr>
        <p:spPr>
          <a:xfrm>
            <a:off x="5107607" y="583061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232" y="183107"/>
                </a:lnTo>
                <a:lnTo>
                  <a:pt x="1583" y="198180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1" y="253877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2" y="289273"/>
                </a:lnTo>
                <a:lnTo>
                  <a:pt x="49876" y="299561"/>
                </a:lnTo>
                <a:lnTo>
                  <a:pt x="59830" y="309002"/>
                </a:lnTo>
                <a:lnTo>
                  <a:pt x="70485" y="317539"/>
                </a:lnTo>
                <a:lnTo>
                  <a:pt x="81788" y="325119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7"/>
                </a:lnTo>
                <a:lnTo>
                  <a:pt x="196530" y="342927"/>
                </a:lnTo>
                <a:lnTo>
                  <a:pt x="209650" y="339005"/>
                </a:lnTo>
                <a:lnTo>
                  <a:pt x="222295" y="333937"/>
                </a:lnTo>
                <a:lnTo>
                  <a:pt x="234413" y="327778"/>
                </a:lnTo>
                <a:lnTo>
                  <a:pt x="245953" y="320584"/>
                </a:lnTo>
                <a:lnTo>
                  <a:pt x="256864" y="312410"/>
                </a:lnTo>
                <a:lnTo>
                  <a:pt x="267095" y="303311"/>
                </a:lnTo>
                <a:lnTo>
                  <a:pt x="276594" y="293344"/>
                </a:lnTo>
                <a:lnTo>
                  <a:pt x="285311" y="282563"/>
                </a:lnTo>
                <a:lnTo>
                  <a:pt x="293195" y="271024"/>
                </a:lnTo>
                <a:lnTo>
                  <a:pt x="300193" y="258782"/>
                </a:lnTo>
                <a:lnTo>
                  <a:pt x="306255" y="245893"/>
                </a:lnTo>
                <a:lnTo>
                  <a:pt x="311330" y="232412"/>
                </a:lnTo>
                <a:lnTo>
                  <a:pt x="315366" y="218395"/>
                </a:lnTo>
                <a:lnTo>
                  <a:pt x="318312" y="203897"/>
                </a:lnTo>
                <a:lnTo>
                  <a:pt x="320117" y="188974"/>
                </a:lnTo>
                <a:lnTo>
                  <a:pt x="320730" y="173681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8" y="93484"/>
                </a:lnTo>
                <a:lnTo>
                  <a:pt x="296006" y="80986"/>
                </a:lnTo>
                <a:lnTo>
                  <a:pt x="288458" y="69169"/>
                </a:lnTo>
                <a:lnTo>
                  <a:pt x="280057" y="58088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1" y="251"/>
                </a:lnTo>
                <a:lnTo>
                  <a:pt x="137744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5" y="13424"/>
                </a:lnTo>
                <a:lnTo>
                  <a:pt x="86317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50"/>
                </a:lnTo>
                <a:lnTo>
                  <a:pt x="44135" y="54017"/>
                </a:lnTo>
                <a:lnTo>
                  <a:pt x="35418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9"/>
                </a:lnTo>
                <a:lnTo>
                  <a:pt x="5364" y="128966"/>
                </a:lnTo>
                <a:lnTo>
                  <a:pt x="2418" y="143464"/>
                </a:lnTo>
                <a:lnTo>
                  <a:pt x="613" y="158387"/>
                </a:lnTo>
                <a:lnTo>
                  <a:pt x="0" y="173681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2" name="object 30"/>
          <p:cNvSpPr/>
          <p:nvPr/>
        </p:nvSpPr>
        <p:spPr>
          <a:xfrm>
            <a:off x="5107607" y="583061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3" name="object 32"/>
          <p:cNvSpPr/>
          <p:nvPr/>
        </p:nvSpPr>
        <p:spPr>
          <a:xfrm>
            <a:off x="2907043" y="585028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4" name="object 34"/>
          <p:cNvSpPr/>
          <p:nvPr/>
        </p:nvSpPr>
        <p:spPr>
          <a:xfrm>
            <a:off x="7648012" y="578724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5" name="object 36"/>
          <p:cNvSpPr/>
          <p:nvPr/>
        </p:nvSpPr>
        <p:spPr>
          <a:xfrm>
            <a:off x="6593786" y="57902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6" name="object 38"/>
          <p:cNvSpPr/>
          <p:nvPr/>
        </p:nvSpPr>
        <p:spPr>
          <a:xfrm>
            <a:off x="8001594" y="582076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5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7" name="object 40"/>
          <p:cNvSpPr/>
          <p:nvPr/>
        </p:nvSpPr>
        <p:spPr>
          <a:xfrm>
            <a:off x="4724741" y="584823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8" name="object 42"/>
          <p:cNvSpPr/>
          <p:nvPr/>
        </p:nvSpPr>
        <p:spPr>
          <a:xfrm>
            <a:off x="5107607" y="57796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9" name="object 44"/>
          <p:cNvSpPr/>
          <p:nvPr/>
        </p:nvSpPr>
        <p:spPr>
          <a:xfrm>
            <a:off x="3418124" y="578557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0" name="object 46"/>
          <p:cNvSpPr/>
          <p:nvPr/>
        </p:nvSpPr>
        <p:spPr>
          <a:xfrm>
            <a:off x="3257759" y="588072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1" name="object 47"/>
          <p:cNvSpPr/>
          <p:nvPr/>
        </p:nvSpPr>
        <p:spPr>
          <a:xfrm>
            <a:off x="6091186" y="576214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232" y="183107"/>
                </a:lnTo>
                <a:lnTo>
                  <a:pt x="1583" y="198180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1" y="253877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2" y="289273"/>
                </a:lnTo>
                <a:lnTo>
                  <a:pt x="49876" y="299561"/>
                </a:lnTo>
                <a:lnTo>
                  <a:pt x="59830" y="309002"/>
                </a:lnTo>
                <a:lnTo>
                  <a:pt x="70485" y="317539"/>
                </a:lnTo>
                <a:lnTo>
                  <a:pt x="81788" y="325119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7"/>
                </a:lnTo>
                <a:lnTo>
                  <a:pt x="196530" y="342927"/>
                </a:lnTo>
                <a:lnTo>
                  <a:pt x="209650" y="339005"/>
                </a:lnTo>
                <a:lnTo>
                  <a:pt x="222295" y="333937"/>
                </a:lnTo>
                <a:lnTo>
                  <a:pt x="234413" y="327778"/>
                </a:lnTo>
                <a:lnTo>
                  <a:pt x="245953" y="320584"/>
                </a:lnTo>
                <a:lnTo>
                  <a:pt x="256864" y="312410"/>
                </a:lnTo>
                <a:lnTo>
                  <a:pt x="267095" y="303311"/>
                </a:lnTo>
                <a:lnTo>
                  <a:pt x="276594" y="293344"/>
                </a:lnTo>
                <a:lnTo>
                  <a:pt x="285311" y="282563"/>
                </a:lnTo>
                <a:lnTo>
                  <a:pt x="293195" y="271024"/>
                </a:lnTo>
                <a:lnTo>
                  <a:pt x="300193" y="258782"/>
                </a:lnTo>
                <a:lnTo>
                  <a:pt x="306255" y="245893"/>
                </a:lnTo>
                <a:lnTo>
                  <a:pt x="311330" y="232412"/>
                </a:lnTo>
                <a:lnTo>
                  <a:pt x="315366" y="218395"/>
                </a:lnTo>
                <a:lnTo>
                  <a:pt x="318312" y="203897"/>
                </a:lnTo>
                <a:lnTo>
                  <a:pt x="320117" y="188974"/>
                </a:lnTo>
                <a:lnTo>
                  <a:pt x="320730" y="173681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8" y="93484"/>
                </a:lnTo>
                <a:lnTo>
                  <a:pt x="296006" y="80986"/>
                </a:lnTo>
                <a:lnTo>
                  <a:pt x="288458" y="69169"/>
                </a:lnTo>
                <a:lnTo>
                  <a:pt x="280057" y="58088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1" y="251"/>
                </a:lnTo>
                <a:lnTo>
                  <a:pt x="137744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5" y="13424"/>
                </a:lnTo>
                <a:lnTo>
                  <a:pt x="86317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50"/>
                </a:lnTo>
                <a:lnTo>
                  <a:pt x="44135" y="54017"/>
                </a:lnTo>
                <a:lnTo>
                  <a:pt x="35418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9"/>
                </a:lnTo>
                <a:lnTo>
                  <a:pt x="5364" y="128966"/>
                </a:lnTo>
                <a:lnTo>
                  <a:pt x="2418" y="143464"/>
                </a:lnTo>
                <a:lnTo>
                  <a:pt x="613" y="158387"/>
                </a:lnTo>
                <a:lnTo>
                  <a:pt x="0" y="173681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2" name="object 48"/>
          <p:cNvSpPr/>
          <p:nvPr/>
        </p:nvSpPr>
        <p:spPr>
          <a:xfrm>
            <a:off x="6091185" y="576214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3" name="object 50"/>
          <p:cNvSpPr/>
          <p:nvPr/>
        </p:nvSpPr>
        <p:spPr>
          <a:xfrm>
            <a:off x="5239383" y="57900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4" name="object 51"/>
          <p:cNvSpPr/>
          <p:nvPr/>
        </p:nvSpPr>
        <p:spPr>
          <a:xfrm>
            <a:off x="7163762" y="585801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232" y="183106"/>
                </a:lnTo>
                <a:lnTo>
                  <a:pt x="1582" y="198179"/>
                </a:lnTo>
                <a:lnTo>
                  <a:pt x="4094" y="212848"/>
                </a:lnTo>
                <a:lnTo>
                  <a:pt x="7715" y="227057"/>
                </a:lnTo>
                <a:lnTo>
                  <a:pt x="12394" y="240752"/>
                </a:lnTo>
                <a:lnTo>
                  <a:pt x="18081" y="253876"/>
                </a:lnTo>
                <a:lnTo>
                  <a:pt x="24723" y="266374"/>
                </a:lnTo>
                <a:lnTo>
                  <a:pt x="32271" y="278192"/>
                </a:lnTo>
                <a:lnTo>
                  <a:pt x="40672" y="289272"/>
                </a:lnTo>
                <a:lnTo>
                  <a:pt x="49875" y="299561"/>
                </a:lnTo>
                <a:lnTo>
                  <a:pt x="59829" y="309001"/>
                </a:lnTo>
                <a:lnTo>
                  <a:pt x="70484" y="317539"/>
                </a:lnTo>
                <a:lnTo>
                  <a:pt x="81787" y="325119"/>
                </a:lnTo>
                <a:lnTo>
                  <a:pt x="93688" y="331684"/>
                </a:lnTo>
                <a:lnTo>
                  <a:pt x="106135" y="337180"/>
                </a:lnTo>
                <a:lnTo>
                  <a:pt x="119077" y="341551"/>
                </a:lnTo>
                <a:lnTo>
                  <a:pt x="132464" y="344742"/>
                </a:lnTo>
                <a:lnTo>
                  <a:pt x="146243" y="346697"/>
                </a:lnTo>
                <a:lnTo>
                  <a:pt x="160364" y="347361"/>
                </a:lnTo>
                <a:lnTo>
                  <a:pt x="169067" y="347110"/>
                </a:lnTo>
                <a:lnTo>
                  <a:pt x="182985" y="345647"/>
                </a:lnTo>
                <a:lnTo>
                  <a:pt x="196529" y="342927"/>
                </a:lnTo>
                <a:lnTo>
                  <a:pt x="209649" y="339005"/>
                </a:lnTo>
                <a:lnTo>
                  <a:pt x="222293" y="333937"/>
                </a:lnTo>
                <a:lnTo>
                  <a:pt x="234411" y="327778"/>
                </a:lnTo>
                <a:lnTo>
                  <a:pt x="245952" y="320584"/>
                </a:lnTo>
                <a:lnTo>
                  <a:pt x="256863" y="312410"/>
                </a:lnTo>
                <a:lnTo>
                  <a:pt x="267094" y="303311"/>
                </a:lnTo>
                <a:lnTo>
                  <a:pt x="276593" y="293344"/>
                </a:lnTo>
                <a:lnTo>
                  <a:pt x="285310" y="282563"/>
                </a:lnTo>
                <a:lnTo>
                  <a:pt x="293193" y="271024"/>
                </a:lnTo>
                <a:lnTo>
                  <a:pt x="300192" y="258782"/>
                </a:lnTo>
                <a:lnTo>
                  <a:pt x="306254" y="245893"/>
                </a:lnTo>
                <a:lnTo>
                  <a:pt x="311328" y="232412"/>
                </a:lnTo>
                <a:lnTo>
                  <a:pt x="315364" y="218395"/>
                </a:lnTo>
                <a:lnTo>
                  <a:pt x="318311" y="203897"/>
                </a:lnTo>
                <a:lnTo>
                  <a:pt x="320116" y="188974"/>
                </a:lnTo>
                <a:lnTo>
                  <a:pt x="320729" y="173680"/>
                </a:lnTo>
                <a:lnTo>
                  <a:pt x="320497" y="164254"/>
                </a:lnTo>
                <a:lnTo>
                  <a:pt x="319146" y="149181"/>
                </a:lnTo>
                <a:lnTo>
                  <a:pt x="316634" y="134512"/>
                </a:lnTo>
                <a:lnTo>
                  <a:pt x="313013" y="120303"/>
                </a:lnTo>
                <a:lnTo>
                  <a:pt x="308334" y="106609"/>
                </a:lnTo>
                <a:lnTo>
                  <a:pt x="302647" y="93484"/>
                </a:lnTo>
                <a:lnTo>
                  <a:pt x="296005" y="80986"/>
                </a:lnTo>
                <a:lnTo>
                  <a:pt x="288457" y="69169"/>
                </a:lnTo>
                <a:lnTo>
                  <a:pt x="280056" y="58088"/>
                </a:lnTo>
                <a:lnTo>
                  <a:pt x="270853" y="47800"/>
                </a:lnTo>
                <a:lnTo>
                  <a:pt x="260898" y="38359"/>
                </a:lnTo>
                <a:lnTo>
                  <a:pt x="250244" y="29822"/>
                </a:lnTo>
                <a:lnTo>
                  <a:pt x="238941" y="22242"/>
                </a:lnTo>
                <a:lnTo>
                  <a:pt x="227040" y="15677"/>
                </a:lnTo>
                <a:lnTo>
                  <a:pt x="214592" y="10181"/>
                </a:lnTo>
                <a:lnTo>
                  <a:pt x="201650" y="5810"/>
                </a:lnTo>
                <a:lnTo>
                  <a:pt x="188264" y="2619"/>
                </a:lnTo>
                <a:lnTo>
                  <a:pt x="174484" y="664"/>
                </a:lnTo>
                <a:lnTo>
                  <a:pt x="160364" y="0"/>
                </a:lnTo>
                <a:lnTo>
                  <a:pt x="151661" y="251"/>
                </a:lnTo>
                <a:lnTo>
                  <a:pt x="137744" y="1714"/>
                </a:lnTo>
                <a:lnTo>
                  <a:pt x="124199" y="4434"/>
                </a:lnTo>
                <a:lnTo>
                  <a:pt x="111079" y="8356"/>
                </a:lnTo>
                <a:lnTo>
                  <a:pt x="98435" y="13424"/>
                </a:lnTo>
                <a:lnTo>
                  <a:pt x="86317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5" y="54017"/>
                </a:lnTo>
                <a:lnTo>
                  <a:pt x="35418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9"/>
                </a:lnTo>
                <a:lnTo>
                  <a:pt x="5364" y="128966"/>
                </a:lnTo>
                <a:lnTo>
                  <a:pt x="2418" y="143464"/>
                </a:lnTo>
                <a:lnTo>
                  <a:pt x="613" y="15838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5" name="object 54"/>
          <p:cNvSpPr/>
          <p:nvPr/>
        </p:nvSpPr>
        <p:spPr>
          <a:xfrm>
            <a:off x="5359085" y="585327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6" name="object 56"/>
          <p:cNvSpPr/>
          <p:nvPr/>
        </p:nvSpPr>
        <p:spPr>
          <a:xfrm>
            <a:off x="7171053" y="580535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7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9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8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50" y="291973"/>
                </a:lnTo>
                <a:lnTo>
                  <a:pt x="302221" y="281377"/>
                </a:lnTo>
                <a:lnTo>
                  <a:pt x="310252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7" name="object 58"/>
          <p:cNvSpPr/>
          <p:nvPr/>
        </p:nvSpPr>
        <p:spPr>
          <a:xfrm>
            <a:off x="5531142" y="57796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8" name="object 60"/>
          <p:cNvSpPr/>
          <p:nvPr/>
        </p:nvSpPr>
        <p:spPr>
          <a:xfrm>
            <a:off x="7356198" y="58085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9" name="object 62"/>
          <p:cNvSpPr/>
          <p:nvPr/>
        </p:nvSpPr>
        <p:spPr>
          <a:xfrm>
            <a:off x="6172602" y="56843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0" name="object 64"/>
          <p:cNvSpPr/>
          <p:nvPr/>
        </p:nvSpPr>
        <p:spPr>
          <a:xfrm>
            <a:off x="4877989" y="580535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1" name="object 66"/>
          <p:cNvSpPr/>
          <p:nvPr/>
        </p:nvSpPr>
        <p:spPr>
          <a:xfrm>
            <a:off x="5581873" y="580884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2" name="object 68"/>
          <p:cNvSpPr/>
          <p:nvPr/>
        </p:nvSpPr>
        <p:spPr>
          <a:xfrm>
            <a:off x="5930822" y="578724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3" name="object 70"/>
          <p:cNvSpPr/>
          <p:nvPr/>
        </p:nvSpPr>
        <p:spPr>
          <a:xfrm>
            <a:off x="3899218" y="582076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4" name="object 74"/>
          <p:cNvSpPr/>
          <p:nvPr/>
        </p:nvSpPr>
        <p:spPr>
          <a:xfrm>
            <a:off x="3578489" y="578724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5" name="object 75"/>
          <p:cNvSpPr/>
          <p:nvPr/>
        </p:nvSpPr>
        <p:spPr>
          <a:xfrm>
            <a:off x="6361937" y="580297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232" y="183107"/>
                </a:lnTo>
                <a:lnTo>
                  <a:pt x="1583" y="198180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1" y="253877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2" y="289273"/>
                </a:lnTo>
                <a:lnTo>
                  <a:pt x="49876" y="299561"/>
                </a:lnTo>
                <a:lnTo>
                  <a:pt x="59830" y="309002"/>
                </a:lnTo>
                <a:lnTo>
                  <a:pt x="70485" y="317539"/>
                </a:lnTo>
                <a:lnTo>
                  <a:pt x="81788" y="325119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8" y="347110"/>
                </a:lnTo>
                <a:lnTo>
                  <a:pt x="182985" y="345647"/>
                </a:lnTo>
                <a:lnTo>
                  <a:pt x="196529" y="342927"/>
                </a:lnTo>
                <a:lnTo>
                  <a:pt x="209649" y="339005"/>
                </a:lnTo>
                <a:lnTo>
                  <a:pt x="222294" y="333937"/>
                </a:lnTo>
                <a:lnTo>
                  <a:pt x="234412" y="327778"/>
                </a:lnTo>
                <a:lnTo>
                  <a:pt x="245952" y="320584"/>
                </a:lnTo>
                <a:lnTo>
                  <a:pt x="256863" y="312410"/>
                </a:lnTo>
                <a:lnTo>
                  <a:pt x="267094" y="303312"/>
                </a:lnTo>
                <a:lnTo>
                  <a:pt x="276594" y="293344"/>
                </a:lnTo>
                <a:lnTo>
                  <a:pt x="285310" y="282563"/>
                </a:lnTo>
                <a:lnTo>
                  <a:pt x="293194" y="271024"/>
                </a:lnTo>
                <a:lnTo>
                  <a:pt x="300192" y="258782"/>
                </a:lnTo>
                <a:lnTo>
                  <a:pt x="306254" y="245893"/>
                </a:lnTo>
                <a:lnTo>
                  <a:pt x="311328" y="232412"/>
                </a:lnTo>
                <a:lnTo>
                  <a:pt x="315364" y="218395"/>
                </a:lnTo>
                <a:lnTo>
                  <a:pt x="318311" y="203897"/>
                </a:lnTo>
                <a:lnTo>
                  <a:pt x="320116" y="188974"/>
                </a:lnTo>
                <a:lnTo>
                  <a:pt x="320729" y="173681"/>
                </a:lnTo>
                <a:lnTo>
                  <a:pt x="320497" y="164255"/>
                </a:lnTo>
                <a:lnTo>
                  <a:pt x="319146" y="149182"/>
                </a:lnTo>
                <a:lnTo>
                  <a:pt x="316635" y="134513"/>
                </a:lnTo>
                <a:lnTo>
                  <a:pt x="313014" y="120304"/>
                </a:lnTo>
                <a:lnTo>
                  <a:pt x="308334" y="106609"/>
                </a:lnTo>
                <a:lnTo>
                  <a:pt x="302648" y="93485"/>
                </a:lnTo>
                <a:lnTo>
                  <a:pt x="296005" y="80986"/>
                </a:lnTo>
                <a:lnTo>
                  <a:pt x="288458" y="69169"/>
                </a:lnTo>
                <a:lnTo>
                  <a:pt x="280057" y="58089"/>
                </a:lnTo>
                <a:lnTo>
                  <a:pt x="270854" y="47800"/>
                </a:lnTo>
                <a:lnTo>
                  <a:pt x="260899" y="38360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1" y="251"/>
                </a:lnTo>
                <a:lnTo>
                  <a:pt x="137744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5" y="13424"/>
                </a:lnTo>
                <a:lnTo>
                  <a:pt x="86317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50"/>
                </a:lnTo>
                <a:lnTo>
                  <a:pt x="44135" y="54017"/>
                </a:lnTo>
                <a:lnTo>
                  <a:pt x="35418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9"/>
                </a:lnTo>
                <a:lnTo>
                  <a:pt x="5364" y="128966"/>
                </a:lnTo>
                <a:lnTo>
                  <a:pt x="2418" y="143464"/>
                </a:lnTo>
                <a:lnTo>
                  <a:pt x="613" y="158387"/>
                </a:lnTo>
                <a:lnTo>
                  <a:pt x="0" y="173681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6" name="object 78"/>
          <p:cNvSpPr/>
          <p:nvPr/>
        </p:nvSpPr>
        <p:spPr>
          <a:xfrm>
            <a:off x="6754153" y="580401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5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7" name="object 74"/>
          <p:cNvSpPr/>
          <p:nvPr/>
        </p:nvSpPr>
        <p:spPr>
          <a:xfrm>
            <a:off x="5687605" y="5803468"/>
            <a:ext cx="394167" cy="381727"/>
          </a:xfrm>
          <a:custGeom>
            <a:avLst/>
            <a:gdLst/>
            <a:ahLst/>
            <a:cxnLst/>
            <a:rect l="l" t="t" r="r" b="b"/>
            <a:pathLst>
              <a:path w="394167" h="381727">
                <a:moveTo>
                  <a:pt x="0" y="0"/>
                </a:moveTo>
                <a:lnTo>
                  <a:pt x="394167" y="0"/>
                </a:lnTo>
                <a:lnTo>
                  <a:pt x="394167" y="381727"/>
                </a:lnTo>
                <a:lnTo>
                  <a:pt x="0" y="381727"/>
                </a:lnTo>
                <a:lnTo>
                  <a:pt x="0" y="0"/>
                </a:lnTo>
                <a:close/>
              </a:path>
            </a:pathLst>
          </a:custGeom>
          <a:solidFill>
            <a:srgbClr val="59BAD1"/>
          </a:solidFill>
          <a:ln w="57150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8" name="object 74"/>
          <p:cNvSpPr/>
          <p:nvPr/>
        </p:nvSpPr>
        <p:spPr>
          <a:xfrm>
            <a:off x="7576922" y="5803468"/>
            <a:ext cx="394167" cy="381727"/>
          </a:xfrm>
          <a:custGeom>
            <a:avLst/>
            <a:gdLst/>
            <a:ahLst/>
            <a:cxnLst/>
            <a:rect l="l" t="t" r="r" b="b"/>
            <a:pathLst>
              <a:path w="394167" h="381727">
                <a:moveTo>
                  <a:pt x="0" y="0"/>
                </a:moveTo>
                <a:lnTo>
                  <a:pt x="394167" y="0"/>
                </a:lnTo>
                <a:lnTo>
                  <a:pt x="394167" y="381727"/>
                </a:lnTo>
                <a:lnTo>
                  <a:pt x="0" y="381727"/>
                </a:lnTo>
                <a:lnTo>
                  <a:pt x="0" y="0"/>
                </a:lnTo>
                <a:close/>
              </a:path>
            </a:pathLst>
          </a:custGeom>
          <a:solidFill>
            <a:srgbClr val="FAA757"/>
          </a:solidFill>
          <a:ln w="57150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9" name="object 32"/>
          <p:cNvSpPr/>
          <p:nvPr/>
        </p:nvSpPr>
        <p:spPr>
          <a:xfrm>
            <a:off x="3084023" y="585028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0" name="object 50"/>
          <p:cNvSpPr/>
          <p:nvPr/>
        </p:nvSpPr>
        <p:spPr>
          <a:xfrm>
            <a:off x="3234945" y="5803468"/>
            <a:ext cx="394167" cy="381727"/>
          </a:xfrm>
          <a:custGeom>
            <a:avLst/>
            <a:gdLst/>
            <a:ahLst/>
            <a:cxnLst/>
            <a:rect l="l" t="t" r="r" b="b"/>
            <a:pathLst>
              <a:path w="394167" h="381727">
                <a:moveTo>
                  <a:pt x="0" y="0"/>
                </a:moveTo>
                <a:lnTo>
                  <a:pt x="394167" y="0"/>
                </a:lnTo>
                <a:lnTo>
                  <a:pt x="394167" y="381727"/>
                </a:lnTo>
                <a:lnTo>
                  <a:pt x="0" y="381727"/>
                </a:lnTo>
                <a:lnTo>
                  <a:pt x="0" y="0"/>
                </a:lnTo>
                <a:close/>
              </a:path>
            </a:pathLst>
          </a:custGeom>
          <a:solidFill>
            <a:srgbClr val="AAC56C"/>
          </a:solidFill>
          <a:ln w="57150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1" name="object 5"/>
          <p:cNvSpPr txBox="1"/>
          <p:nvPr/>
        </p:nvSpPr>
        <p:spPr>
          <a:xfrm>
            <a:off x="2101916" y="369650"/>
            <a:ext cx="6889684" cy="807913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 marR="41909">
              <a:lnSpc>
                <a:spcPts val="3454"/>
              </a:lnSpc>
              <a:spcBef>
                <a:spcPts val="172"/>
              </a:spcBef>
            </a:pPr>
            <a:r>
              <a:rPr lang="en-US" sz="4800" baseline="2560" dirty="0" smtClean="0">
                <a:solidFill>
                  <a:srgbClr val="4E81BC"/>
                </a:solidFill>
                <a:latin typeface="+mj-lt"/>
                <a:cs typeface="Calibri"/>
              </a:rPr>
              <a:t>Spectral Clustering</a:t>
            </a:r>
            <a:endParaRPr sz="3200" dirty="0">
              <a:latin typeface="+mj-lt"/>
              <a:cs typeface="Calibri"/>
            </a:endParaRPr>
          </a:p>
          <a:p>
            <a:pPr marL="12700">
              <a:lnSpc>
                <a:spcPts val="2770"/>
              </a:lnSpc>
            </a:pPr>
            <a:r>
              <a:rPr lang="en-US" sz="3200" baseline="1137" dirty="0" smtClean="0">
                <a:solidFill>
                  <a:srgbClr val="7F7E7E"/>
                </a:solidFill>
                <a:cs typeface="Calibri"/>
              </a:rPr>
              <a:t>Look at them in the normal space</a:t>
            </a:r>
            <a:endParaRPr lang="en-US" sz="3200" baseline="1137" dirty="0">
              <a:solidFill>
                <a:srgbClr val="7F7E7E"/>
              </a:solidFill>
              <a:cs typeface="Calibri"/>
            </a:endParaRPr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object 20"/>
          <p:cNvSpPr/>
          <p:nvPr/>
        </p:nvSpPr>
        <p:spPr>
          <a:xfrm>
            <a:off x="2668469" y="583455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2" name="object 22"/>
          <p:cNvSpPr/>
          <p:nvPr/>
        </p:nvSpPr>
        <p:spPr>
          <a:xfrm>
            <a:off x="6273057" y="576957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3" name="object 23"/>
          <p:cNvSpPr/>
          <p:nvPr/>
        </p:nvSpPr>
        <p:spPr>
          <a:xfrm>
            <a:off x="5853655" y="571095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232" y="183106"/>
                </a:lnTo>
                <a:lnTo>
                  <a:pt x="1582" y="198179"/>
                </a:lnTo>
                <a:lnTo>
                  <a:pt x="4094" y="212848"/>
                </a:lnTo>
                <a:lnTo>
                  <a:pt x="7715" y="227057"/>
                </a:lnTo>
                <a:lnTo>
                  <a:pt x="12394" y="240752"/>
                </a:lnTo>
                <a:lnTo>
                  <a:pt x="18081" y="253876"/>
                </a:lnTo>
                <a:lnTo>
                  <a:pt x="24723" y="266374"/>
                </a:lnTo>
                <a:lnTo>
                  <a:pt x="32271" y="278192"/>
                </a:lnTo>
                <a:lnTo>
                  <a:pt x="40672" y="289272"/>
                </a:lnTo>
                <a:lnTo>
                  <a:pt x="49875" y="299561"/>
                </a:lnTo>
                <a:lnTo>
                  <a:pt x="59829" y="309001"/>
                </a:lnTo>
                <a:lnTo>
                  <a:pt x="70484" y="317539"/>
                </a:lnTo>
                <a:lnTo>
                  <a:pt x="81787" y="325119"/>
                </a:lnTo>
                <a:lnTo>
                  <a:pt x="93688" y="331684"/>
                </a:lnTo>
                <a:lnTo>
                  <a:pt x="106135" y="337180"/>
                </a:lnTo>
                <a:lnTo>
                  <a:pt x="119077" y="341551"/>
                </a:lnTo>
                <a:lnTo>
                  <a:pt x="132464" y="344742"/>
                </a:lnTo>
                <a:lnTo>
                  <a:pt x="146243" y="346697"/>
                </a:lnTo>
                <a:lnTo>
                  <a:pt x="160364" y="347361"/>
                </a:lnTo>
                <a:lnTo>
                  <a:pt x="169067" y="347110"/>
                </a:lnTo>
                <a:lnTo>
                  <a:pt x="182985" y="345647"/>
                </a:lnTo>
                <a:lnTo>
                  <a:pt x="196529" y="342927"/>
                </a:lnTo>
                <a:lnTo>
                  <a:pt x="209649" y="339005"/>
                </a:lnTo>
                <a:lnTo>
                  <a:pt x="222293" y="333937"/>
                </a:lnTo>
                <a:lnTo>
                  <a:pt x="234411" y="327778"/>
                </a:lnTo>
                <a:lnTo>
                  <a:pt x="245952" y="320584"/>
                </a:lnTo>
                <a:lnTo>
                  <a:pt x="256863" y="312410"/>
                </a:lnTo>
                <a:lnTo>
                  <a:pt x="267094" y="303311"/>
                </a:lnTo>
                <a:lnTo>
                  <a:pt x="276593" y="293344"/>
                </a:lnTo>
                <a:lnTo>
                  <a:pt x="285310" y="282563"/>
                </a:lnTo>
                <a:lnTo>
                  <a:pt x="293193" y="271024"/>
                </a:lnTo>
                <a:lnTo>
                  <a:pt x="300192" y="258782"/>
                </a:lnTo>
                <a:lnTo>
                  <a:pt x="306254" y="245893"/>
                </a:lnTo>
                <a:lnTo>
                  <a:pt x="311328" y="232412"/>
                </a:lnTo>
                <a:lnTo>
                  <a:pt x="315364" y="218395"/>
                </a:lnTo>
                <a:lnTo>
                  <a:pt x="318311" y="203897"/>
                </a:lnTo>
                <a:lnTo>
                  <a:pt x="320116" y="188974"/>
                </a:lnTo>
                <a:lnTo>
                  <a:pt x="320729" y="173680"/>
                </a:lnTo>
                <a:lnTo>
                  <a:pt x="320497" y="164254"/>
                </a:lnTo>
                <a:lnTo>
                  <a:pt x="319146" y="149181"/>
                </a:lnTo>
                <a:lnTo>
                  <a:pt x="316634" y="134512"/>
                </a:lnTo>
                <a:lnTo>
                  <a:pt x="313013" y="120303"/>
                </a:lnTo>
                <a:lnTo>
                  <a:pt x="308334" y="106609"/>
                </a:lnTo>
                <a:lnTo>
                  <a:pt x="302647" y="93484"/>
                </a:lnTo>
                <a:lnTo>
                  <a:pt x="296005" y="80986"/>
                </a:lnTo>
                <a:lnTo>
                  <a:pt x="288457" y="69169"/>
                </a:lnTo>
                <a:lnTo>
                  <a:pt x="280056" y="58088"/>
                </a:lnTo>
                <a:lnTo>
                  <a:pt x="270853" y="47800"/>
                </a:lnTo>
                <a:lnTo>
                  <a:pt x="260898" y="38359"/>
                </a:lnTo>
                <a:lnTo>
                  <a:pt x="250244" y="29822"/>
                </a:lnTo>
                <a:lnTo>
                  <a:pt x="238941" y="22242"/>
                </a:lnTo>
                <a:lnTo>
                  <a:pt x="227040" y="15677"/>
                </a:lnTo>
                <a:lnTo>
                  <a:pt x="214592" y="10181"/>
                </a:lnTo>
                <a:lnTo>
                  <a:pt x="201650" y="5810"/>
                </a:lnTo>
                <a:lnTo>
                  <a:pt x="188264" y="2619"/>
                </a:lnTo>
                <a:lnTo>
                  <a:pt x="174484" y="664"/>
                </a:lnTo>
                <a:lnTo>
                  <a:pt x="160364" y="0"/>
                </a:lnTo>
                <a:lnTo>
                  <a:pt x="151661" y="251"/>
                </a:lnTo>
                <a:lnTo>
                  <a:pt x="137744" y="1714"/>
                </a:lnTo>
                <a:lnTo>
                  <a:pt x="124199" y="4434"/>
                </a:lnTo>
                <a:lnTo>
                  <a:pt x="111079" y="8356"/>
                </a:lnTo>
                <a:lnTo>
                  <a:pt x="98435" y="13424"/>
                </a:lnTo>
                <a:lnTo>
                  <a:pt x="86317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5" y="54017"/>
                </a:lnTo>
                <a:lnTo>
                  <a:pt x="35418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9"/>
                </a:lnTo>
                <a:lnTo>
                  <a:pt x="5364" y="128966"/>
                </a:lnTo>
                <a:lnTo>
                  <a:pt x="2418" y="143464"/>
                </a:lnTo>
                <a:lnTo>
                  <a:pt x="613" y="158387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5" name="object 25"/>
          <p:cNvSpPr/>
          <p:nvPr/>
        </p:nvSpPr>
        <p:spPr>
          <a:xfrm>
            <a:off x="5169749" y="58510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232" y="183107"/>
                </a:lnTo>
                <a:lnTo>
                  <a:pt x="1583" y="198180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7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3"/>
                </a:lnTo>
                <a:lnTo>
                  <a:pt x="49876" y="299561"/>
                </a:lnTo>
                <a:lnTo>
                  <a:pt x="59830" y="309002"/>
                </a:lnTo>
                <a:lnTo>
                  <a:pt x="70485" y="317539"/>
                </a:lnTo>
                <a:lnTo>
                  <a:pt x="81788" y="325119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8" y="347110"/>
                </a:lnTo>
                <a:lnTo>
                  <a:pt x="182985" y="345647"/>
                </a:lnTo>
                <a:lnTo>
                  <a:pt x="196529" y="342927"/>
                </a:lnTo>
                <a:lnTo>
                  <a:pt x="209649" y="339005"/>
                </a:lnTo>
                <a:lnTo>
                  <a:pt x="222293" y="333937"/>
                </a:lnTo>
                <a:lnTo>
                  <a:pt x="234411" y="327778"/>
                </a:lnTo>
                <a:lnTo>
                  <a:pt x="245951" y="320584"/>
                </a:lnTo>
                <a:lnTo>
                  <a:pt x="256863" y="312410"/>
                </a:lnTo>
                <a:lnTo>
                  <a:pt x="267094" y="303312"/>
                </a:lnTo>
                <a:lnTo>
                  <a:pt x="276593" y="293344"/>
                </a:lnTo>
                <a:lnTo>
                  <a:pt x="285310" y="282563"/>
                </a:lnTo>
                <a:lnTo>
                  <a:pt x="293193" y="271024"/>
                </a:lnTo>
                <a:lnTo>
                  <a:pt x="300192" y="258782"/>
                </a:lnTo>
                <a:lnTo>
                  <a:pt x="306254" y="245893"/>
                </a:lnTo>
                <a:lnTo>
                  <a:pt x="311328" y="232412"/>
                </a:lnTo>
                <a:lnTo>
                  <a:pt x="315364" y="218395"/>
                </a:lnTo>
                <a:lnTo>
                  <a:pt x="318311" y="203897"/>
                </a:lnTo>
                <a:lnTo>
                  <a:pt x="320116" y="188974"/>
                </a:lnTo>
                <a:lnTo>
                  <a:pt x="320729" y="173680"/>
                </a:lnTo>
                <a:lnTo>
                  <a:pt x="320497" y="164255"/>
                </a:lnTo>
                <a:lnTo>
                  <a:pt x="319146" y="149182"/>
                </a:lnTo>
                <a:lnTo>
                  <a:pt x="316635" y="134513"/>
                </a:lnTo>
                <a:lnTo>
                  <a:pt x="313014" y="120304"/>
                </a:lnTo>
                <a:lnTo>
                  <a:pt x="308334" y="106609"/>
                </a:lnTo>
                <a:lnTo>
                  <a:pt x="302647" y="93485"/>
                </a:lnTo>
                <a:lnTo>
                  <a:pt x="296005" y="80987"/>
                </a:lnTo>
                <a:lnTo>
                  <a:pt x="288458" y="69169"/>
                </a:lnTo>
                <a:lnTo>
                  <a:pt x="280057" y="58089"/>
                </a:lnTo>
                <a:lnTo>
                  <a:pt x="270853" y="47800"/>
                </a:lnTo>
                <a:lnTo>
                  <a:pt x="260899" y="38360"/>
                </a:lnTo>
                <a:lnTo>
                  <a:pt x="250244" y="29822"/>
                </a:lnTo>
                <a:lnTo>
                  <a:pt x="238941" y="22242"/>
                </a:lnTo>
                <a:lnTo>
                  <a:pt x="227040" y="15677"/>
                </a:lnTo>
                <a:lnTo>
                  <a:pt x="214593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1" y="251"/>
                </a:lnTo>
                <a:lnTo>
                  <a:pt x="137744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5" y="13424"/>
                </a:lnTo>
                <a:lnTo>
                  <a:pt x="86317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50"/>
                </a:lnTo>
                <a:lnTo>
                  <a:pt x="44135" y="54017"/>
                </a:lnTo>
                <a:lnTo>
                  <a:pt x="35418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9"/>
                </a:lnTo>
                <a:lnTo>
                  <a:pt x="5364" y="128966"/>
                </a:lnTo>
                <a:lnTo>
                  <a:pt x="2418" y="143464"/>
                </a:lnTo>
                <a:lnTo>
                  <a:pt x="613" y="158387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7" name="object 27"/>
          <p:cNvSpPr/>
          <p:nvPr/>
        </p:nvSpPr>
        <p:spPr>
          <a:xfrm>
            <a:off x="5880842" y="573498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1"/>
                </a:moveTo>
                <a:lnTo>
                  <a:pt x="232" y="183107"/>
                </a:lnTo>
                <a:lnTo>
                  <a:pt x="1583" y="198180"/>
                </a:lnTo>
                <a:lnTo>
                  <a:pt x="4094" y="212849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7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3"/>
                </a:lnTo>
                <a:lnTo>
                  <a:pt x="49876" y="299561"/>
                </a:lnTo>
                <a:lnTo>
                  <a:pt x="59830" y="309002"/>
                </a:lnTo>
                <a:lnTo>
                  <a:pt x="70485" y="317539"/>
                </a:lnTo>
                <a:lnTo>
                  <a:pt x="81788" y="325119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2"/>
                </a:lnTo>
                <a:lnTo>
                  <a:pt x="169069" y="347110"/>
                </a:lnTo>
                <a:lnTo>
                  <a:pt x="182986" y="345647"/>
                </a:lnTo>
                <a:lnTo>
                  <a:pt x="196530" y="342927"/>
                </a:lnTo>
                <a:lnTo>
                  <a:pt x="209650" y="339005"/>
                </a:lnTo>
                <a:lnTo>
                  <a:pt x="222295" y="333937"/>
                </a:lnTo>
                <a:lnTo>
                  <a:pt x="234413" y="327778"/>
                </a:lnTo>
                <a:lnTo>
                  <a:pt x="245953" y="320584"/>
                </a:lnTo>
                <a:lnTo>
                  <a:pt x="256864" y="312410"/>
                </a:lnTo>
                <a:lnTo>
                  <a:pt x="267095" y="303311"/>
                </a:lnTo>
                <a:lnTo>
                  <a:pt x="276595" y="293344"/>
                </a:lnTo>
                <a:lnTo>
                  <a:pt x="285311" y="282563"/>
                </a:lnTo>
                <a:lnTo>
                  <a:pt x="293195" y="271024"/>
                </a:lnTo>
                <a:lnTo>
                  <a:pt x="300193" y="258782"/>
                </a:lnTo>
                <a:lnTo>
                  <a:pt x="306255" y="245893"/>
                </a:lnTo>
                <a:lnTo>
                  <a:pt x="311330" y="232412"/>
                </a:lnTo>
                <a:lnTo>
                  <a:pt x="315366" y="218395"/>
                </a:lnTo>
                <a:lnTo>
                  <a:pt x="318312" y="203897"/>
                </a:lnTo>
                <a:lnTo>
                  <a:pt x="320117" y="188974"/>
                </a:lnTo>
                <a:lnTo>
                  <a:pt x="320730" y="173681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8" y="93484"/>
                </a:lnTo>
                <a:lnTo>
                  <a:pt x="296006" y="80986"/>
                </a:lnTo>
                <a:lnTo>
                  <a:pt x="288458" y="69169"/>
                </a:lnTo>
                <a:lnTo>
                  <a:pt x="280057" y="58088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1" y="251"/>
                </a:lnTo>
                <a:lnTo>
                  <a:pt x="137744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5" y="13424"/>
                </a:lnTo>
                <a:lnTo>
                  <a:pt x="86317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50"/>
                </a:lnTo>
                <a:lnTo>
                  <a:pt x="44135" y="54017"/>
                </a:lnTo>
                <a:lnTo>
                  <a:pt x="35418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9"/>
                </a:lnTo>
                <a:lnTo>
                  <a:pt x="5364" y="128966"/>
                </a:lnTo>
                <a:lnTo>
                  <a:pt x="2418" y="143464"/>
                </a:lnTo>
                <a:lnTo>
                  <a:pt x="613" y="158387"/>
                </a:lnTo>
                <a:lnTo>
                  <a:pt x="0" y="173681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0" name="object 30"/>
          <p:cNvSpPr/>
          <p:nvPr/>
        </p:nvSpPr>
        <p:spPr>
          <a:xfrm>
            <a:off x="4557260" y="5868392"/>
            <a:ext cx="320730" cy="347361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1" name="object 31"/>
          <p:cNvSpPr/>
          <p:nvPr/>
        </p:nvSpPr>
        <p:spPr>
          <a:xfrm>
            <a:off x="5107607" y="583061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232" y="183107"/>
                </a:lnTo>
                <a:lnTo>
                  <a:pt x="1583" y="198180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1" y="253877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2" y="289273"/>
                </a:lnTo>
                <a:lnTo>
                  <a:pt x="49876" y="299561"/>
                </a:lnTo>
                <a:lnTo>
                  <a:pt x="59830" y="309002"/>
                </a:lnTo>
                <a:lnTo>
                  <a:pt x="70485" y="317539"/>
                </a:lnTo>
                <a:lnTo>
                  <a:pt x="81788" y="325119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7"/>
                </a:lnTo>
                <a:lnTo>
                  <a:pt x="196530" y="342927"/>
                </a:lnTo>
                <a:lnTo>
                  <a:pt x="209650" y="339005"/>
                </a:lnTo>
                <a:lnTo>
                  <a:pt x="222295" y="333937"/>
                </a:lnTo>
                <a:lnTo>
                  <a:pt x="234413" y="327778"/>
                </a:lnTo>
                <a:lnTo>
                  <a:pt x="245953" y="320584"/>
                </a:lnTo>
                <a:lnTo>
                  <a:pt x="256864" y="312410"/>
                </a:lnTo>
                <a:lnTo>
                  <a:pt x="267095" y="303311"/>
                </a:lnTo>
                <a:lnTo>
                  <a:pt x="276594" y="293344"/>
                </a:lnTo>
                <a:lnTo>
                  <a:pt x="285311" y="282563"/>
                </a:lnTo>
                <a:lnTo>
                  <a:pt x="293195" y="271024"/>
                </a:lnTo>
                <a:lnTo>
                  <a:pt x="300193" y="258782"/>
                </a:lnTo>
                <a:lnTo>
                  <a:pt x="306255" y="245893"/>
                </a:lnTo>
                <a:lnTo>
                  <a:pt x="311330" y="232412"/>
                </a:lnTo>
                <a:lnTo>
                  <a:pt x="315366" y="218395"/>
                </a:lnTo>
                <a:lnTo>
                  <a:pt x="318312" y="203897"/>
                </a:lnTo>
                <a:lnTo>
                  <a:pt x="320117" y="188974"/>
                </a:lnTo>
                <a:lnTo>
                  <a:pt x="320730" y="173681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8" y="93484"/>
                </a:lnTo>
                <a:lnTo>
                  <a:pt x="296006" y="80986"/>
                </a:lnTo>
                <a:lnTo>
                  <a:pt x="288458" y="69169"/>
                </a:lnTo>
                <a:lnTo>
                  <a:pt x="280057" y="58088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1" y="251"/>
                </a:lnTo>
                <a:lnTo>
                  <a:pt x="137744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5" y="13424"/>
                </a:lnTo>
                <a:lnTo>
                  <a:pt x="86317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50"/>
                </a:lnTo>
                <a:lnTo>
                  <a:pt x="44135" y="54017"/>
                </a:lnTo>
                <a:lnTo>
                  <a:pt x="35418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9"/>
                </a:lnTo>
                <a:lnTo>
                  <a:pt x="5364" y="128966"/>
                </a:lnTo>
                <a:lnTo>
                  <a:pt x="2418" y="143464"/>
                </a:lnTo>
                <a:lnTo>
                  <a:pt x="613" y="158387"/>
                </a:lnTo>
                <a:lnTo>
                  <a:pt x="0" y="173681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4" name="object 34"/>
          <p:cNvSpPr/>
          <p:nvPr/>
        </p:nvSpPr>
        <p:spPr>
          <a:xfrm>
            <a:off x="2907043" y="550580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6" name="object 36"/>
          <p:cNvSpPr/>
          <p:nvPr/>
        </p:nvSpPr>
        <p:spPr>
          <a:xfrm>
            <a:off x="6593786" y="57902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8" name="object 38"/>
          <p:cNvSpPr/>
          <p:nvPr/>
        </p:nvSpPr>
        <p:spPr>
          <a:xfrm>
            <a:off x="4724741" y="584823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9" name="object 39"/>
          <p:cNvSpPr/>
          <p:nvPr/>
        </p:nvSpPr>
        <p:spPr>
          <a:xfrm>
            <a:off x="5107607" y="57796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7"/>
                </a:lnTo>
                <a:lnTo>
                  <a:pt x="1583" y="198180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7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3"/>
                </a:lnTo>
                <a:lnTo>
                  <a:pt x="49876" y="299561"/>
                </a:lnTo>
                <a:lnTo>
                  <a:pt x="59830" y="309002"/>
                </a:lnTo>
                <a:lnTo>
                  <a:pt x="70485" y="317539"/>
                </a:lnTo>
                <a:lnTo>
                  <a:pt x="81788" y="325119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7"/>
                </a:lnTo>
                <a:lnTo>
                  <a:pt x="196530" y="342927"/>
                </a:lnTo>
                <a:lnTo>
                  <a:pt x="209650" y="339005"/>
                </a:lnTo>
                <a:lnTo>
                  <a:pt x="222295" y="333937"/>
                </a:lnTo>
                <a:lnTo>
                  <a:pt x="234413" y="327778"/>
                </a:lnTo>
                <a:lnTo>
                  <a:pt x="245953" y="320584"/>
                </a:lnTo>
                <a:lnTo>
                  <a:pt x="256864" y="312410"/>
                </a:lnTo>
                <a:lnTo>
                  <a:pt x="267095" y="303311"/>
                </a:lnTo>
                <a:lnTo>
                  <a:pt x="276595" y="293344"/>
                </a:lnTo>
                <a:lnTo>
                  <a:pt x="285311" y="282563"/>
                </a:lnTo>
                <a:lnTo>
                  <a:pt x="293195" y="271024"/>
                </a:lnTo>
                <a:lnTo>
                  <a:pt x="300193" y="258782"/>
                </a:lnTo>
                <a:lnTo>
                  <a:pt x="306255" y="245893"/>
                </a:lnTo>
                <a:lnTo>
                  <a:pt x="311330" y="232412"/>
                </a:lnTo>
                <a:lnTo>
                  <a:pt x="315366" y="218395"/>
                </a:lnTo>
                <a:lnTo>
                  <a:pt x="318312" y="203897"/>
                </a:lnTo>
                <a:lnTo>
                  <a:pt x="320117" y="188974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8" y="93484"/>
                </a:lnTo>
                <a:lnTo>
                  <a:pt x="296006" y="80986"/>
                </a:lnTo>
                <a:lnTo>
                  <a:pt x="288458" y="69169"/>
                </a:lnTo>
                <a:lnTo>
                  <a:pt x="280057" y="58088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1" y="251"/>
                </a:lnTo>
                <a:lnTo>
                  <a:pt x="137744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5" y="13424"/>
                </a:lnTo>
                <a:lnTo>
                  <a:pt x="86317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50"/>
                </a:lnTo>
                <a:lnTo>
                  <a:pt x="44135" y="54017"/>
                </a:lnTo>
                <a:lnTo>
                  <a:pt x="35418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9"/>
                </a:lnTo>
                <a:lnTo>
                  <a:pt x="5364" y="128966"/>
                </a:lnTo>
                <a:lnTo>
                  <a:pt x="2418" y="143464"/>
                </a:lnTo>
                <a:lnTo>
                  <a:pt x="613" y="158387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0" name="object 40"/>
          <p:cNvSpPr/>
          <p:nvPr/>
        </p:nvSpPr>
        <p:spPr>
          <a:xfrm>
            <a:off x="5107607" y="57796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2" name="object 42"/>
          <p:cNvSpPr/>
          <p:nvPr/>
        </p:nvSpPr>
        <p:spPr>
          <a:xfrm>
            <a:off x="3418124" y="54410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4" name="object 44"/>
          <p:cNvSpPr/>
          <p:nvPr/>
        </p:nvSpPr>
        <p:spPr>
          <a:xfrm>
            <a:off x="3257759" y="553624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5" name="object 45"/>
          <p:cNvSpPr/>
          <p:nvPr/>
        </p:nvSpPr>
        <p:spPr>
          <a:xfrm>
            <a:off x="6455715" y="526908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232" y="183105"/>
                </a:lnTo>
                <a:lnTo>
                  <a:pt x="1582" y="198178"/>
                </a:lnTo>
                <a:lnTo>
                  <a:pt x="4094" y="212847"/>
                </a:lnTo>
                <a:lnTo>
                  <a:pt x="7715" y="227057"/>
                </a:lnTo>
                <a:lnTo>
                  <a:pt x="12395" y="240751"/>
                </a:lnTo>
                <a:lnTo>
                  <a:pt x="18081" y="253876"/>
                </a:lnTo>
                <a:lnTo>
                  <a:pt x="24724" y="266374"/>
                </a:lnTo>
                <a:lnTo>
                  <a:pt x="32271" y="278191"/>
                </a:lnTo>
                <a:lnTo>
                  <a:pt x="40672" y="289272"/>
                </a:lnTo>
                <a:lnTo>
                  <a:pt x="49875" y="299560"/>
                </a:lnTo>
                <a:lnTo>
                  <a:pt x="59830" y="309001"/>
                </a:lnTo>
                <a:lnTo>
                  <a:pt x="70484" y="317539"/>
                </a:lnTo>
                <a:lnTo>
                  <a:pt x="81787" y="325118"/>
                </a:lnTo>
                <a:lnTo>
                  <a:pt x="93688" y="331683"/>
                </a:lnTo>
                <a:lnTo>
                  <a:pt x="106135" y="337179"/>
                </a:lnTo>
                <a:lnTo>
                  <a:pt x="119078" y="341551"/>
                </a:lnTo>
                <a:lnTo>
                  <a:pt x="132464" y="344742"/>
                </a:lnTo>
                <a:lnTo>
                  <a:pt x="146243" y="346697"/>
                </a:lnTo>
                <a:lnTo>
                  <a:pt x="160364" y="347361"/>
                </a:lnTo>
                <a:lnTo>
                  <a:pt x="169068" y="347109"/>
                </a:lnTo>
                <a:lnTo>
                  <a:pt x="182985" y="345646"/>
                </a:lnTo>
                <a:lnTo>
                  <a:pt x="196529" y="342926"/>
                </a:lnTo>
                <a:lnTo>
                  <a:pt x="209649" y="339004"/>
                </a:lnTo>
                <a:lnTo>
                  <a:pt x="222294" y="333936"/>
                </a:lnTo>
                <a:lnTo>
                  <a:pt x="234411" y="327777"/>
                </a:lnTo>
                <a:lnTo>
                  <a:pt x="245952" y="320583"/>
                </a:lnTo>
                <a:lnTo>
                  <a:pt x="256863" y="312409"/>
                </a:lnTo>
                <a:lnTo>
                  <a:pt x="267094" y="303311"/>
                </a:lnTo>
                <a:lnTo>
                  <a:pt x="276593" y="293343"/>
                </a:lnTo>
                <a:lnTo>
                  <a:pt x="285310" y="282562"/>
                </a:lnTo>
                <a:lnTo>
                  <a:pt x="293193" y="271023"/>
                </a:lnTo>
                <a:lnTo>
                  <a:pt x="300192" y="258781"/>
                </a:lnTo>
                <a:lnTo>
                  <a:pt x="306254" y="245892"/>
                </a:lnTo>
                <a:lnTo>
                  <a:pt x="311328" y="232411"/>
                </a:lnTo>
                <a:lnTo>
                  <a:pt x="315364" y="218394"/>
                </a:lnTo>
                <a:lnTo>
                  <a:pt x="318311" y="203896"/>
                </a:lnTo>
                <a:lnTo>
                  <a:pt x="320116" y="188973"/>
                </a:lnTo>
                <a:lnTo>
                  <a:pt x="320729" y="173680"/>
                </a:lnTo>
                <a:lnTo>
                  <a:pt x="320497" y="164254"/>
                </a:lnTo>
                <a:lnTo>
                  <a:pt x="319146" y="149181"/>
                </a:lnTo>
                <a:lnTo>
                  <a:pt x="316635" y="134512"/>
                </a:lnTo>
                <a:lnTo>
                  <a:pt x="313013" y="120303"/>
                </a:lnTo>
                <a:lnTo>
                  <a:pt x="308334" y="106609"/>
                </a:lnTo>
                <a:lnTo>
                  <a:pt x="302647" y="93485"/>
                </a:lnTo>
                <a:lnTo>
                  <a:pt x="296005" y="80986"/>
                </a:lnTo>
                <a:lnTo>
                  <a:pt x="288457" y="69169"/>
                </a:lnTo>
                <a:lnTo>
                  <a:pt x="280056" y="58089"/>
                </a:lnTo>
                <a:lnTo>
                  <a:pt x="270853" y="47800"/>
                </a:lnTo>
                <a:lnTo>
                  <a:pt x="260898" y="38359"/>
                </a:lnTo>
                <a:lnTo>
                  <a:pt x="250244" y="29822"/>
                </a:lnTo>
                <a:lnTo>
                  <a:pt x="238941" y="22242"/>
                </a:lnTo>
                <a:lnTo>
                  <a:pt x="227040" y="15677"/>
                </a:lnTo>
                <a:lnTo>
                  <a:pt x="214593" y="10181"/>
                </a:lnTo>
                <a:lnTo>
                  <a:pt x="201650" y="5810"/>
                </a:lnTo>
                <a:lnTo>
                  <a:pt x="188264" y="2619"/>
                </a:lnTo>
                <a:lnTo>
                  <a:pt x="174484" y="664"/>
                </a:lnTo>
                <a:lnTo>
                  <a:pt x="160364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3"/>
                </a:lnTo>
                <a:lnTo>
                  <a:pt x="86318" y="19582"/>
                </a:lnTo>
                <a:lnTo>
                  <a:pt x="74778" y="26776"/>
                </a:lnTo>
                <a:lnTo>
                  <a:pt x="63866" y="34950"/>
                </a:lnTo>
                <a:lnTo>
                  <a:pt x="53635" y="44049"/>
                </a:lnTo>
                <a:lnTo>
                  <a:pt x="44136" y="54016"/>
                </a:lnTo>
                <a:lnTo>
                  <a:pt x="35419" y="64797"/>
                </a:lnTo>
                <a:lnTo>
                  <a:pt x="27535" y="76337"/>
                </a:lnTo>
                <a:lnTo>
                  <a:pt x="20537" y="88578"/>
                </a:lnTo>
                <a:lnTo>
                  <a:pt x="14475" y="101467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8" name="object 48"/>
          <p:cNvSpPr/>
          <p:nvPr/>
        </p:nvSpPr>
        <p:spPr>
          <a:xfrm>
            <a:off x="6134986" y="553624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0" name="object 50"/>
          <p:cNvSpPr/>
          <p:nvPr/>
        </p:nvSpPr>
        <p:spPr>
          <a:xfrm>
            <a:off x="5239383" y="54871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2" name="object 52"/>
          <p:cNvSpPr/>
          <p:nvPr/>
        </p:nvSpPr>
        <p:spPr>
          <a:xfrm>
            <a:off x="7163764" y="585801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4" name="object 54"/>
          <p:cNvSpPr/>
          <p:nvPr/>
        </p:nvSpPr>
        <p:spPr>
          <a:xfrm>
            <a:off x="5359085" y="526908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5" name="object 55"/>
          <p:cNvSpPr/>
          <p:nvPr/>
        </p:nvSpPr>
        <p:spPr>
          <a:xfrm>
            <a:off x="5531142" y="57796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232" y="183106"/>
                </a:lnTo>
                <a:lnTo>
                  <a:pt x="1582" y="198179"/>
                </a:lnTo>
                <a:lnTo>
                  <a:pt x="4094" y="212848"/>
                </a:lnTo>
                <a:lnTo>
                  <a:pt x="7715" y="227057"/>
                </a:lnTo>
                <a:lnTo>
                  <a:pt x="12395" y="240752"/>
                </a:lnTo>
                <a:lnTo>
                  <a:pt x="18081" y="253876"/>
                </a:lnTo>
                <a:lnTo>
                  <a:pt x="24724" y="266374"/>
                </a:lnTo>
                <a:lnTo>
                  <a:pt x="32271" y="278192"/>
                </a:lnTo>
                <a:lnTo>
                  <a:pt x="40672" y="289272"/>
                </a:lnTo>
                <a:lnTo>
                  <a:pt x="49875" y="299561"/>
                </a:lnTo>
                <a:lnTo>
                  <a:pt x="59830" y="309001"/>
                </a:lnTo>
                <a:lnTo>
                  <a:pt x="70484" y="317539"/>
                </a:lnTo>
                <a:lnTo>
                  <a:pt x="81787" y="325119"/>
                </a:lnTo>
                <a:lnTo>
                  <a:pt x="93688" y="331684"/>
                </a:lnTo>
                <a:lnTo>
                  <a:pt x="106135" y="337180"/>
                </a:lnTo>
                <a:lnTo>
                  <a:pt x="119078" y="341551"/>
                </a:lnTo>
                <a:lnTo>
                  <a:pt x="132464" y="344742"/>
                </a:lnTo>
                <a:lnTo>
                  <a:pt x="146243" y="346697"/>
                </a:lnTo>
                <a:lnTo>
                  <a:pt x="160364" y="347361"/>
                </a:lnTo>
                <a:lnTo>
                  <a:pt x="169067" y="347110"/>
                </a:lnTo>
                <a:lnTo>
                  <a:pt x="182985" y="345647"/>
                </a:lnTo>
                <a:lnTo>
                  <a:pt x="196529" y="342927"/>
                </a:lnTo>
                <a:lnTo>
                  <a:pt x="209649" y="339005"/>
                </a:lnTo>
                <a:lnTo>
                  <a:pt x="222293" y="333937"/>
                </a:lnTo>
                <a:lnTo>
                  <a:pt x="234411" y="327778"/>
                </a:lnTo>
                <a:lnTo>
                  <a:pt x="245952" y="320584"/>
                </a:lnTo>
                <a:lnTo>
                  <a:pt x="256863" y="312410"/>
                </a:lnTo>
                <a:lnTo>
                  <a:pt x="267094" y="303311"/>
                </a:lnTo>
                <a:lnTo>
                  <a:pt x="276593" y="293344"/>
                </a:lnTo>
                <a:lnTo>
                  <a:pt x="285310" y="282563"/>
                </a:lnTo>
                <a:lnTo>
                  <a:pt x="293193" y="271024"/>
                </a:lnTo>
                <a:lnTo>
                  <a:pt x="300192" y="258782"/>
                </a:lnTo>
                <a:lnTo>
                  <a:pt x="306254" y="245893"/>
                </a:lnTo>
                <a:lnTo>
                  <a:pt x="311328" y="232412"/>
                </a:lnTo>
                <a:lnTo>
                  <a:pt x="315364" y="218395"/>
                </a:lnTo>
                <a:lnTo>
                  <a:pt x="318311" y="203897"/>
                </a:lnTo>
                <a:lnTo>
                  <a:pt x="320116" y="188974"/>
                </a:lnTo>
                <a:lnTo>
                  <a:pt x="320729" y="173680"/>
                </a:lnTo>
                <a:lnTo>
                  <a:pt x="320497" y="164254"/>
                </a:lnTo>
                <a:lnTo>
                  <a:pt x="319146" y="149181"/>
                </a:lnTo>
                <a:lnTo>
                  <a:pt x="316634" y="134512"/>
                </a:lnTo>
                <a:lnTo>
                  <a:pt x="313013" y="120303"/>
                </a:lnTo>
                <a:lnTo>
                  <a:pt x="308334" y="106609"/>
                </a:lnTo>
                <a:lnTo>
                  <a:pt x="302647" y="93484"/>
                </a:lnTo>
                <a:lnTo>
                  <a:pt x="296005" y="80986"/>
                </a:lnTo>
                <a:lnTo>
                  <a:pt x="288457" y="69169"/>
                </a:lnTo>
                <a:lnTo>
                  <a:pt x="280056" y="58088"/>
                </a:lnTo>
                <a:lnTo>
                  <a:pt x="270853" y="47800"/>
                </a:lnTo>
                <a:lnTo>
                  <a:pt x="260898" y="38359"/>
                </a:lnTo>
                <a:lnTo>
                  <a:pt x="250244" y="29822"/>
                </a:lnTo>
                <a:lnTo>
                  <a:pt x="238941" y="22242"/>
                </a:lnTo>
                <a:lnTo>
                  <a:pt x="227040" y="15677"/>
                </a:lnTo>
                <a:lnTo>
                  <a:pt x="214592" y="10181"/>
                </a:lnTo>
                <a:lnTo>
                  <a:pt x="201650" y="5810"/>
                </a:lnTo>
                <a:lnTo>
                  <a:pt x="188264" y="2619"/>
                </a:lnTo>
                <a:lnTo>
                  <a:pt x="174484" y="664"/>
                </a:lnTo>
                <a:lnTo>
                  <a:pt x="160364" y="0"/>
                </a:lnTo>
                <a:lnTo>
                  <a:pt x="151661" y="251"/>
                </a:lnTo>
                <a:lnTo>
                  <a:pt x="137744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5" y="13424"/>
                </a:lnTo>
                <a:lnTo>
                  <a:pt x="86317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9"/>
                </a:lnTo>
                <a:lnTo>
                  <a:pt x="5364" y="128966"/>
                </a:lnTo>
                <a:lnTo>
                  <a:pt x="2418" y="143464"/>
                </a:lnTo>
                <a:lnTo>
                  <a:pt x="613" y="158387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8" name="object 58"/>
          <p:cNvSpPr/>
          <p:nvPr/>
        </p:nvSpPr>
        <p:spPr>
          <a:xfrm>
            <a:off x="6332967" y="536389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4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0" name="object 60"/>
          <p:cNvSpPr/>
          <p:nvPr/>
        </p:nvSpPr>
        <p:spPr>
          <a:xfrm>
            <a:off x="5581873" y="580884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2" name="object 62"/>
          <p:cNvSpPr/>
          <p:nvPr/>
        </p:nvSpPr>
        <p:spPr>
          <a:xfrm>
            <a:off x="5930822" y="54871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4" name="object 64"/>
          <p:cNvSpPr/>
          <p:nvPr/>
        </p:nvSpPr>
        <p:spPr>
          <a:xfrm>
            <a:off x="3085618" y="547628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6" name="object 66"/>
          <p:cNvSpPr/>
          <p:nvPr/>
        </p:nvSpPr>
        <p:spPr>
          <a:xfrm>
            <a:off x="3899218" y="509373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8" name="object 68"/>
          <p:cNvSpPr/>
          <p:nvPr/>
        </p:nvSpPr>
        <p:spPr>
          <a:xfrm>
            <a:off x="3578489" y="544276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0" name="object 70"/>
          <p:cNvSpPr/>
          <p:nvPr/>
        </p:nvSpPr>
        <p:spPr>
          <a:xfrm>
            <a:off x="6704400" y="541128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6" name="object 76"/>
          <p:cNvSpPr/>
          <p:nvPr/>
        </p:nvSpPr>
        <p:spPr>
          <a:xfrm>
            <a:off x="7619470" y="533211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8" name="object 78"/>
          <p:cNvSpPr/>
          <p:nvPr/>
        </p:nvSpPr>
        <p:spPr>
          <a:xfrm>
            <a:off x="7171053" y="470027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1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7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1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9"/>
                </a:lnTo>
                <a:lnTo>
                  <a:pt x="35632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8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50" y="291973"/>
                </a:lnTo>
                <a:lnTo>
                  <a:pt x="302221" y="281377"/>
                </a:lnTo>
                <a:lnTo>
                  <a:pt x="310252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59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1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0" name="object 80"/>
          <p:cNvSpPr/>
          <p:nvPr/>
        </p:nvSpPr>
        <p:spPr>
          <a:xfrm>
            <a:off x="7349391" y="505314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5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2" name="object 82"/>
          <p:cNvSpPr/>
          <p:nvPr/>
        </p:nvSpPr>
        <p:spPr>
          <a:xfrm>
            <a:off x="7954470" y="456379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5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6" name="object 86"/>
          <p:cNvSpPr/>
          <p:nvPr/>
        </p:nvSpPr>
        <p:spPr>
          <a:xfrm>
            <a:off x="4849020" y="536256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" name="object 8"/>
          <p:cNvSpPr txBox="1"/>
          <p:nvPr/>
        </p:nvSpPr>
        <p:spPr>
          <a:xfrm>
            <a:off x="2779256" y="6287291"/>
            <a:ext cx="1447614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latin typeface="Calibri"/>
                <a:cs typeface="Calibri"/>
              </a:rPr>
              <a:t>0.7 Income</a:t>
            </a:r>
            <a:endParaRPr sz="2400">
              <a:latin typeface="Calibri"/>
              <a:cs typeface="Calibri"/>
            </a:endParaRPr>
          </a:p>
        </p:txBody>
      </p:sp>
      <p:sp>
        <p:nvSpPr>
          <p:cNvPr id="7" name="object 7"/>
          <p:cNvSpPr txBox="1"/>
          <p:nvPr/>
        </p:nvSpPr>
        <p:spPr>
          <a:xfrm>
            <a:off x="4844916" y="6287291"/>
            <a:ext cx="222924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latin typeface="Calibri"/>
                <a:cs typeface="Calibri"/>
              </a:rPr>
              <a:t>+</a:t>
            </a:r>
            <a:endParaRPr sz="2400">
              <a:latin typeface="Calibri"/>
              <a:cs typeface="Calibri"/>
            </a:endParaRPr>
          </a:p>
        </p:txBody>
      </p:sp>
      <p:sp>
        <p:nvSpPr>
          <p:cNvPr id="6" name="object 6"/>
          <p:cNvSpPr txBox="1"/>
          <p:nvPr/>
        </p:nvSpPr>
        <p:spPr>
          <a:xfrm>
            <a:off x="5616944" y="6287291"/>
            <a:ext cx="457007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latin typeface="Calibri"/>
                <a:cs typeface="Calibri"/>
              </a:rPr>
              <a:t>0.3</a:t>
            </a:r>
            <a:endParaRPr sz="2400">
              <a:latin typeface="Calibri"/>
              <a:cs typeface="Calibri"/>
            </a:endParaRPr>
          </a:p>
        </p:txBody>
      </p:sp>
      <p:sp>
        <p:nvSpPr>
          <p:cNvPr id="5" name="object 5"/>
          <p:cNvSpPr txBox="1"/>
          <p:nvPr/>
        </p:nvSpPr>
        <p:spPr>
          <a:xfrm>
            <a:off x="6071736" y="6287291"/>
            <a:ext cx="54260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latin typeface="Calibri"/>
                <a:cs typeface="Calibri"/>
              </a:rPr>
              <a:t>Age</a:t>
            </a:r>
            <a:endParaRPr sz="2400">
              <a:latin typeface="Calibri"/>
              <a:cs typeface="Calibri"/>
            </a:endParaRPr>
          </a:p>
        </p:txBody>
      </p:sp>
      <p:sp>
        <p:nvSpPr>
          <p:cNvPr id="4" name="object 4"/>
          <p:cNvSpPr txBox="1"/>
          <p:nvPr/>
        </p:nvSpPr>
        <p:spPr>
          <a:xfrm>
            <a:off x="3227773" y="5479167"/>
            <a:ext cx="347472" cy="34747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2" name="object 2"/>
          <p:cNvSpPr txBox="1"/>
          <p:nvPr/>
        </p:nvSpPr>
        <p:spPr>
          <a:xfrm>
            <a:off x="7560302" y="4902867"/>
            <a:ext cx="347472" cy="34747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90" name="object 5"/>
          <p:cNvSpPr txBox="1"/>
          <p:nvPr/>
        </p:nvSpPr>
        <p:spPr>
          <a:xfrm>
            <a:off x="2101916" y="369650"/>
            <a:ext cx="6889684" cy="807913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 marR="41909">
              <a:lnSpc>
                <a:spcPts val="3454"/>
              </a:lnSpc>
              <a:spcBef>
                <a:spcPts val="172"/>
              </a:spcBef>
            </a:pPr>
            <a:r>
              <a:rPr lang="en-US" sz="4800" baseline="2560" dirty="0" smtClean="0">
                <a:solidFill>
                  <a:srgbClr val="4E81BC"/>
                </a:solidFill>
                <a:latin typeface="+mj-lt"/>
                <a:cs typeface="Calibri"/>
              </a:rPr>
              <a:t>Spectral Clustering</a:t>
            </a:r>
            <a:endParaRPr sz="3200" dirty="0">
              <a:latin typeface="+mj-lt"/>
              <a:cs typeface="Calibri"/>
            </a:endParaRPr>
          </a:p>
          <a:p>
            <a:pPr marL="12700">
              <a:lnSpc>
                <a:spcPts val="2770"/>
              </a:lnSpc>
            </a:pPr>
            <a:r>
              <a:rPr lang="en-US" sz="3200" baseline="1137" dirty="0" smtClean="0">
                <a:solidFill>
                  <a:srgbClr val="7F7E7E"/>
                </a:solidFill>
                <a:cs typeface="Calibri"/>
              </a:rPr>
              <a:t>Look at them in the normal space</a:t>
            </a:r>
            <a:endParaRPr lang="en-US" sz="3200" baseline="1137" dirty="0">
              <a:solidFill>
                <a:srgbClr val="7F7E7E"/>
              </a:solidFill>
              <a:cs typeface="Calibri"/>
            </a:endParaRPr>
          </a:p>
        </p:txBody>
      </p:sp>
      <p:sp>
        <p:nvSpPr>
          <p:cNvPr id="92" name="object 70"/>
          <p:cNvSpPr/>
          <p:nvPr/>
        </p:nvSpPr>
        <p:spPr>
          <a:xfrm>
            <a:off x="2383438" y="5943600"/>
            <a:ext cx="6303362" cy="0"/>
          </a:xfrm>
          <a:custGeom>
            <a:avLst/>
            <a:gdLst/>
            <a:ahLst/>
            <a:cxnLst/>
            <a:rect l="l" t="t" r="r" b="b"/>
            <a:pathLst>
              <a:path w="6303362">
                <a:moveTo>
                  <a:pt x="0" y="0"/>
                </a:moveTo>
                <a:lnTo>
                  <a:pt x="6303362" y="0"/>
                </a:lnTo>
              </a:path>
            </a:pathLst>
          </a:custGeom>
          <a:ln w="25399">
            <a:solidFill>
              <a:srgbClr val="6094C9"/>
            </a:solidFill>
            <a:headEnd type="none"/>
            <a:tailEnd type="arrow"/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cxnSp>
        <p:nvCxnSpPr>
          <p:cNvPr id="93" name="Straight Arrow Connector 92"/>
          <p:cNvCxnSpPr/>
          <p:nvPr/>
        </p:nvCxnSpPr>
        <p:spPr>
          <a:xfrm flipV="1">
            <a:off x="2398534" y="2438400"/>
            <a:ext cx="4428457" cy="3494808"/>
          </a:xfrm>
          <a:prstGeom prst="straightConnector1">
            <a:avLst/>
          </a:prstGeom>
          <a:ln w="25399">
            <a:solidFill>
              <a:srgbClr val="6094C9"/>
            </a:solidFill>
            <a:headEnd type="none"/>
            <a:tailEnd type="arrow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cxnSp>
      <p:sp>
        <p:nvSpPr>
          <p:cNvPr id="99" name="object 72"/>
          <p:cNvSpPr/>
          <p:nvPr/>
        </p:nvSpPr>
        <p:spPr>
          <a:xfrm>
            <a:off x="3227773" y="5479167"/>
            <a:ext cx="394167" cy="381727"/>
          </a:xfrm>
          <a:custGeom>
            <a:avLst/>
            <a:gdLst/>
            <a:ahLst/>
            <a:cxnLst/>
            <a:rect l="l" t="t" r="r" b="b"/>
            <a:pathLst>
              <a:path w="394167" h="381727">
                <a:moveTo>
                  <a:pt x="0" y="0"/>
                </a:moveTo>
                <a:lnTo>
                  <a:pt x="394167" y="0"/>
                </a:lnTo>
                <a:lnTo>
                  <a:pt x="394167" y="381727"/>
                </a:lnTo>
                <a:lnTo>
                  <a:pt x="0" y="381727"/>
                </a:lnTo>
                <a:lnTo>
                  <a:pt x="0" y="0"/>
                </a:lnTo>
                <a:close/>
              </a:path>
            </a:pathLst>
          </a:custGeom>
          <a:solidFill>
            <a:srgbClr val="AAC56C"/>
          </a:solidFill>
          <a:ln w="57150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0" name="object 74"/>
          <p:cNvSpPr/>
          <p:nvPr/>
        </p:nvSpPr>
        <p:spPr>
          <a:xfrm>
            <a:off x="5654789" y="5422282"/>
            <a:ext cx="394167" cy="381727"/>
          </a:xfrm>
          <a:custGeom>
            <a:avLst/>
            <a:gdLst/>
            <a:ahLst/>
            <a:cxnLst/>
            <a:rect l="l" t="t" r="r" b="b"/>
            <a:pathLst>
              <a:path w="394167" h="381727">
                <a:moveTo>
                  <a:pt x="0" y="0"/>
                </a:moveTo>
                <a:lnTo>
                  <a:pt x="394167" y="0"/>
                </a:lnTo>
                <a:lnTo>
                  <a:pt x="394167" y="381727"/>
                </a:lnTo>
                <a:lnTo>
                  <a:pt x="0" y="381727"/>
                </a:lnTo>
                <a:lnTo>
                  <a:pt x="0" y="0"/>
                </a:lnTo>
                <a:close/>
              </a:path>
            </a:pathLst>
          </a:custGeom>
          <a:solidFill>
            <a:srgbClr val="59BAD1"/>
          </a:solidFill>
          <a:ln w="57150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1" name="object 84"/>
          <p:cNvSpPr/>
          <p:nvPr/>
        </p:nvSpPr>
        <p:spPr>
          <a:xfrm>
            <a:off x="7560302" y="4902867"/>
            <a:ext cx="394168" cy="381727"/>
          </a:xfrm>
          <a:custGeom>
            <a:avLst/>
            <a:gdLst/>
            <a:ahLst/>
            <a:cxnLst/>
            <a:rect l="l" t="t" r="r" b="b"/>
            <a:pathLst>
              <a:path w="394168" h="381727">
                <a:moveTo>
                  <a:pt x="0" y="0"/>
                </a:moveTo>
                <a:lnTo>
                  <a:pt x="394168" y="0"/>
                </a:lnTo>
                <a:lnTo>
                  <a:pt x="394168" y="381727"/>
                </a:lnTo>
                <a:lnTo>
                  <a:pt x="0" y="381727"/>
                </a:lnTo>
                <a:lnTo>
                  <a:pt x="0" y="0"/>
                </a:lnTo>
                <a:close/>
              </a:path>
            </a:pathLst>
          </a:custGeom>
          <a:solidFill>
            <a:srgbClr val="FAA757"/>
          </a:solidFill>
          <a:ln w="57150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3" name="object 3"/>
          <p:cNvSpPr txBox="1"/>
          <p:nvPr/>
        </p:nvSpPr>
        <p:spPr>
          <a:xfrm>
            <a:off x="5426815" y="6116930"/>
            <a:ext cx="542241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latin typeface="Calibri"/>
                <a:cs typeface="Calibri"/>
              </a:rPr>
              <a:t>Age</a:t>
            </a:r>
            <a:endParaRPr sz="2400">
              <a:latin typeface="Calibri"/>
              <a:cs typeface="Calibri"/>
            </a:endParaRPr>
          </a:p>
        </p:txBody>
      </p:sp>
      <p:sp>
        <p:nvSpPr>
          <p:cNvPr id="84" name="object 82"/>
          <p:cNvSpPr/>
          <p:nvPr/>
        </p:nvSpPr>
        <p:spPr>
          <a:xfrm>
            <a:off x="4414372" y="54871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5" name="object 84"/>
          <p:cNvSpPr/>
          <p:nvPr/>
        </p:nvSpPr>
        <p:spPr>
          <a:xfrm>
            <a:off x="5399747" y="55212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6" name="object 86"/>
          <p:cNvSpPr/>
          <p:nvPr/>
        </p:nvSpPr>
        <p:spPr>
          <a:xfrm>
            <a:off x="6251551" y="55023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7" name="object 74"/>
          <p:cNvSpPr/>
          <p:nvPr/>
        </p:nvSpPr>
        <p:spPr>
          <a:xfrm>
            <a:off x="2668469" y="519520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8" name="object 72"/>
          <p:cNvSpPr/>
          <p:nvPr/>
        </p:nvSpPr>
        <p:spPr>
          <a:xfrm>
            <a:off x="5959366" y="251737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40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80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9" name="object 70"/>
          <p:cNvSpPr/>
          <p:nvPr/>
        </p:nvSpPr>
        <p:spPr>
          <a:xfrm>
            <a:off x="5560113" y="213564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0" name="object 68"/>
          <p:cNvSpPr/>
          <p:nvPr/>
        </p:nvSpPr>
        <p:spPr>
          <a:xfrm>
            <a:off x="5148028" y="1723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1" name="object 66"/>
          <p:cNvSpPr/>
          <p:nvPr/>
        </p:nvSpPr>
        <p:spPr>
          <a:xfrm>
            <a:off x="6872003" y="34121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2" name="object 63"/>
          <p:cNvSpPr/>
          <p:nvPr/>
        </p:nvSpPr>
        <p:spPr>
          <a:xfrm>
            <a:off x="5880842" y="502152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6"/>
                </a:lnTo>
                <a:lnTo>
                  <a:pt x="1583" y="198179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6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2"/>
                </a:lnTo>
                <a:lnTo>
                  <a:pt x="49876" y="299561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6"/>
                </a:lnTo>
                <a:lnTo>
                  <a:pt x="196530" y="342926"/>
                </a:lnTo>
                <a:lnTo>
                  <a:pt x="209650" y="339004"/>
                </a:lnTo>
                <a:lnTo>
                  <a:pt x="222295" y="333936"/>
                </a:lnTo>
                <a:lnTo>
                  <a:pt x="234413" y="327778"/>
                </a:lnTo>
                <a:lnTo>
                  <a:pt x="245953" y="320583"/>
                </a:lnTo>
                <a:lnTo>
                  <a:pt x="256864" y="312409"/>
                </a:lnTo>
                <a:lnTo>
                  <a:pt x="267095" y="303311"/>
                </a:lnTo>
                <a:lnTo>
                  <a:pt x="276595" y="293343"/>
                </a:lnTo>
                <a:lnTo>
                  <a:pt x="285312" y="282562"/>
                </a:lnTo>
                <a:lnTo>
                  <a:pt x="293195" y="271023"/>
                </a:lnTo>
                <a:lnTo>
                  <a:pt x="300193" y="258781"/>
                </a:lnTo>
                <a:lnTo>
                  <a:pt x="306255" y="245892"/>
                </a:lnTo>
                <a:lnTo>
                  <a:pt x="311330" y="232411"/>
                </a:lnTo>
                <a:lnTo>
                  <a:pt x="315366" y="218394"/>
                </a:lnTo>
                <a:lnTo>
                  <a:pt x="318312" y="203896"/>
                </a:lnTo>
                <a:lnTo>
                  <a:pt x="320117" y="188973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9" y="93485"/>
                </a:lnTo>
                <a:lnTo>
                  <a:pt x="296006" y="80986"/>
                </a:lnTo>
                <a:lnTo>
                  <a:pt x="288459" y="69169"/>
                </a:lnTo>
                <a:lnTo>
                  <a:pt x="280058" y="58089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4"/>
                </a:lnTo>
                <a:lnTo>
                  <a:pt x="86318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3" name="object 62"/>
          <p:cNvSpPr/>
          <p:nvPr/>
        </p:nvSpPr>
        <p:spPr>
          <a:xfrm>
            <a:off x="4326962" y="34938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4" name="object 60"/>
          <p:cNvSpPr/>
          <p:nvPr/>
        </p:nvSpPr>
        <p:spPr>
          <a:xfrm>
            <a:off x="3451263" y="457102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5" name="object 58"/>
          <p:cNvSpPr/>
          <p:nvPr/>
        </p:nvSpPr>
        <p:spPr>
          <a:xfrm>
            <a:off x="7513462" y="204543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6" name="object 56"/>
          <p:cNvSpPr/>
          <p:nvPr/>
        </p:nvSpPr>
        <p:spPr>
          <a:xfrm>
            <a:off x="6553321" y="196196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7" name="object 54"/>
          <p:cNvSpPr/>
          <p:nvPr/>
        </p:nvSpPr>
        <p:spPr>
          <a:xfrm>
            <a:off x="7353097" y="275391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8" name="object 52"/>
          <p:cNvSpPr/>
          <p:nvPr/>
        </p:nvSpPr>
        <p:spPr>
          <a:xfrm>
            <a:off x="4696124" y="412086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9" name="object 50"/>
          <p:cNvSpPr/>
          <p:nvPr/>
        </p:nvSpPr>
        <p:spPr>
          <a:xfrm>
            <a:off x="4441297" y="46123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0" name="object 48"/>
          <p:cNvSpPr/>
          <p:nvPr/>
        </p:nvSpPr>
        <p:spPr>
          <a:xfrm>
            <a:off x="3130532" y="40499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1" name="object 42"/>
          <p:cNvSpPr/>
          <p:nvPr/>
        </p:nvSpPr>
        <p:spPr>
          <a:xfrm>
            <a:off x="5748103" y="33118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2" name="object 44"/>
          <p:cNvSpPr/>
          <p:nvPr/>
        </p:nvSpPr>
        <p:spPr>
          <a:xfrm>
            <a:off x="5560113" y="25802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3" name="object 46"/>
          <p:cNvSpPr/>
          <p:nvPr/>
        </p:nvSpPr>
        <p:spPr>
          <a:xfrm>
            <a:off x="5421508" y="296447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4" name="object 40"/>
          <p:cNvSpPr/>
          <p:nvPr/>
        </p:nvSpPr>
        <p:spPr>
          <a:xfrm>
            <a:off x="5213120" y="49216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5" name="object 38"/>
          <p:cNvSpPr/>
          <p:nvPr/>
        </p:nvSpPr>
        <p:spPr>
          <a:xfrm>
            <a:off x="7032365" y="221911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6" name="object 36"/>
          <p:cNvSpPr/>
          <p:nvPr/>
        </p:nvSpPr>
        <p:spPr>
          <a:xfrm>
            <a:off x="7385165" y="340218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6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7"/>
                </a:lnTo>
                <a:lnTo>
                  <a:pt x="310251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7" name="object 34"/>
          <p:cNvSpPr/>
          <p:nvPr/>
        </p:nvSpPr>
        <p:spPr>
          <a:xfrm>
            <a:off x="5038354" y="24830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8" name="object 32"/>
          <p:cNvSpPr/>
          <p:nvPr/>
        </p:nvSpPr>
        <p:spPr>
          <a:xfrm>
            <a:off x="7192732" y="159327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9" name="object 30"/>
          <p:cNvSpPr/>
          <p:nvPr/>
        </p:nvSpPr>
        <p:spPr>
          <a:xfrm>
            <a:off x="6201572" y="316997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0" name="object 28"/>
          <p:cNvSpPr/>
          <p:nvPr/>
        </p:nvSpPr>
        <p:spPr>
          <a:xfrm>
            <a:off x="4877989" y="532865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1" name="object 26"/>
          <p:cNvSpPr/>
          <p:nvPr/>
        </p:nvSpPr>
        <p:spPr>
          <a:xfrm>
            <a:off x="5581873" y="4521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2" name="object 24"/>
          <p:cNvSpPr/>
          <p:nvPr/>
        </p:nvSpPr>
        <p:spPr>
          <a:xfrm>
            <a:off x="3528670" y="35173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3" name="object 22"/>
          <p:cNvSpPr/>
          <p:nvPr/>
        </p:nvSpPr>
        <p:spPr>
          <a:xfrm>
            <a:off x="3252845" y="520650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4" name="object 20"/>
          <p:cNvSpPr/>
          <p:nvPr/>
        </p:nvSpPr>
        <p:spPr>
          <a:xfrm>
            <a:off x="3849401" y="4051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5" name="object 18"/>
          <p:cNvSpPr/>
          <p:nvPr/>
        </p:nvSpPr>
        <p:spPr>
          <a:xfrm>
            <a:off x="6713687" y="269105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6" name="object 6"/>
          <p:cNvSpPr txBox="1"/>
          <p:nvPr/>
        </p:nvSpPr>
        <p:spPr>
          <a:xfrm>
            <a:off x="1332125" y="3759280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grpSp>
        <p:nvGrpSpPr>
          <p:cNvPr id="117" name="Group 116"/>
          <p:cNvGrpSpPr/>
          <p:nvPr/>
        </p:nvGrpSpPr>
        <p:grpSpPr>
          <a:xfrm>
            <a:off x="2383438" y="1888930"/>
            <a:ext cx="6303362" cy="4054670"/>
            <a:chOff x="2343901" y="1923700"/>
            <a:chExt cx="6303362" cy="4054670"/>
          </a:xfrm>
        </p:grpSpPr>
        <p:sp>
          <p:nvSpPr>
            <p:cNvPr id="118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119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  <p:sp>
        <p:nvSpPr>
          <p:cNvPr id="120" name="object 5"/>
          <p:cNvSpPr txBox="1"/>
          <p:nvPr/>
        </p:nvSpPr>
        <p:spPr>
          <a:xfrm>
            <a:off x="2101916" y="369650"/>
            <a:ext cx="6889684" cy="807913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 marR="41909">
              <a:lnSpc>
                <a:spcPts val="3454"/>
              </a:lnSpc>
              <a:spcBef>
                <a:spcPts val="172"/>
              </a:spcBef>
            </a:pPr>
            <a:r>
              <a:rPr lang="en-US" sz="4800" baseline="2560" dirty="0" smtClean="0">
                <a:solidFill>
                  <a:srgbClr val="4E81BC"/>
                </a:solidFill>
                <a:latin typeface="+mj-lt"/>
                <a:cs typeface="Calibri"/>
              </a:rPr>
              <a:t>Spectral Clustering</a:t>
            </a:r>
            <a:endParaRPr sz="3200" dirty="0">
              <a:latin typeface="+mj-lt"/>
              <a:cs typeface="Calibri"/>
            </a:endParaRPr>
          </a:p>
          <a:p>
            <a:pPr marL="12700">
              <a:lnSpc>
                <a:spcPts val="2770"/>
              </a:lnSpc>
            </a:pPr>
            <a:r>
              <a:rPr lang="en-US" sz="3200" baseline="1137" dirty="0" smtClean="0">
                <a:solidFill>
                  <a:srgbClr val="7F7E7E"/>
                </a:solidFill>
                <a:cs typeface="Calibri"/>
              </a:rPr>
              <a:t>Look at them in the normal space</a:t>
            </a:r>
            <a:endParaRPr lang="en-US" sz="3200" baseline="1137" dirty="0">
              <a:solidFill>
                <a:srgbClr val="7F7E7E"/>
              </a:solidFill>
              <a:cs typeface="Calibri"/>
            </a:endParaRPr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bject 4"/>
          <p:cNvSpPr txBox="1"/>
          <p:nvPr/>
        </p:nvSpPr>
        <p:spPr>
          <a:xfrm>
            <a:off x="604887" y="1905000"/>
            <a:ext cx="7853313" cy="423193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>
              <a:lnSpc>
                <a:spcPts val="3265"/>
              </a:lnSpc>
            </a:pPr>
            <a:r>
              <a:rPr sz="3200" b="1" spc="0" dirty="0" smtClean="0">
                <a:solidFill>
                  <a:srgbClr val="7F7E7E"/>
                </a:solidFill>
                <a:cs typeface="Calibri"/>
              </a:rPr>
              <a:t>fr</a:t>
            </a:r>
            <a:r>
              <a:rPr sz="3200" b="1" spc="-4" dirty="0" smtClean="0">
                <a:solidFill>
                  <a:srgbClr val="7F7E7E"/>
                </a:solidFill>
                <a:cs typeface="Calibri"/>
              </a:rPr>
              <a:t>o</a:t>
            </a:r>
            <a:r>
              <a:rPr sz="3200" b="1" spc="0" dirty="0" smtClean="0">
                <a:solidFill>
                  <a:srgbClr val="7F7E7E"/>
                </a:solidFill>
                <a:cs typeface="Calibri"/>
              </a:rPr>
              <a:t>m </a:t>
            </a:r>
            <a:r>
              <a:rPr sz="3200" spc="0" dirty="0" smtClean="0">
                <a:solidFill>
                  <a:srgbClr val="4E81BC"/>
                </a:solidFill>
                <a:cs typeface="Calibri"/>
              </a:rPr>
              <a:t>sklearn.cluster </a:t>
            </a:r>
            <a:r>
              <a:rPr sz="3200" b="1" spc="0" dirty="0" smtClean="0">
                <a:solidFill>
                  <a:srgbClr val="7F7E7E"/>
                </a:solidFill>
                <a:cs typeface="Calibri"/>
              </a:rPr>
              <a:t>impo</a:t>
            </a:r>
            <a:r>
              <a:rPr sz="3200" b="1" spc="4" dirty="0" smtClean="0">
                <a:solidFill>
                  <a:srgbClr val="7F7E7E"/>
                </a:solidFill>
                <a:cs typeface="Calibri"/>
              </a:rPr>
              <a:t>r</a:t>
            </a:r>
            <a:r>
              <a:rPr sz="3200" b="1" spc="0" dirty="0" smtClean="0">
                <a:solidFill>
                  <a:srgbClr val="7F7E7E"/>
                </a:solidFill>
                <a:cs typeface="Calibri"/>
              </a:rPr>
              <a:t>t </a:t>
            </a:r>
            <a:r>
              <a:rPr sz="3200" spc="0" dirty="0" smtClean="0">
                <a:solidFill>
                  <a:srgbClr val="9BBA58"/>
                </a:solidFill>
                <a:cs typeface="Calibri"/>
              </a:rPr>
              <a:t>SpectralClustering</a:t>
            </a:r>
            <a:endParaRPr sz="3200" dirty="0">
              <a:cs typeface="Calibri"/>
            </a:endParaRPr>
          </a:p>
        </p:txBody>
      </p:sp>
      <p:sp>
        <p:nvSpPr>
          <p:cNvPr id="3" name="object 3"/>
          <p:cNvSpPr txBox="1"/>
          <p:nvPr/>
        </p:nvSpPr>
        <p:spPr>
          <a:xfrm>
            <a:off x="604886" y="3008777"/>
            <a:ext cx="7853313" cy="359073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 lvl="0">
              <a:lnSpc>
                <a:spcPts val="2800"/>
              </a:lnSpc>
              <a:spcBef>
                <a:spcPts val="140"/>
              </a:spcBef>
            </a:pPr>
            <a:r>
              <a:rPr sz="3200" spc="0" baseline="2100" dirty="0" err="1" smtClean="0">
                <a:solidFill>
                  <a:srgbClr val="7F7E7E"/>
                </a:solidFill>
                <a:cs typeface="Calibri"/>
              </a:rPr>
              <a:t>SpectralClustering</a:t>
            </a:r>
            <a:r>
              <a:rPr sz="3200" spc="0" baseline="2100" dirty="0" smtClean="0">
                <a:solidFill>
                  <a:srgbClr val="7F7E7E"/>
                </a:solidFill>
                <a:cs typeface="Calibri"/>
              </a:rPr>
              <a:t>( </a:t>
            </a:r>
            <a:r>
              <a:rPr sz="3200" spc="0" baseline="2100" dirty="0" err="1" smtClean="0">
                <a:solidFill>
                  <a:srgbClr val="7F7E7E"/>
                </a:solidFill>
                <a:cs typeface="Calibri"/>
              </a:rPr>
              <a:t>n_clusters</a:t>
            </a:r>
            <a:r>
              <a:rPr sz="3200" spc="0" baseline="2100" dirty="0" smtClean="0">
                <a:solidFill>
                  <a:srgbClr val="7F7E7E"/>
                </a:solidFill>
                <a:cs typeface="Calibri"/>
              </a:rPr>
              <a:t>=8,</a:t>
            </a:r>
            <a:r>
              <a:rPr lang="en-US" sz="3200" spc="0" baseline="2100" dirty="0" smtClean="0">
                <a:solidFill>
                  <a:srgbClr val="7F7E7E"/>
                </a:solidFill>
                <a:cs typeface="Calibri"/>
              </a:rPr>
              <a:t> </a:t>
            </a:r>
            <a:r>
              <a:rPr lang="en-US" sz="3200" baseline="2100" dirty="0" err="1">
                <a:solidFill>
                  <a:srgbClr val="7F7E7E"/>
                </a:solidFill>
                <a:cs typeface="Calibri"/>
              </a:rPr>
              <a:t>n_init</a:t>
            </a:r>
            <a:r>
              <a:rPr lang="en-US" sz="3200" baseline="2100" dirty="0">
                <a:solidFill>
                  <a:srgbClr val="7F7E7E"/>
                </a:solidFill>
                <a:cs typeface="Calibri"/>
              </a:rPr>
              <a:t>=10 </a:t>
            </a:r>
            <a:r>
              <a:rPr lang="en-US" sz="3200" baseline="2100" dirty="0" smtClean="0">
                <a:solidFill>
                  <a:srgbClr val="7F7E7E"/>
                </a:solidFill>
                <a:cs typeface="Calibri"/>
              </a:rPr>
              <a:t>)</a:t>
            </a:r>
            <a:endParaRPr lang="en-US" sz="3200" dirty="0">
              <a:solidFill>
                <a:prstClr val="black"/>
              </a:solidFill>
              <a:cs typeface="Calibri"/>
            </a:endParaRPr>
          </a:p>
        </p:txBody>
      </p:sp>
      <p:sp>
        <p:nvSpPr>
          <p:cNvPr id="2" name="object 2"/>
          <p:cNvSpPr txBox="1"/>
          <p:nvPr/>
        </p:nvSpPr>
        <p:spPr>
          <a:xfrm>
            <a:off x="5230912" y="2687303"/>
            <a:ext cx="1522426" cy="3556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800"/>
              </a:lnSpc>
              <a:spcBef>
                <a:spcPts val="140"/>
              </a:spcBef>
            </a:pPr>
            <a:endParaRPr sz="2600" dirty="0">
              <a:latin typeface="Calibri"/>
              <a:cs typeface="Calibri"/>
            </a:endParaRPr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ject 3"/>
          <p:cNvSpPr/>
          <p:nvPr/>
        </p:nvSpPr>
        <p:spPr>
          <a:xfrm>
            <a:off x="1041400" y="3691729"/>
            <a:ext cx="7048498" cy="2099471"/>
          </a:xfrm>
          <a:prstGeom prst="rect">
            <a:avLst/>
          </a:prstGeom>
          <a:blipFill>
            <a:blip r:embed="rId2" cstate="print"/>
            <a:srcRect/>
            <a:stretch>
              <a:fillRect b="-43970"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2" name="object 2"/>
          <p:cNvSpPr txBox="1"/>
          <p:nvPr/>
        </p:nvSpPr>
        <p:spPr>
          <a:xfrm>
            <a:off x="940428" y="2140471"/>
            <a:ext cx="7593972" cy="1205458"/>
          </a:xfrm>
          <a:prstGeom prst="rect">
            <a:avLst/>
          </a:prstGeom>
        </p:spPr>
        <p:txBody>
          <a:bodyPr wrap="square" lIns="0" tIns="0" rIns="0" bIns="0" rtlCol="0" anchor="b" anchorCtr="0">
            <a:spAutoFit/>
          </a:bodyPr>
          <a:lstStyle/>
          <a:p>
            <a:pPr algn="ctr">
              <a:lnSpc>
                <a:spcPts val="4715"/>
              </a:lnSpc>
            </a:pPr>
            <a:r>
              <a:rPr lang="en-US" sz="6600" baseline="3103" dirty="0" smtClean="0">
                <a:solidFill>
                  <a:srgbClr val="F69545"/>
                </a:solidFill>
                <a:cs typeface="Calibri"/>
              </a:rPr>
              <a:t>Properties, Advantages, Disadvantages</a:t>
            </a:r>
            <a:endParaRPr lang="en-US" sz="6600" baseline="3103" dirty="0">
              <a:solidFill>
                <a:srgbClr val="F69545"/>
              </a:solidFill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555804073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1" name="Object 160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6240914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Rectangle 22"/>
          <p:cNvSpPr/>
          <p:nvPr/>
        </p:nvSpPr>
        <p:spPr>
          <a:xfrm>
            <a:off x="114300" y="381000"/>
            <a:ext cx="1422040" cy="1524000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30" name="TextBox 29"/>
          <p:cNvSpPr txBox="1"/>
          <p:nvPr/>
        </p:nvSpPr>
        <p:spPr>
          <a:xfrm>
            <a:off x="143926" y="1719329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 smtClean="0">
                <a:solidFill>
                  <a:srgbClr val="7F7E7E"/>
                </a:solidFill>
              </a:rPr>
              <a:t>.01s</a:t>
            </a:r>
            <a:endParaRPr lang="en-US" sz="1000" dirty="0">
              <a:solidFill>
                <a:srgbClr val="7F7E7E"/>
              </a:solidFill>
            </a:endParaRPr>
          </a:p>
        </p:txBody>
      </p:sp>
      <p:sp>
        <p:nvSpPr>
          <p:cNvPr id="34" name="Rectangle 33"/>
          <p:cNvSpPr/>
          <p:nvPr/>
        </p:nvSpPr>
        <p:spPr>
          <a:xfrm>
            <a:off x="1612972" y="381000"/>
            <a:ext cx="1422040" cy="1524000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35" name="TextBox 34"/>
          <p:cNvSpPr txBox="1"/>
          <p:nvPr/>
        </p:nvSpPr>
        <p:spPr>
          <a:xfrm>
            <a:off x="1642598" y="1719329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 smtClean="0">
                <a:solidFill>
                  <a:srgbClr val="7F7E7E"/>
                </a:solidFill>
              </a:rPr>
              <a:t>8.17s</a:t>
            </a:r>
            <a:endParaRPr lang="en-US" sz="1000" dirty="0">
              <a:solidFill>
                <a:srgbClr val="7F7E7E"/>
              </a:solidFill>
            </a:endParaRPr>
          </a:p>
        </p:txBody>
      </p:sp>
      <p:sp>
        <p:nvSpPr>
          <p:cNvPr id="37" name="Rectangle 36"/>
          <p:cNvSpPr/>
          <p:nvPr/>
        </p:nvSpPr>
        <p:spPr>
          <a:xfrm>
            <a:off x="3111644" y="381000"/>
            <a:ext cx="1422040" cy="1524000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38" name="TextBox 37"/>
          <p:cNvSpPr txBox="1"/>
          <p:nvPr/>
        </p:nvSpPr>
        <p:spPr>
          <a:xfrm>
            <a:off x="3141270" y="1719329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 smtClean="0">
                <a:solidFill>
                  <a:srgbClr val="7F7E7E"/>
                </a:solidFill>
              </a:rPr>
              <a:t>.02s</a:t>
            </a:r>
            <a:endParaRPr lang="en-US" sz="1000" dirty="0">
              <a:solidFill>
                <a:srgbClr val="7F7E7E"/>
              </a:solidFill>
            </a:endParaRPr>
          </a:p>
        </p:txBody>
      </p:sp>
      <p:sp>
        <p:nvSpPr>
          <p:cNvPr id="40" name="Rectangle 39"/>
          <p:cNvSpPr/>
          <p:nvPr/>
        </p:nvSpPr>
        <p:spPr>
          <a:xfrm>
            <a:off x="4610317" y="381000"/>
            <a:ext cx="1422040" cy="1524000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41" name="TextBox 40"/>
          <p:cNvSpPr txBox="1"/>
          <p:nvPr/>
        </p:nvSpPr>
        <p:spPr>
          <a:xfrm>
            <a:off x="4639943" y="1719329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 smtClean="0">
                <a:solidFill>
                  <a:srgbClr val="7F7E7E"/>
                </a:solidFill>
              </a:rPr>
              <a:t>.31s</a:t>
            </a:r>
            <a:endParaRPr lang="en-US" sz="1000" dirty="0">
              <a:solidFill>
                <a:srgbClr val="7F7E7E"/>
              </a:solidFill>
            </a:endParaRPr>
          </a:p>
        </p:txBody>
      </p:sp>
      <p:sp>
        <p:nvSpPr>
          <p:cNvPr id="43" name="Rectangle 42"/>
          <p:cNvSpPr/>
          <p:nvPr/>
        </p:nvSpPr>
        <p:spPr>
          <a:xfrm>
            <a:off x="6108989" y="381000"/>
            <a:ext cx="1422040" cy="1524000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44" name="TextBox 43"/>
          <p:cNvSpPr txBox="1"/>
          <p:nvPr/>
        </p:nvSpPr>
        <p:spPr>
          <a:xfrm>
            <a:off x="6138615" y="1719329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 smtClean="0">
                <a:solidFill>
                  <a:srgbClr val="7F7E7E"/>
                </a:solidFill>
              </a:rPr>
              <a:t>.21s</a:t>
            </a:r>
            <a:endParaRPr lang="en-US" sz="1000" dirty="0">
              <a:solidFill>
                <a:srgbClr val="7F7E7E"/>
              </a:solidFill>
            </a:endParaRPr>
          </a:p>
        </p:txBody>
      </p:sp>
      <p:sp>
        <p:nvSpPr>
          <p:cNvPr id="46" name="Rectangle 45"/>
          <p:cNvSpPr/>
          <p:nvPr/>
        </p:nvSpPr>
        <p:spPr>
          <a:xfrm>
            <a:off x="7607660" y="381000"/>
            <a:ext cx="1422040" cy="1524000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47" name="TextBox 46"/>
          <p:cNvSpPr txBox="1"/>
          <p:nvPr/>
        </p:nvSpPr>
        <p:spPr>
          <a:xfrm>
            <a:off x="7637286" y="1719329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 smtClean="0">
                <a:solidFill>
                  <a:srgbClr val="7F7E7E"/>
                </a:solidFill>
              </a:rPr>
              <a:t>.10s</a:t>
            </a:r>
            <a:endParaRPr lang="en-US" sz="1000" dirty="0">
              <a:solidFill>
                <a:srgbClr val="7F7E7E"/>
              </a:solidFill>
            </a:endParaRPr>
          </a:p>
        </p:txBody>
      </p:sp>
      <p:sp>
        <p:nvSpPr>
          <p:cNvPr id="67" name="Rectangle 66"/>
          <p:cNvSpPr/>
          <p:nvPr/>
        </p:nvSpPr>
        <p:spPr>
          <a:xfrm>
            <a:off x="114300" y="1981200"/>
            <a:ext cx="1422040" cy="1524000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68" name="TextBox 67"/>
          <p:cNvSpPr txBox="1"/>
          <p:nvPr/>
        </p:nvSpPr>
        <p:spPr>
          <a:xfrm>
            <a:off x="143926" y="3319529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 smtClean="0">
                <a:solidFill>
                  <a:srgbClr val="7F7E7E"/>
                </a:solidFill>
              </a:rPr>
              <a:t>0.1s</a:t>
            </a:r>
            <a:endParaRPr lang="en-US" sz="1000" dirty="0">
              <a:solidFill>
                <a:srgbClr val="7F7E7E"/>
              </a:solidFill>
            </a:endParaRPr>
          </a:p>
        </p:txBody>
      </p:sp>
      <p:sp>
        <p:nvSpPr>
          <p:cNvPr id="65" name="Rectangle 64"/>
          <p:cNvSpPr/>
          <p:nvPr/>
        </p:nvSpPr>
        <p:spPr>
          <a:xfrm>
            <a:off x="1612972" y="1981200"/>
            <a:ext cx="1422040" cy="1524000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66" name="TextBox 65"/>
          <p:cNvSpPr txBox="1"/>
          <p:nvPr/>
        </p:nvSpPr>
        <p:spPr>
          <a:xfrm>
            <a:off x="1642598" y="3319529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 smtClean="0">
                <a:solidFill>
                  <a:srgbClr val="7F7E7E"/>
                </a:solidFill>
              </a:rPr>
              <a:t>8.17s</a:t>
            </a:r>
            <a:endParaRPr lang="en-US" sz="1000" dirty="0">
              <a:solidFill>
                <a:srgbClr val="7F7E7E"/>
              </a:solidFill>
            </a:endParaRPr>
          </a:p>
        </p:txBody>
      </p:sp>
      <p:sp>
        <p:nvSpPr>
          <p:cNvPr id="63" name="Rectangle 62"/>
          <p:cNvSpPr/>
          <p:nvPr/>
        </p:nvSpPr>
        <p:spPr>
          <a:xfrm>
            <a:off x="3111644" y="1981200"/>
            <a:ext cx="1422040" cy="1524000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64" name="TextBox 63"/>
          <p:cNvSpPr txBox="1"/>
          <p:nvPr/>
        </p:nvSpPr>
        <p:spPr>
          <a:xfrm>
            <a:off x="3141270" y="3319529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 smtClean="0">
                <a:solidFill>
                  <a:srgbClr val="7F7E7E"/>
                </a:solidFill>
              </a:rPr>
              <a:t>.03s</a:t>
            </a:r>
            <a:endParaRPr lang="en-US" sz="1000" dirty="0">
              <a:solidFill>
                <a:srgbClr val="7F7E7E"/>
              </a:solidFill>
            </a:endParaRPr>
          </a:p>
        </p:txBody>
      </p:sp>
      <p:sp>
        <p:nvSpPr>
          <p:cNvPr id="61" name="Rectangle 60"/>
          <p:cNvSpPr/>
          <p:nvPr/>
        </p:nvSpPr>
        <p:spPr>
          <a:xfrm>
            <a:off x="4610317" y="1981200"/>
            <a:ext cx="1422040" cy="1524000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62" name="TextBox 61"/>
          <p:cNvSpPr txBox="1"/>
          <p:nvPr/>
        </p:nvSpPr>
        <p:spPr>
          <a:xfrm>
            <a:off x="4639943" y="3319529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 smtClean="0">
                <a:solidFill>
                  <a:srgbClr val="7F7E7E"/>
                </a:solidFill>
              </a:rPr>
              <a:t>.03s</a:t>
            </a:r>
            <a:endParaRPr lang="en-US" sz="1000" dirty="0">
              <a:solidFill>
                <a:srgbClr val="7F7E7E"/>
              </a:solidFill>
            </a:endParaRPr>
          </a:p>
        </p:txBody>
      </p:sp>
      <p:sp>
        <p:nvSpPr>
          <p:cNvPr id="59" name="Rectangle 58"/>
          <p:cNvSpPr/>
          <p:nvPr/>
        </p:nvSpPr>
        <p:spPr>
          <a:xfrm>
            <a:off x="6108989" y="1981200"/>
            <a:ext cx="1422040" cy="1524000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60" name="TextBox 59"/>
          <p:cNvSpPr txBox="1"/>
          <p:nvPr/>
        </p:nvSpPr>
        <p:spPr>
          <a:xfrm>
            <a:off x="6138615" y="3319529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 smtClean="0">
                <a:solidFill>
                  <a:srgbClr val="7F7E7E"/>
                </a:solidFill>
              </a:rPr>
              <a:t>.26s</a:t>
            </a:r>
            <a:endParaRPr lang="en-US" sz="1000" dirty="0">
              <a:solidFill>
                <a:srgbClr val="7F7E7E"/>
              </a:solidFill>
            </a:endParaRPr>
          </a:p>
        </p:txBody>
      </p:sp>
      <p:sp>
        <p:nvSpPr>
          <p:cNvPr id="57" name="Rectangle 56"/>
          <p:cNvSpPr/>
          <p:nvPr/>
        </p:nvSpPr>
        <p:spPr>
          <a:xfrm>
            <a:off x="7607660" y="1981200"/>
            <a:ext cx="1422040" cy="1524000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58" name="TextBox 57"/>
          <p:cNvSpPr txBox="1"/>
          <p:nvPr/>
        </p:nvSpPr>
        <p:spPr>
          <a:xfrm>
            <a:off x="7637286" y="3319529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 smtClean="0">
                <a:solidFill>
                  <a:srgbClr val="7F7E7E"/>
                </a:solidFill>
              </a:rPr>
              <a:t>.10s</a:t>
            </a:r>
            <a:endParaRPr lang="en-US" sz="1000" dirty="0">
              <a:solidFill>
                <a:srgbClr val="7F7E7E"/>
              </a:solidFill>
            </a:endParaRPr>
          </a:p>
        </p:txBody>
      </p:sp>
      <p:sp>
        <p:nvSpPr>
          <p:cNvPr id="86" name="Rectangle 85"/>
          <p:cNvSpPr/>
          <p:nvPr/>
        </p:nvSpPr>
        <p:spPr>
          <a:xfrm>
            <a:off x="114300" y="3581400"/>
            <a:ext cx="1422040" cy="1524000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87" name="TextBox 86"/>
          <p:cNvSpPr txBox="1"/>
          <p:nvPr/>
        </p:nvSpPr>
        <p:spPr>
          <a:xfrm>
            <a:off x="143926" y="4919729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 smtClean="0">
                <a:solidFill>
                  <a:srgbClr val="7F7E7E"/>
                </a:solidFill>
              </a:rPr>
              <a:t>.01s</a:t>
            </a:r>
            <a:endParaRPr lang="en-US" sz="1000" dirty="0">
              <a:solidFill>
                <a:srgbClr val="7F7E7E"/>
              </a:solidFill>
            </a:endParaRPr>
          </a:p>
        </p:txBody>
      </p:sp>
      <p:sp>
        <p:nvSpPr>
          <p:cNvPr id="84" name="Rectangle 83"/>
          <p:cNvSpPr/>
          <p:nvPr/>
        </p:nvSpPr>
        <p:spPr>
          <a:xfrm>
            <a:off x="1612972" y="3581400"/>
            <a:ext cx="1422040" cy="1524000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85" name="TextBox 84"/>
          <p:cNvSpPr txBox="1"/>
          <p:nvPr/>
        </p:nvSpPr>
        <p:spPr>
          <a:xfrm>
            <a:off x="1642598" y="4919729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 smtClean="0">
                <a:solidFill>
                  <a:srgbClr val="7F7E7E"/>
                </a:solidFill>
              </a:rPr>
              <a:t>8.45s</a:t>
            </a:r>
            <a:endParaRPr lang="en-US" sz="1000" dirty="0">
              <a:solidFill>
                <a:srgbClr val="7F7E7E"/>
              </a:solidFill>
            </a:endParaRPr>
          </a:p>
        </p:txBody>
      </p:sp>
      <p:sp>
        <p:nvSpPr>
          <p:cNvPr id="82" name="Rectangle 81"/>
          <p:cNvSpPr/>
          <p:nvPr/>
        </p:nvSpPr>
        <p:spPr>
          <a:xfrm>
            <a:off x="3111644" y="3581400"/>
            <a:ext cx="1422040" cy="1524000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83" name="TextBox 82"/>
          <p:cNvSpPr txBox="1"/>
          <p:nvPr/>
        </p:nvSpPr>
        <p:spPr>
          <a:xfrm>
            <a:off x="3141270" y="4919729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 smtClean="0">
                <a:solidFill>
                  <a:srgbClr val="7F7E7E"/>
                </a:solidFill>
              </a:rPr>
              <a:t>.03s</a:t>
            </a:r>
            <a:endParaRPr lang="en-US" sz="1000" dirty="0">
              <a:solidFill>
                <a:srgbClr val="7F7E7E"/>
              </a:solidFill>
            </a:endParaRPr>
          </a:p>
        </p:txBody>
      </p:sp>
      <p:sp>
        <p:nvSpPr>
          <p:cNvPr id="80" name="Rectangle 79"/>
          <p:cNvSpPr/>
          <p:nvPr/>
        </p:nvSpPr>
        <p:spPr>
          <a:xfrm>
            <a:off x="4610317" y="3581400"/>
            <a:ext cx="1422040" cy="1524000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81" name="TextBox 80"/>
          <p:cNvSpPr txBox="1"/>
          <p:nvPr/>
        </p:nvSpPr>
        <p:spPr>
          <a:xfrm>
            <a:off x="4639943" y="4919729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 smtClean="0">
                <a:solidFill>
                  <a:srgbClr val="7F7E7E"/>
                </a:solidFill>
              </a:rPr>
              <a:t>.04s</a:t>
            </a:r>
            <a:endParaRPr lang="en-US" sz="1000" dirty="0">
              <a:solidFill>
                <a:srgbClr val="7F7E7E"/>
              </a:solidFill>
            </a:endParaRPr>
          </a:p>
        </p:txBody>
      </p:sp>
      <p:sp>
        <p:nvSpPr>
          <p:cNvPr id="78" name="Rectangle 77"/>
          <p:cNvSpPr/>
          <p:nvPr/>
        </p:nvSpPr>
        <p:spPr>
          <a:xfrm>
            <a:off x="6108989" y="3581400"/>
            <a:ext cx="1422040" cy="1524000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79" name="TextBox 78"/>
          <p:cNvSpPr txBox="1"/>
          <p:nvPr/>
        </p:nvSpPr>
        <p:spPr>
          <a:xfrm>
            <a:off x="6138615" y="4919729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 smtClean="0">
                <a:solidFill>
                  <a:srgbClr val="7F7E7E"/>
                </a:solidFill>
              </a:rPr>
              <a:t>.31s</a:t>
            </a:r>
            <a:endParaRPr lang="en-US" sz="1000" dirty="0">
              <a:solidFill>
                <a:srgbClr val="7F7E7E"/>
              </a:solidFill>
            </a:endParaRPr>
          </a:p>
        </p:txBody>
      </p:sp>
      <p:sp>
        <p:nvSpPr>
          <p:cNvPr id="76" name="Rectangle 75"/>
          <p:cNvSpPr/>
          <p:nvPr/>
        </p:nvSpPr>
        <p:spPr>
          <a:xfrm>
            <a:off x="7607660" y="3581400"/>
            <a:ext cx="1422040" cy="1524000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77" name="TextBox 76"/>
          <p:cNvSpPr txBox="1"/>
          <p:nvPr/>
        </p:nvSpPr>
        <p:spPr>
          <a:xfrm>
            <a:off x="7637286" y="4919729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 smtClean="0">
                <a:solidFill>
                  <a:srgbClr val="7F7E7E"/>
                </a:solidFill>
              </a:rPr>
              <a:t>.11s</a:t>
            </a:r>
            <a:endParaRPr lang="en-US" sz="1000" dirty="0">
              <a:solidFill>
                <a:srgbClr val="7F7E7E"/>
              </a:solidFill>
            </a:endParaRPr>
          </a:p>
        </p:txBody>
      </p:sp>
      <p:sp>
        <p:nvSpPr>
          <p:cNvPr id="105" name="Rectangle 104"/>
          <p:cNvSpPr/>
          <p:nvPr/>
        </p:nvSpPr>
        <p:spPr>
          <a:xfrm>
            <a:off x="114300" y="5181600"/>
            <a:ext cx="1422040" cy="1524000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106" name="TextBox 105"/>
          <p:cNvSpPr txBox="1"/>
          <p:nvPr/>
        </p:nvSpPr>
        <p:spPr>
          <a:xfrm>
            <a:off x="143926" y="6519929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 smtClean="0">
                <a:solidFill>
                  <a:srgbClr val="7F7E7E"/>
                </a:solidFill>
              </a:rPr>
              <a:t>.02s</a:t>
            </a:r>
            <a:endParaRPr lang="en-US" sz="1000" dirty="0">
              <a:solidFill>
                <a:srgbClr val="7F7E7E"/>
              </a:solidFill>
            </a:endParaRPr>
          </a:p>
        </p:txBody>
      </p:sp>
      <p:sp>
        <p:nvSpPr>
          <p:cNvPr id="103" name="Rectangle 102"/>
          <p:cNvSpPr/>
          <p:nvPr/>
        </p:nvSpPr>
        <p:spPr>
          <a:xfrm>
            <a:off x="1612972" y="5181600"/>
            <a:ext cx="1422040" cy="1524000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104" name="TextBox 103"/>
          <p:cNvSpPr txBox="1"/>
          <p:nvPr/>
        </p:nvSpPr>
        <p:spPr>
          <a:xfrm>
            <a:off x="1642598" y="6519929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 smtClean="0">
                <a:solidFill>
                  <a:srgbClr val="7F7E7E"/>
                </a:solidFill>
              </a:rPr>
              <a:t>8.53s</a:t>
            </a:r>
            <a:endParaRPr lang="en-US" sz="1000" dirty="0">
              <a:solidFill>
                <a:srgbClr val="7F7E7E"/>
              </a:solidFill>
            </a:endParaRPr>
          </a:p>
        </p:txBody>
      </p:sp>
      <p:sp>
        <p:nvSpPr>
          <p:cNvPr id="101" name="Rectangle 100"/>
          <p:cNvSpPr/>
          <p:nvPr/>
        </p:nvSpPr>
        <p:spPr>
          <a:xfrm>
            <a:off x="3111644" y="5181600"/>
            <a:ext cx="1422040" cy="1524000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102" name="TextBox 101"/>
          <p:cNvSpPr txBox="1"/>
          <p:nvPr/>
        </p:nvSpPr>
        <p:spPr>
          <a:xfrm>
            <a:off x="3141270" y="6519929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 smtClean="0">
                <a:solidFill>
                  <a:srgbClr val="7F7E7E"/>
                </a:solidFill>
              </a:rPr>
              <a:t>.06s</a:t>
            </a:r>
            <a:endParaRPr lang="en-US" sz="1000" dirty="0">
              <a:solidFill>
                <a:srgbClr val="7F7E7E"/>
              </a:solidFill>
            </a:endParaRPr>
          </a:p>
        </p:txBody>
      </p:sp>
      <p:sp>
        <p:nvSpPr>
          <p:cNvPr id="99" name="Rectangle 98"/>
          <p:cNvSpPr/>
          <p:nvPr/>
        </p:nvSpPr>
        <p:spPr>
          <a:xfrm>
            <a:off x="4610317" y="5181600"/>
            <a:ext cx="1422040" cy="1524000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100" name="TextBox 99"/>
          <p:cNvSpPr txBox="1"/>
          <p:nvPr/>
        </p:nvSpPr>
        <p:spPr>
          <a:xfrm>
            <a:off x="4639943" y="6519929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 smtClean="0">
                <a:solidFill>
                  <a:srgbClr val="7F7E7E"/>
                </a:solidFill>
              </a:rPr>
              <a:t>.08s</a:t>
            </a:r>
            <a:endParaRPr lang="en-US" sz="1000" dirty="0">
              <a:solidFill>
                <a:srgbClr val="7F7E7E"/>
              </a:solidFill>
            </a:endParaRPr>
          </a:p>
        </p:txBody>
      </p:sp>
      <p:sp>
        <p:nvSpPr>
          <p:cNvPr id="97" name="Rectangle 96"/>
          <p:cNvSpPr/>
          <p:nvPr/>
        </p:nvSpPr>
        <p:spPr>
          <a:xfrm>
            <a:off x="6108989" y="5181600"/>
            <a:ext cx="1422040" cy="1524000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98" name="TextBox 97"/>
          <p:cNvSpPr txBox="1"/>
          <p:nvPr/>
        </p:nvSpPr>
        <p:spPr>
          <a:xfrm>
            <a:off x="6138615" y="6519929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 smtClean="0">
                <a:solidFill>
                  <a:srgbClr val="7F7E7E"/>
                </a:solidFill>
              </a:rPr>
              <a:t>.21s</a:t>
            </a:r>
            <a:endParaRPr lang="en-US" sz="1000" dirty="0">
              <a:solidFill>
                <a:srgbClr val="7F7E7E"/>
              </a:solidFill>
            </a:endParaRPr>
          </a:p>
        </p:txBody>
      </p:sp>
      <p:sp>
        <p:nvSpPr>
          <p:cNvPr id="95" name="Rectangle 94"/>
          <p:cNvSpPr/>
          <p:nvPr/>
        </p:nvSpPr>
        <p:spPr>
          <a:xfrm>
            <a:off x="7607660" y="5181600"/>
            <a:ext cx="1422040" cy="1524000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96" name="TextBox 95"/>
          <p:cNvSpPr txBox="1"/>
          <p:nvPr/>
        </p:nvSpPr>
        <p:spPr>
          <a:xfrm>
            <a:off x="7637286" y="6519929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 smtClean="0">
                <a:solidFill>
                  <a:srgbClr val="7F7E7E"/>
                </a:solidFill>
              </a:rPr>
              <a:t>.10s</a:t>
            </a:r>
            <a:endParaRPr lang="en-US" sz="1000" dirty="0">
              <a:solidFill>
                <a:srgbClr val="7F7E7E"/>
              </a:solidFill>
            </a:endParaRPr>
          </a:p>
        </p:txBody>
      </p:sp>
      <p:sp>
        <p:nvSpPr>
          <p:cNvPr id="108" name="TextBox 107"/>
          <p:cNvSpPr txBox="1"/>
          <p:nvPr/>
        </p:nvSpPr>
        <p:spPr>
          <a:xfrm>
            <a:off x="143926" y="228600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b="1" dirty="0" err="1" smtClean="0">
                <a:solidFill>
                  <a:srgbClr val="7F7E7E"/>
                </a:solidFill>
              </a:rPr>
              <a:t>MiniBatchKMeans</a:t>
            </a:r>
            <a:endParaRPr lang="en-US" sz="1000" b="1" dirty="0">
              <a:solidFill>
                <a:srgbClr val="7F7E7E"/>
              </a:solidFill>
            </a:endParaRPr>
          </a:p>
        </p:txBody>
      </p:sp>
      <p:sp>
        <p:nvSpPr>
          <p:cNvPr id="109" name="TextBox 108"/>
          <p:cNvSpPr txBox="1"/>
          <p:nvPr/>
        </p:nvSpPr>
        <p:spPr>
          <a:xfrm>
            <a:off x="1642598" y="228600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b="1" dirty="0" err="1" smtClean="0">
                <a:solidFill>
                  <a:srgbClr val="7F7E7E"/>
                </a:solidFill>
              </a:rPr>
              <a:t>AffinityPropagation</a:t>
            </a:r>
            <a:endParaRPr lang="en-US" sz="1000" b="1" dirty="0">
              <a:solidFill>
                <a:srgbClr val="7F7E7E"/>
              </a:solidFill>
            </a:endParaRPr>
          </a:p>
        </p:txBody>
      </p:sp>
      <p:sp>
        <p:nvSpPr>
          <p:cNvPr id="110" name="TextBox 109"/>
          <p:cNvSpPr txBox="1"/>
          <p:nvPr/>
        </p:nvSpPr>
        <p:spPr>
          <a:xfrm>
            <a:off x="3141270" y="228600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b="1" dirty="0" err="1" smtClean="0">
                <a:solidFill>
                  <a:srgbClr val="7F7E7E"/>
                </a:solidFill>
              </a:rPr>
              <a:t>MeanShift</a:t>
            </a:r>
            <a:endParaRPr lang="en-US" sz="1000" b="1" dirty="0">
              <a:solidFill>
                <a:srgbClr val="7F7E7E"/>
              </a:solidFill>
            </a:endParaRPr>
          </a:p>
        </p:txBody>
      </p:sp>
      <p:sp>
        <p:nvSpPr>
          <p:cNvPr id="111" name="TextBox 110"/>
          <p:cNvSpPr txBox="1"/>
          <p:nvPr/>
        </p:nvSpPr>
        <p:spPr>
          <a:xfrm>
            <a:off x="4639943" y="228600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b="1" dirty="0" err="1" smtClean="0">
                <a:solidFill>
                  <a:srgbClr val="7F7E7E"/>
                </a:solidFill>
              </a:rPr>
              <a:t>SpectralClustering</a:t>
            </a:r>
            <a:endParaRPr lang="en-US" sz="1000" b="1" dirty="0">
              <a:solidFill>
                <a:srgbClr val="7F7E7E"/>
              </a:solidFill>
            </a:endParaRPr>
          </a:p>
        </p:txBody>
      </p:sp>
      <p:sp>
        <p:nvSpPr>
          <p:cNvPr id="112" name="TextBox 111"/>
          <p:cNvSpPr txBox="1"/>
          <p:nvPr/>
        </p:nvSpPr>
        <p:spPr>
          <a:xfrm>
            <a:off x="6138615" y="228600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b="1" dirty="0" smtClean="0">
                <a:solidFill>
                  <a:srgbClr val="7F7E7E"/>
                </a:solidFill>
              </a:rPr>
              <a:t>Ward</a:t>
            </a:r>
            <a:endParaRPr lang="en-US" sz="1000" b="1" dirty="0">
              <a:solidFill>
                <a:srgbClr val="7F7E7E"/>
              </a:solidFill>
            </a:endParaRPr>
          </a:p>
        </p:txBody>
      </p:sp>
      <p:sp>
        <p:nvSpPr>
          <p:cNvPr id="113" name="TextBox 112"/>
          <p:cNvSpPr txBox="1"/>
          <p:nvPr/>
        </p:nvSpPr>
        <p:spPr>
          <a:xfrm>
            <a:off x="7637286" y="228600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b="1" dirty="0" smtClean="0">
                <a:solidFill>
                  <a:srgbClr val="7F7E7E"/>
                </a:solidFill>
              </a:rPr>
              <a:t>DBSCAN</a:t>
            </a:r>
            <a:endParaRPr lang="en-US" sz="1000" b="1" dirty="0">
              <a:solidFill>
                <a:srgbClr val="7F7E7E"/>
              </a:solidFill>
            </a:endParaRPr>
          </a:p>
        </p:txBody>
      </p:sp>
      <p:grpSp>
        <p:nvGrpSpPr>
          <p:cNvPr id="118" name="Group 117"/>
          <p:cNvGrpSpPr/>
          <p:nvPr/>
        </p:nvGrpSpPr>
        <p:grpSpPr>
          <a:xfrm>
            <a:off x="1752600" y="457200"/>
            <a:ext cx="1185755" cy="1245801"/>
            <a:chOff x="1752600" y="457200"/>
            <a:chExt cx="1185755" cy="1245801"/>
          </a:xfrm>
        </p:grpSpPr>
        <p:pic>
          <p:nvPicPr>
            <p:cNvPr id="115" name="Picture 114"/>
            <p:cNvPicPr>
              <a:picLocks noChangeAspect="1"/>
            </p:cNvPicPr>
            <p:nvPr/>
          </p:nvPicPr>
          <p:blipFill rotWithShape="1">
            <a:blip r:embed="rId6"/>
            <a:srcRect l="3497"/>
            <a:stretch/>
          </p:blipFill>
          <p:spPr>
            <a:xfrm>
              <a:off x="1752600" y="457200"/>
              <a:ext cx="1185755" cy="1219200"/>
            </a:xfrm>
            <a:prstGeom prst="rect">
              <a:avLst/>
            </a:prstGeom>
          </p:spPr>
        </p:pic>
        <p:sp>
          <p:nvSpPr>
            <p:cNvPr id="117" name="Rectangle 116"/>
            <p:cNvSpPr/>
            <p:nvPr/>
          </p:nvSpPr>
          <p:spPr>
            <a:xfrm>
              <a:off x="2631502" y="1569651"/>
              <a:ext cx="306853" cy="13335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/>
            </a:p>
          </p:txBody>
        </p:sp>
      </p:grpSp>
      <p:grpSp>
        <p:nvGrpSpPr>
          <p:cNvPr id="121" name="Group 120"/>
          <p:cNvGrpSpPr/>
          <p:nvPr/>
        </p:nvGrpSpPr>
        <p:grpSpPr>
          <a:xfrm>
            <a:off x="3212253" y="457200"/>
            <a:ext cx="1220823" cy="1219200"/>
            <a:chOff x="3198777" y="457200"/>
            <a:chExt cx="1220823" cy="1219200"/>
          </a:xfrm>
        </p:grpSpPr>
        <p:pic>
          <p:nvPicPr>
            <p:cNvPr id="119" name="Picture 118"/>
            <p:cNvPicPr>
              <a:picLocks noChangeAspect="1"/>
            </p:cNvPicPr>
            <p:nvPr/>
          </p:nvPicPr>
          <p:blipFill rotWithShape="1">
            <a:blip r:embed="rId7"/>
            <a:srcRect r="2160"/>
            <a:stretch/>
          </p:blipFill>
          <p:spPr>
            <a:xfrm>
              <a:off x="3198777" y="457200"/>
              <a:ext cx="1220823" cy="1219200"/>
            </a:xfrm>
            <a:prstGeom prst="rect">
              <a:avLst/>
            </a:prstGeom>
          </p:spPr>
        </p:pic>
        <p:sp>
          <p:nvSpPr>
            <p:cNvPr id="120" name="Rectangle 119"/>
            <p:cNvSpPr/>
            <p:nvPr/>
          </p:nvSpPr>
          <p:spPr>
            <a:xfrm>
              <a:off x="4121113" y="1543050"/>
              <a:ext cx="298487" cy="13335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/>
            </a:p>
          </p:txBody>
        </p:sp>
      </p:grpSp>
      <p:grpSp>
        <p:nvGrpSpPr>
          <p:cNvPr id="125" name="Group 124"/>
          <p:cNvGrpSpPr/>
          <p:nvPr/>
        </p:nvGrpSpPr>
        <p:grpSpPr>
          <a:xfrm>
            <a:off x="4711737" y="494527"/>
            <a:ext cx="1219200" cy="1219200"/>
            <a:chOff x="4724400" y="494527"/>
            <a:chExt cx="1219200" cy="1219200"/>
          </a:xfrm>
        </p:grpSpPr>
        <p:pic>
          <p:nvPicPr>
            <p:cNvPr id="122" name="Picture 121"/>
            <p:cNvPicPr>
              <a:picLocks noChangeAspect="1"/>
            </p:cNvPicPr>
            <p:nvPr/>
          </p:nvPicPr>
          <p:blipFill rotWithShape="1">
            <a:blip r:embed="rId8"/>
            <a:srcRect l="596" r="943"/>
            <a:stretch/>
          </p:blipFill>
          <p:spPr>
            <a:xfrm>
              <a:off x="4724400" y="494527"/>
              <a:ext cx="1219200" cy="1219200"/>
            </a:xfrm>
            <a:prstGeom prst="rect">
              <a:avLst/>
            </a:prstGeom>
          </p:spPr>
        </p:pic>
        <p:sp>
          <p:nvSpPr>
            <p:cNvPr id="123" name="Rectangle 122"/>
            <p:cNvSpPr/>
            <p:nvPr/>
          </p:nvSpPr>
          <p:spPr>
            <a:xfrm>
              <a:off x="5645113" y="1580377"/>
              <a:ext cx="298487" cy="13335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/>
            </a:p>
          </p:txBody>
        </p:sp>
      </p:grpSp>
      <p:grpSp>
        <p:nvGrpSpPr>
          <p:cNvPr id="128" name="Group 127"/>
          <p:cNvGrpSpPr/>
          <p:nvPr/>
        </p:nvGrpSpPr>
        <p:grpSpPr>
          <a:xfrm>
            <a:off x="6206944" y="509201"/>
            <a:ext cx="1226130" cy="1200150"/>
            <a:chOff x="6206944" y="509201"/>
            <a:chExt cx="1226130" cy="1200150"/>
          </a:xfrm>
        </p:grpSpPr>
        <p:pic>
          <p:nvPicPr>
            <p:cNvPr id="126" name="Picture 125"/>
            <p:cNvPicPr>
              <a:picLocks noChangeAspect="1"/>
            </p:cNvPicPr>
            <p:nvPr/>
          </p:nvPicPr>
          <p:blipFill rotWithShape="1">
            <a:blip r:embed="rId9"/>
            <a:srcRect l="1734" r="-1"/>
            <a:stretch/>
          </p:blipFill>
          <p:spPr>
            <a:xfrm>
              <a:off x="6206944" y="509201"/>
              <a:ext cx="1226130" cy="1200150"/>
            </a:xfrm>
            <a:prstGeom prst="rect">
              <a:avLst/>
            </a:prstGeom>
          </p:spPr>
        </p:pic>
        <p:sp>
          <p:nvSpPr>
            <p:cNvPr id="127" name="Rectangle 126"/>
            <p:cNvSpPr/>
            <p:nvPr/>
          </p:nvSpPr>
          <p:spPr>
            <a:xfrm>
              <a:off x="7134587" y="1576001"/>
              <a:ext cx="298487" cy="13335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/>
            </a:p>
          </p:txBody>
        </p:sp>
      </p:grpSp>
      <p:grpSp>
        <p:nvGrpSpPr>
          <p:cNvPr id="131" name="Group 130"/>
          <p:cNvGrpSpPr/>
          <p:nvPr/>
        </p:nvGrpSpPr>
        <p:grpSpPr>
          <a:xfrm>
            <a:off x="7718605" y="458401"/>
            <a:ext cx="1200150" cy="1219200"/>
            <a:chOff x="7698581" y="452051"/>
            <a:chExt cx="1200150" cy="1219200"/>
          </a:xfrm>
        </p:grpSpPr>
        <p:pic>
          <p:nvPicPr>
            <p:cNvPr id="129" name="Picture 128"/>
            <p:cNvPicPr>
              <a:picLocks noChangeAspect="1"/>
            </p:cNvPicPr>
            <p:nvPr/>
          </p:nvPicPr>
          <p:blipFill rotWithShape="1">
            <a:blip r:embed="rId10"/>
            <a:srcRect l="1563"/>
            <a:stretch/>
          </p:blipFill>
          <p:spPr>
            <a:xfrm>
              <a:off x="7698581" y="452051"/>
              <a:ext cx="1200150" cy="1219200"/>
            </a:xfrm>
            <a:prstGeom prst="rect">
              <a:avLst/>
            </a:prstGeom>
          </p:spPr>
        </p:pic>
        <p:sp>
          <p:nvSpPr>
            <p:cNvPr id="130" name="Rectangle 129"/>
            <p:cNvSpPr/>
            <p:nvPr/>
          </p:nvSpPr>
          <p:spPr>
            <a:xfrm>
              <a:off x="8600244" y="1537901"/>
              <a:ext cx="298487" cy="13335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/>
            </a:p>
          </p:txBody>
        </p:sp>
      </p:grpSp>
      <p:grpSp>
        <p:nvGrpSpPr>
          <p:cNvPr id="134" name="Group 133"/>
          <p:cNvGrpSpPr/>
          <p:nvPr/>
        </p:nvGrpSpPr>
        <p:grpSpPr>
          <a:xfrm>
            <a:off x="215720" y="2061776"/>
            <a:ext cx="1219200" cy="1228725"/>
            <a:chOff x="215720" y="2061776"/>
            <a:chExt cx="1219200" cy="1228725"/>
          </a:xfrm>
        </p:grpSpPr>
        <p:pic>
          <p:nvPicPr>
            <p:cNvPr id="132" name="Picture 131"/>
            <p:cNvPicPr>
              <a:picLocks noChangeAspect="1"/>
            </p:cNvPicPr>
            <p:nvPr/>
          </p:nvPicPr>
          <p:blipFill>
            <a:blip r:embed="rId11"/>
            <a:stretch>
              <a:fillRect/>
            </a:stretch>
          </p:blipFill>
          <p:spPr>
            <a:xfrm>
              <a:off x="215720" y="2061776"/>
              <a:ext cx="1219200" cy="1228725"/>
            </a:xfrm>
            <a:prstGeom prst="rect">
              <a:avLst/>
            </a:prstGeom>
          </p:spPr>
        </p:pic>
        <p:sp>
          <p:nvSpPr>
            <p:cNvPr id="133" name="Rectangle 132"/>
            <p:cNvSpPr/>
            <p:nvPr/>
          </p:nvSpPr>
          <p:spPr>
            <a:xfrm>
              <a:off x="1204913" y="3190875"/>
              <a:ext cx="230007" cy="9962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/>
            </a:p>
          </p:txBody>
        </p:sp>
      </p:grpSp>
      <p:grpSp>
        <p:nvGrpSpPr>
          <p:cNvPr id="137" name="Group 136"/>
          <p:cNvGrpSpPr/>
          <p:nvPr/>
        </p:nvGrpSpPr>
        <p:grpSpPr>
          <a:xfrm>
            <a:off x="1720849" y="2041525"/>
            <a:ext cx="1222267" cy="1231900"/>
            <a:chOff x="1720849" y="2041525"/>
            <a:chExt cx="1222267" cy="1231900"/>
          </a:xfrm>
        </p:grpSpPr>
        <p:pic>
          <p:nvPicPr>
            <p:cNvPr id="135" name="Picture 134"/>
            <p:cNvPicPr>
              <a:picLocks noChangeAspect="1"/>
            </p:cNvPicPr>
            <p:nvPr/>
          </p:nvPicPr>
          <p:blipFill rotWithShape="1">
            <a:blip r:embed="rId12"/>
            <a:srcRect l="1291" t="1272" b="1"/>
            <a:stretch/>
          </p:blipFill>
          <p:spPr>
            <a:xfrm>
              <a:off x="1720849" y="2041525"/>
              <a:ext cx="1222267" cy="1231900"/>
            </a:xfrm>
            <a:prstGeom prst="rect">
              <a:avLst/>
            </a:prstGeom>
          </p:spPr>
        </p:pic>
        <p:sp>
          <p:nvSpPr>
            <p:cNvPr id="136" name="Rectangle 135"/>
            <p:cNvSpPr/>
            <p:nvPr/>
          </p:nvSpPr>
          <p:spPr>
            <a:xfrm>
              <a:off x="2631502" y="3169851"/>
              <a:ext cx="311614" cy="103574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/>
            </a:p>
          </p:txBody>
        </p:sp>
      </p:grpSp>
      <p:grpSp>
        <p:nvGrpSpPr>
          <p:cNvPr id="140" name="Group 139"/>
          <p:cNvGrpSpPr/>
          <p:nvPr/>
        </p:nvGrpSpPr>
        <p:grpSpPr>
          <a:xfrm>
            <a:off x="244295" y="3642926"/>
            <a:ext cx="1190625" cy="1171575"/>
            <a:chOff x="244295" y="3642926"/>
            <a:chExt cx="1190625" cy="1171575"/>
          </a:xfrm>
        </p:grpSpPr>
        <p:pic>
          <p:nvPicPr>
            <p:cNvPr id="138" name="Picture 137"/>
            <p:cNvPicPr>
              <a:picLocks noChangeAspect="1"/>
            </p:cNvPicPr>
            <p:nvPr/>
          </p:nvPicPr>
          <p:blipFill>
            <a:blip r:embed="rId13"/>
            <a:stretch>
              <a:fillRect/>
            </a:stretch>
          </p:blipFill>
          <p:spPr>
            <a:xfrm>
              <a:off x="244295" y="3642926"/>
              <a:ext cx="1190625" cy="1171575"/>
            </a:xfrm>
            <a:prstGeom prst="rect">
              <a:avLst/>
            </a:prstGeom>
          </p:spPr>
        </p:pic>
        <p:sp>
          <p:nvSpPr>
            <p:cNvPr id="139" name="Rectangle 138"/>
            <p:cNvSpPr/>
            <p:nvPr/>
          </p:nvSpPr>
          <p:spPr>
            <a:xfrm>
              <a:off x="1136433" y="4681151"/>
              <a:ext cx="298487" cy="13335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/>
            </a:p>
          </p:txBody>
        </p:sp>
      </p:grpSp>
      <p:pic>
        <p:nvPicPr>
          <p:cNvPr id="141" name="Picture 140"/>
          <p:cNvPicPr>
            <a:picLocks noChangeAspect="1"/>
          </p:cNvPicPr>
          <p:nvPr/>
        </p:nvPicPr>
        <p:blipFill rotWithShape="1">
          <a:blip r:embed="rId14"/>
          <a:srcRect r="4809" b="6589"/>
          <a:stretch/>
        </p:blipFill>
        <p:spPr>
          <a:xfrm>
            <a:off x="111289" y="5232656"/>
            <a:ext cx="1428062" cy="1234566"/>
          </a:xfrm>
          <a:prstGeom prst="rect">
            <a:avLst/>
          </a:prstGeom>
        </p:spPr>
      </p:pic>
      <p:pic>
        <p:nvPicPr>
          <p:cNvPr id="142" name="Picture 141"/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1619696" y="5232475"/>
            <a:ext cx="1408594" cy="1239690"/>
          </a:xfrm>
          <a:prstGeom prst="rect">
            <a:avLst/>
          </a:prstGeom>
        </p:spPr>
      </p:pic>
      <p:pic>
        <p:nvPicPr>
          <p:cNvPr id="143" name="Picture 142"/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3124093" y="5232834"/>
            <a:ext cx="1397142" cy="1229446"/>
          </a:xfrm>
          <a:prstGeom prst="rect">
            <a:avLst/>
          </a:prstGeom>
        </p:spPr>
      </p:pic>
      <p:pic>
        <p:nvPicPr>
          <p:cNvPr id="144" name="Picture 143"/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4639945" y="5232114"/>
            <a:ext cx="1362786" cy="1249936"/>
          </a:xfrm>
          <a:prstGeom prst="rect">
            <a:avLst/>
          </a:prstGeom>
        </p:spPr>
      </p:pic>
      <p:pic>
        <p:nvPicPr>
          <p:cNvPr id="145" name="Picture 144"/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>
            <a:off x="6121438" y="5233196"/>
            <a:ext cx="1397142" cy="1219198"/>
          </a:xfrm>
          <a:prstGeom prst="rect">
            <a:avLst/>
          </a:prstGeom>
        </p:spPr>
      </p:pic>
      <p:pic>
        <p:nvPicPr>
          <p:cNvPr id="146" name="Picture 145"/>
          <p:cNvPicPr>
            <a:picLocks noChangeAspect="1"/>
          </p:cNvPicPr>
          <p:nvPr/>
        </p:nvPicPr>
        <p:blipFill>
          <a:blip r:embed="rId19"/>
          <a:stretch>
            <a:fillRect/>
          </a:stretch>
        </p:blipFill>
        <p:spPr>
          <a:xfrm>
            <a:off x="7625836" y="5233196"/>
            <a:ext cx="1385690" cy="1219198"/>
          </a:xfrm>
          <a:prstGeom prst="rect">
            <a:avLst/>
          </a:prstGeom>
        </p:spPr>
      </p:pic>
      <p:grpSp>
        <p:nvGrpSpPr>
          <p:cNvPr id="149" name="Group 148"/>
          <p:cNvGrpSpPr/>
          <p:nvPr/>
        </p:nvGrpSpPr>
        <p:grpSpPr>
          <a:xfrm>
            <a:off x="1766780" y="3642926"/>
            <a:ext cx="1114425" cy="1162050"/>
            <a:chOff x="1766780" y="3642926"/>
            <a:chExt cx="1114425" cy="1162050"/>
          </a:xfrm>
        </p:grpSpPr>
        <p:pic>
          <p:nvPicPr>
            <p:cNvPr id="147" name="Picture 146"/>
            <p:cNvPicPr>
              <a:picLocks noChangeAspect="1"/>
            </p:cNvPicPr>
            <p:nvPr/>
          </p:nvPicPr>
          <p:blipFill>
            <a:blip r:embed="rId20"/>
            <a:stretch>
              <a:fillRect/>
            </a:stretch>
          </p:blipFill>
          <p:spPr>
            <a:xfrm>
              <a:off x="1766780" y="3642926"/>
              <a:ext cx="1114425" cy="1162050"/>
            </a:xfrm>
            <a:prstGeom prst="rect">
              <a:avLst/>
            </a:prstGeom>
          </p:spPr>
        </p:pic>
        <p:sp>
          <p:nvSpPr>
            <p:cNvPr id="148" name="Rectangle 147"/>
            <p:cNvSpPr/>
            <p:nvPr/>
          </p:nvSpPr>
          <p:spPr>
            <a:xfrm>
              <a:off x="2582718" y="4671626"/>
              <a:ext cx="298487" cy="13335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/>
            </a:p>
          </p:txBody>
        </p:sp>
      </p:grpSp>
      <p:grpSp>
        <p:nvGrpSpPr>
          <p:cNvPr id="152" name="Group 151"/>
          <p:cNvGrpSpPr/>
          <p:nvPr/>
        </p:nvGrpSpPr>
        <p:grpSpPr>
          <a:xfrm>
            <a:off x="3274976" y="3642926"/>
            <a:ext cx="1095375" cy="1200150"/>
            <a:chOff x="3274976" y="3664934"/>
            <a:chExt cx="1095375" cy="1200150"/>
          </a:xfrm>
        </p:grpSpPr>
        <p:pic>
          <p:nvPicPr>
            <p:cNvPr id="150" name="Picture 149"/>
            <p:cNvPicPr>
              <a:picLocks noChangeAspect="1"/>
            </p:cNvPicPr>
            <p:nvPr/>
          </p:nvPicPr>
          <p:blipFill>
            <a:blip r:embed="rId21"/>
            <a:stretch>
              <a:fillRect/>
            </a:stretch>
          </p:blipFill>
          <p:spPr>
            <a:xfrm>
              <a:off x="3274976" y="3664934"/>
              <a:ext cx="1095375" cy="1200150"/>
            </a:xfrm>
            <a:prstGeom prst="rect">
              <a:avLst/>
            </a:prstGeom>
          </p:spPr>
        </p:pic>
        <p:sp>
          <p:nvSpPr>
            <p:cNvPr id="151" name="Rectangle 150"/>
            <p:cNvSpPr/>
            <p:nvPr/>
          </p:nvSpPr>
          <p:spPr>
            <a:xfrm>
              <a:off x="4071864" y="4731734"/>
              <a:ext cx="298487" cy="13335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/>
            </a:p>
          </p:txBody>
        </p:sp>
      </p:grpSp>
      <p:grpSp>
        <p:nvGrpSpPr>
          <p:cNvPr id="155" name="Group 154"/>
          <p:cNvGrpSpPr/>
          <p:nvPr/>
        </p:nvGrpSpPr>
        <p:grpSpPr>
          <a:xfrm>
            <a:off x="4778412" y="3642926"/>
            <a:ext cx="1085850" cy="1200150"/>
            <a:chOff x="4778412" y="3654756"/>
            <a:chExt cx="1085850" cy="1200150"/>
          </a:xfrm>
        </p:grpSpPr>
        <p:pic>
          <p:nvPicPr>
            <p:cNvPr id="153" name="Picture 152"/>
            <p:cNvPicPr>
              <a:picLocks noChangeAspect="1"/>
            </p:cNvPicPr>
            <p:nvPr/>
          </p:nvPicPr>
          <p:blipFill>
            <a:blip r:embed="rId22"/>
            <a:stretch>
              <a:fillRect/>
            </a:stretch>
          </p:blipFill>
          <p:spPr>
            <a:xfrm>
              <a:off x="4778412" y="3654756"/>
              <a:ext cx="1085850" cy="1200150"/>
            </a:xfrm>
            <a:prstGeom prst="rect">
              <a:avLst/>
            </a:prstGeom>
          </p:spPr>
        </p:pic>
        <p:sp>
          <p:nvSpPr>
            <p:cNvPr id="154" name="Rectangle 153"/>
            <p:cNvSpPr/>
            <p:nvPr/>
          </p:nvSpPr>
          <p:spPr>
            <a:xfrm>
              <a:off x="5565775" y="4721556"/>
              <a:ext cx="298487" cy="13335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/>
            </a:p>
          </p:txBody>
        </p:sp>
      </p:grpSp>
      <p:grpSp>
        <p:nvGrpSpPr>
          <p:cNvPr id="158" name="Group 157"/>
          <p:cNvGrpSpPr/>
          <p:nvPr/>
        </p:nvGrpSpPr>
        <p:grpSpPr>
          <a:xfrm>
            <a:off x="6305659" y="3642926"/>
            <a:ext cx="1028700" cy="1171575"/>
            <a:chOff x="6305659" y="3718289"/>
            <a:chExt cx="1028700" cy="1171575"/>
          </a:xfrm>
        </p:grpSpPr>
        <p:pic>
          <p:nvPicPr>
            <p:cNvPr id="156" name="Picture 155"/>
            <p:cNvPicPr>
              <a:picLocks noChangeAspect="1"/>
            </p:cNvPicPr>
            <p:nvPr/>
          </p:nvPicPr>
          <p:blipFill>
            <a:blip r:embed="rId23"/>
            <a:stretch>
              <a:fillRect/>
            </a:stretch>
          </p:blipFill>
          <p:spPr>
            <a:xfrm>
              <a:off x="6305659" y="3718289"/>
              <a:ext cx="1028700" cy="1171575"/>
            </a:xfrm>
            <a:prstGeom prst="rect">
              <a:avLst/>
            </a:prstGeom>
          </p:spPr>
        </p:pic>
        <p:sp>
          <p:nvSpPr>
            <p:cNvPr id="157" name="Rectangle 156"/>
            <p:cNvSpPr/>
            <p:nvPr/>
          </p:nvSpPr>
          <p:spPr>
            <a:xfrm>
              <a:off x="7035872" y="4756514"/>
              <a:ext cx="298487" cy="13335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/>
            </a:p>
          </p:txBody>
        </p:sp>
      </p:grpSp>
      <p:pic>
        <p:nvPicPr>
          <p:cNvPr id="159" name="Picture 158"/>
          <p:cNvPicPr>
            <a:picLocks noChangeAspect="1"/>
          </p:cNvPicPr>
          <p:nvPr/>
        </p:nvPicPr>
        <p:blipFill rotWithShape="1">
          <a:blip r:embed="rId24"/>
          <a:srcRect r="1655"/>
          <a:stretch/>
        </p:blipFill>
        <p:spPr>
          <a:xfrm>
            <a:off x="7884677" y="3642926"/>
            <a:ext cx="1011673" cy="1190625"/>
          </a:xfrm>
          <a:prstGeom prst="rect">
            <a:avLst/>
          </a:prstGeom>
        </p:spPr>
      </p:pic>
      <p:grpSp>
        <p:nvGrpSpPr>
          <p:cNvPr id="173" name="Group 172"/>
          <p:cNvGrpSpPr/>
          <p:nvPr/>
        </p:nvGrpSpPr>
        <p:grpSpPr>
          <a:xfrm>
            <a:off x="209153" y="452051"/>
            <a:ext cx="1279760" cy="1257300"/>
            <a:chOff x="209153" y="452051"/>
            <a:chExt cx="1279760" cy="1257300"/>
          </a:xfrm>
        </p:grpSpPr>
        <p:pic>
          <p:nvPicPr>
            <p:cNvPr id="114" name="Picture 113"/>
            <p:cNvPicPr>
              <a:picLocks noChangeAspect="1"/>
            </p:cNvPicPr>
            <p:nvPr/>
          </p:nvPicPr>
          <p:blipFill rotWithShape="1">
            <a:blip r:embed="rId25"/>
            <a:srcRect r="2020"/>
            <a:stretch/>
          </p:blipFill>
          <p:spPr>
            <a:xfrm>
              <a:off x="209153" y="452051"/>
              <a:ext cx="1232334" cy="1257300"/>
            </a:xfrm>
            <a:prstGeom prst="rect">
              <a:avLst/>
            </a:prstGeom>
          </p:spPr>
        </p:pic>
        <p:sp>
          <p:nvSpPr>
            <p:cNvPr id="116" name="Rectangle 115"/>
            <p:cNvSpPr/>
            <p:nvPr/>
          </p:nvSpPr>
          <p:spPr>
            <a:xfrm>
              <a:off x="1190426" y="1576001"/>
              <a:ext cx="298487" cy="13335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/>
            </a:p>
          </p:txBody>
        </p:sp>
      </p:grpSp>
      <p:grpSp>
        <p:nvGrpSpPr>
          <p:cNvPr id="163" name="Group 162"/>
          <p:cNvGrpSpPr/>
          <p:nvPr/>
        </p:nvGrpSpPr>
        <p:grpSpPr>
          <a:xfrm>
            <a:off x="3217827" y="2041525"/>
            <a:ext cx="1209675" cy="1200150"/>
            <a:chOff x="3217827" y="2041525"/>
            <a:chExt cx="1209675" cy="1200150"/>
          </a:xfrm>
        </p:grpSpPr>
        <p:pic>
          <p:nvPicPr>
            <p:cNvPr id="160" name="Picture 159"/>
            <p:cNvPicPr>
              <a:picLocks noChangeAspect="1"/>
            </p:cNvPicPr>
            <p:nvPr/>
          </p:nvPicPr>
          <p:blipFill>
            <a:blip r:embed="rId26"/>
            <a:stretch>
              <a:fillRect/>
            </a:stretch>
          </p:blipFill>
          <p:spPr>
            <a:xfrm>
              <a:off x="3217827" y="2041525"/>
              <a:ext cx="1209675" cy="1200150"/>
            </a:xfrm>
            <a:prstGeom prst="rect">
              <a:avLst/>
            </a:prstGeom>
          </p:spPr>
        </p:pic>
        <p:sp>
          <p:nvSpPr>
            <p:cNvPr id="162" name="Rectangle 161"/>
            <p:cNvSpPr/>
            <p:nvPr/>
          </p:nvSpPr>
          <p:spPr>
            <a:xfrm>
              <a:off x="4198144" y="3138101"/>
              <a:ext cx="229358" cy="103574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/>
            </a:p>
          </p:txBody>
        </p:sp>
      </p:grpSp>
      <p:grpSp>
        <p:nvGrpSpPr>
          <p:cNvPr id="166" name="Group 165"/>
          <p:cNvGrpSpPr/>
          <p:nvPr/>
        </p:nvGrpSpPr>
        <p:grpSpPr>
          <a:xfrm>
            <a:off x="4712494" y="2041525"/>
            <a:ext cx="1208882" cy="1209675"/>
            <a:chOff x="4712494" y="2041525"/>
            <a:chExt cx="1208882" cy="1209675"/>
          </a:xfrm>
        </p:grpSpPr>
        <p:pic>
          <p:nvPicPr>
            <p:cNvPr id="164" name="Picture 163"/>
            <p:cNvPicPr>
              <a:picLocks noChangeAspect="1"/>
            </p:cNvPicPr>
            <p:nvPr/>
          </p:nvPicPr>
          <p:blipFill rotWithShape="1">
            <a:blip r:embed="rId27"/>
            <a:srcRect l="1575" r="2275"/>
            <a:stretch/>
          </p:blipFill>
          <p:spPr>
            <a:xfrm>
              <a:off x="4712494" y="2041525"/>
              <a:ext cx="1208882" cy="1209675"/>
            </a:xfrm>
            <a:prstGeom prst="rect">
              <a:avLst/>
            </a:prstGeom>
          </p:spPr>
        </p:pic>
        <p:sp>
          <p:nvSpPr>
            <p:cNvPr id="165" name="Rectangle 164"/>
            <p:cNvSpPr/>
            <p:nvPr/>
          </p:nvSpPr>
          <p:spPr>
            <a:xfrm>
              <a:off x="5622889" y="3117850"/>
              <a:ext cx="298487" cy="13335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/>
            </a:p>
          </p:txBody>
        </p:sp>
      </p:grpSp>
      <p:grpSp>
        <p:nvGrpSpPr>
          <p:cNvPr id="169" name="Group 168"/>
          <p:cNvGrpSpPr/>
          <p:nvPr/>
        </p:nvGrpSpPr>
        <p:grpSpPr>
          <a:xfrm>
            <a:off x="6226969" y="2041525"/>
            <a:ext cx="1207403" cy="1209675"/>
            <a:chOff x="6226969" y="2041525"/>
            <a:chExt cx="1207403" cy="1209675"/>
          </a:xfrm>
        </p:grpSpPr>
        <p:pic>
          <p:nvPicPr>
            <p:cNvPr id="167" name="Picture 166"/>
            <p:cNvPicPr>
              <a:picLocks noChangeAspect="1"/>
            </p:cNvPicPr>
            <p:nvPr/>
          </p:nvPicPr>
          <p:blipFill rotWithShape="1">
            <a:blip r:embed="rId28"/>
            <a:srcRect l="1735"/>
            <a:stretch/>
          </p:blipFill>
          <p:spPr>
            <a:xfrm>
              <a:off x="6226969" y="2041525"/>
              <a:ext cx="1207403" cy="1209675"/>
            </a:xfrm>
            <a:prstGeom prst="rect">
              <a:avLst/>
            </a:prstGeom>
          </p:spPr>
        </p:pic>
        <p:sp>
          <p:nvSpPr>
            <p:cNvPr id="168" name="Rectangle 167"/>
            <p:cNvSpPr/>
            <p:nvPr/>
          </p:nvSpPr>
          <p:spPr>
            <a:xfrm>
              <a:off x="7239000" y="3169852"/>
              <a:ext cx="195372" cy="8134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/>
            </a:p>
          </p:txBody>
        </p:sp>
      </p:grpSp>
      <p:grpSp>
        <p:nvGrpSpPr>
          <p:cNvPr id="170" name="Group 169"/>
          <p:cNvGrpSpPr/>
          <p:nvPr/>
        </p:nvGrpSpPr>
        <p:grpSpPr>
          <a:xfrm>
            <a:off x="7714979" y="2041525"/>
            <a:ext cx="1207403" cy="1209675"/>
            <a:chOff x="6226969" y="2041525"/>
            <a:chExt cx="1207403" cy="1209675"/>
          </a:xfrm>
        </p:grpSpPr>
        <p:pic>
          <p:nvPicPr>
            <p:cNvPr id="171" name="Picture 170"/>
            <p:cNvPicPr>
              <a:picLocks noChangeAspect="1"/>
            </p:cNvPicPr>
            <p:nvPr/>
          </p:nvPicPr>
          <p:blipFill rotWithShape="1">
            <a:blip r:embed="rId28"/>
            <a:srcRect l="1735"/>
            <a:stretch/>
          </p:blipFill>
          <p:spPr>
            <a:xfrm>
              <a:off x="6226969" y="2041525"/>
              <a:ext cx="1207403" cy="1209675"/>
            </a:xfrm>
            <a:prstGeom prst="rect">
              <a:avLst/>
            </a:prstGeom>
          </p:spPr>
        </p:pic>
        <p:sp>
          <p:nvSpPr>
            <p:cNvPr id="172" name="Rectangle 171"/>
            <p:cNvSpPr/>
            <p:nvPr/>
          </p:nvSpPr>
          <p:spPr>
            <a:xfrm>
              <a:off x="7239000" y="3169852"/>
              <a:ext cx="195372" cy="8134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/>
            </a:p>
          </p:txBody>
        </p:sp>
      </p:grp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143926" y="129140"/>
            <a:ext cx="1270537" cy="184666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r>
              <a:rPr lang="en-US" sz="1200" b="1" dirty="0" smtClean="0">
                <a:solidFill>
                  <a:srgbClr val="7F7E7E"/>
                </a:solidFill>
              </a:rPr>
              <a:t>Method name</a:t>
            </a:r>
            <a:endParaRPr lang="en-US" sz="1200" b="1" dirty="0">
              <a:solidFill>
                <a:srgbClr val="7F7E7E"/>
              </a:solidFill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1462475" y="129140"/>
            <a:ext cx="1228466" cy="184666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r>
              <a:rPr lang="en-US" sz="1200" b="1" dirty="0" smtClean="0">
                <a:solidFill>
                  <a:srgbClr val="7F7E7E"/>
                </a:solidFill>
              </a:rPr>
              <a:t>Parameters</a:t>
            </a:r>
            <a:endParaRPr lang="en-US" sz="1200" b="1" dirty="0">
              <a:solidFill>
                <a:srgbClr val="7F7E7E"/>
              </a:solidFill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2738953" y="129140"/>
            <a:ext cx="2114057" cy="184666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r>
              <a:rPr lang="en-US" sz="1200" b="1" dirty="0" smtClean="0">
                <a:solidFill>
                  <a:srgbClr val="7F7E7E"/>
                </a:solidFill>
              </a:rPr>
              <a:t>Scalability</a:t>
            </a:r>
            <a:endParaRPr lang="en-US" sz="1200" b="1" dirty="0">
              <a:solidFill>
                <a:srgbClr val="7F7E7E"/>
              </a:solidFill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4901022" y="129140"/>
            <a:ext cx="2277711" cy="184666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r>
              <a:rPr lang="en-US" sz="1200" b="1" dirty="0" err="1" smtClean="0">
                <a:solidFill>
                  <a:srgbClr val="7F7E7E"/>
                </a:solidFill>
              </a:rPr>
              <a:t>Usecase</a:t>
            </a:r>
            <a:endParaRPr lang="en-US" sz="1200" b="1" dirty="0">
              <a:solidFill>
                <a:srgbClr val="7F7E7E"/>
              </a:solidFill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7226745" y="129140"/>
            <a:ext cx="1596812" cy="184666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r>
              <a:rPr lang="en-US" sz="1200" b="1" dirty="0" smtClean="0">
                <a:solidFill>
                  <a:srgbClr val="7F7E7E"/>
                </a:solidFill>
              </a:rPr>
              <a:t>Geometry (metric used)</a:t>
            </a:r>
            <a:endParaRPr lang="en-US" sz="1200" b="1" dirty="0">
              <a:solidFill>
                <a:srgbClr val="7F7E7E"/>
              </a:solidFill>
            </a:endParaRPr>
          </a:p>
        </p:txBody>
      </p:sp>
      <p:cxnSp>
        <p:nvCxnSpPr>
          <p:cNvPr id="13" name="Straight Connector 12"/>
          <p:cNvCxnSpPr/>
          <p:nvPr/>
        </p:nvCxnSpPr>
        <p:spPr>
          <a:xfrm>
            <a:off x="143926" y="346258"/>
            <a:ext cx="8679631" cy="0"/>
          </a:xfrm>
          <a:prstGeom prst="line">
            <a:avLst/>
          </a:prstGeom>
          <a:ln>
            <a:solidFill>
              <a:srgbClr val="7F7E7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82" name="Group 81"/>
          <p:cNvGrpSpPr/>
          <p:nvPr/>
        </p:nvGrpSpPr>
        <p:grpSpPr>
          <a:xfrm>
            <a:off x="143926" y="389791"/>
            <a:ext cx="8679631" cy="369332"/>
            <a:chOff x="143926" y="389791"/>
            <a:chExt cx="8679631" cy="369332"/>
          </a:xfrm>
        </p:grpSpPr>
        <p:sp>
          <p:nvSpPr>
            <p:cNvPr id="14" name="TextBox 13"/>
            <p:cNvSpPr txBox="1"/>
            <p:nvPr/>
          </p:nvSpPr>
          <p:spPr>
            <a:xfrm>
              <a:off x="143926" y="389791"/>
              <a:ext cx="1270537" cy="18466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1200" i="1" dirty="0" smtClean="0">
                  <a:solidFill>
                    <a:srgbClr val="6094C9"/>
                  </a:solidFill>
                </a:rPr>
                <a:t>K-means</a:t>
              </a:r>
              <a:endParaRPr lang="en-US" sz="1200" i="1" dirty="0">
                <a:solidFill>
                  <a:srgbClr val="6094C9"/>
                </a:solidFill>
              </a:endParaRPr>
            </a:p>
          </p:txBody>
        </p:sp>
        <p:sp>
          <p:nvSpPr>
            <p:cNvPr id="15" name="TextBox 14"/>
            <p:cNvSpPr txBox="1"/>
            <p:nvPr/>
          </p:nvSpPr>
          <p:spPr>
            <a:xfrm>
              <a:off x="1462475" y="389791"/>
              <a:ext cx="1228466" cy="18466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1200" dirty="0" smtClean="0">
                  <a:solidFill>
                    <a:srgbClr val="7F7E7E"/>
                  </a:solidFill>
                </a:rPr>
                <a:t>Number of clusters</a:t>
              </a:r>
              <a:endParaRPr lang="en-US" sz="1200" dirty="0">
                <a:solidFill>
                  <a:srgbClr val="7F7E7E"/>
                </a:solidFill>
              </a:endParaRPr>
            </a:p>
          </p:txBody>
        </p:sp>
        <p:sp>
          <p:nvSpPr>
            <p:cNvPr id="16" name="TextBox 15"/>
            <p:cNvSpPr txBox="1"/>
            <p:nvPr/>
          </p:nvSpPr>
          <p:spPr>
            <a:xfrm>
              <a:off x="2738953" y="389791"/>
              <a:ext cx="2114057" cy="36933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1200" dirty="0" smtClean="0">
                  <a:solidFill>
                    <a:srgbClr val="7F7E7E"/>
                  </a:solidFill>
                </a:rPr>
                <a:t>Very large </a:t>
              </a:r>
              <a:r>
                <a:rPr lang="en-US" sz="1200" i="1" dirty="0" err="1" smtClean="0">
                  <a:solidFill>
                    <a:srgbClr val="7F7E7E"/>
                  </a:solidFill>
                </a:rPr>
                <a:t>n_sample</a:t>
              </a:r>
              <a:r>
                <a:rPr lang="en-US" sz="1200" dirty="0" err="1" smtClean="0">
                  <a:solidFill>
                    <a:srgbClr val="7F7E7E"/>
                  </a:solidFill>
                </a:rPr>
                <a:t>s</a:t>
              </a:r>
              <a:r>
                <a:rPr lang="en-US" sz="1200" dirty="0" smtClean="0">
                  <a:solidFill>
                    <a:srgbClr val="7F7E7E"/>
                  </a:solidFill>
                </a:rPr>
                <a:t> medium </a:t>
              </a:r>
              <a:r>
                <a:rPr lang="en-US" sz="1200" i="1" dirty="0" err="1" smtClean="0">
                  <a:solidFill>
                    <a:srgbClr val="7F7E7E"/>
                  </a:solidFill>
                </a:rPr>
                <a:t>n_clusters</a:t>
              </a:r>
              <a:r>
                <a:rPr lang="en-US" sz="1200" dirty="0" smtClean="0">
                  <a:solidFill>
                    <a:srgbClr val="7F7E7E"/>
                  </a:solidFill>
                </a:rPr>
                <a:t> with </a:t>
              </a:r>
              <a:r>
                <a:rPr lang="en-US" sz="1200" i="1" dirty="0" err="1" smtClean="0">
                  <a:solidFill>
                    <a:srgbClr val="6094C9"/>
                  </a:solidFill>
                </a:rPr>
                <a:t>MiniBatch</a:t>
              </a:r>
              <a:r>
                <a:rPr lang="en-US" sz="1200" i="1" dirty="0" smtClean="0">
                  <a:solidFill>
                    <a:srgbClr val="6094C9"/>
                  </a:solidFill>
                </a:rPr>
                <a:t> code</a:t>
              </a:r>
              <a:endParaRPr lang="en-US" sz="1200" i="1" dirty="0">
                <a:solidFill>
                  <a:srgbClr val="6094C9"/>
                </a:solidFill>
              </a:endParaRPr>
            </a:p>
          </p:txBody>
        </p:sp>
        <p:sp>
          <p:nvSpPr>
            <p:cNvPr id="17" name="TextBox 16"/>
            <p:cNvSpPr txBox="1"/>
            <p:nvPr/>
          </p:nvSpPr>
          <p:spPr>
            <a:xfrm>
              <a:off x="4901022" y="389791"/>
              <a:ext cx="2277711" cy="36933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1200" dirty="0" smtClean="0">
                  <a:solidFill>
                    <a:srgbClr val="7F7E7E"/>
                  </a:solidFill>
                </a:rPr>
                <a:t>General purpose, even cluster size, flat geometry, not too many clusters</a:t>
              </a:r>
              <a:endParaRPr lang="en-US" sz="1200" dirty="0">
                <a:solidFill>
                  <a:srgbClr val="7F7E7E"/>
                </a:solidFill>
              </a:endParaRPr>
            </a:p>
          </p:txBody>
        </p:sp>
        <p:sp>
          <p:nvSpPr>
            <p:cNvPr id="18" name="TextBox 17"/>
            <p:cNvSpPr txBox="1"/>
            <p:nvPr/>
          </p:nvSpPr>
          <p:spPr>
            <a:xfrm>
              <a:off x="7226745" y="389791"/>
              <a:ext cx="1596812" cy="18466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1200" dirty="0" smtClean="0">
                  <a:solidFill>
                    <a:srgbClr val="7F7E7E"/>
                  </a:solidFill>
                </a:rPr>
                <a:t>Distances between points</a:t>
              </a:r>
              <a:endParaRPr lang="en-US" sz="1200" dirty="0">
                <a:solidFill>
                  <a:srgbClr val="7F7E7E"/>
                </a:solidFill>
              </a:endParaRPr>
            </a:p>
          </p:txBody>
        </p:sp>
      </p:grpSp>
      <p:grpSp>
        <p:nvGrpSpPr>
          <p:cNvPr id="83" name="Group 82"/>
          <p:cNvGrpSpPr/>
          <p:nvPr/>
        </p:nvGrpSpPr>
        <p:grpSpPr>
          <a:xfrm>
            <a:off x="143926" y="858311"/>
            <a:ext cx="8679631" cy="369332"/>
            <a:chOff x="143926" y="1006045"/>
            <a:chExt cx="8679631" cy="369332"/>
          </a:xfrm>
        </p:grpSpPr>
        <p:sp>
          <p:nvSpPr>
            <p:cNvPr id="22" name="TextBox 21"/>
            <p:cNvSpPr txBox="1"/>
            <p:nvPr/>
          </p:nvSpPr>
          <p:spPr>
            <a:xfrm>
              <a:off x="143926" y="1006045"/>
              <a:ext cx="1270537" cy="18466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1200" i="1" dirty="0" smtClean="0">
                  <a:solidFill>
                    <a:srgbClr val="6094C9"/>
                  </a:solidFill>
                </a:rPr>
                <a:t>Affinity propagation</a:t>
              </a:r>
              <a:endParaRPr lang="en-US" sz="1200" i="1" dirty="0">
                <a:solidFill>
                  <a:srgbClr val="6094C9"/>
                </a:solidFill>
              </a:endParaRPr>
            </a:p>
          </p:txBody>
        </p:sp>
        <p:sp>
          <p:nvSpPr>
            <p:cNvPr id="23" name="TextBox 22"/>
            <p:cNvSpPr txBox="1"/>
            <p:nvPr/>
          </p:nvSpPr>
          <p:spPr>
            <a:xfrm>
              <a:off x="1462475" y="1006045"/>
              <a:ext cx="1228466" cy="36933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1200" dirty="0" smtClean="0">
                  <a:solidFill>
                    <a:srgbClr val="7F7E7E"/>
                  </a:solidFill>
                </a:rPr>
                <a:t>Damping, sample preferences</a:t>
              </a:r>
              <a:endParaRPr lang="en-US" sz="1200" dirty="0">
                <a:solidFill>
                  <a:srgbClr val="7F7E7E"/>
                </a:solidFill>
              </a:endParaRPr>
            </a:p>
          </p:txBody>
        </p:sp>
        <p:sp>
          <p:nvSpPr>
            <p:cNvPr id="24" name="TextBox 23"/>
            <p:cNvSpPr txBox="1"/>
            <p:nvPr/>
          </p:nvSpPr>
          <p:spPr>
            <a:xfrm>
              <a:off x="2738953" y="1006045"/>
              <a:ext cx="2114057" cy="18466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1200" dirty="0" smtClean="0">
                  <a:solidFill>
                    <a:srgbClr val="7F7E7E"/>
                  </a:solidFill>
                </a:rPr>
                <a:t>Not scalable with </a:t>
              </a:r>
              <a:r>
                <a:rPr lang="en-US" sz="1200" dirty="0" err="1" smtClean="0">
                  <a:solidFill>
                    <a:srgbClr val="7F7E7E"/>
                  </a:solidFill>
                </a:rPr>
                <a:t>n_samples</a:t>
              </a:r>
              <a:endParaRPr lang="en-US" sz="1200" i="1" dirty="0">
                <a:solidFill>
                  <a:srgbClr val="6094C9"/>
                </a:solidFill>
              </a:endParaRPr>
            </a:p>
          </p:txBody>
        </p:sp>
        <p:sp>
          <p:nvSpPr>
            <p:cNvPr id="25" name="TextBox 24"/>
            <p:cNvSpPr txBox="1"/>
            <p:nvPr/>
          </p:nvSpPr>
          <p:spPr>
            <a:xfrm>
              <a:off x="4901022" y="1006045"/>
              <a:ext cx="2277711" cy="36933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1200" dirty="0" smtClean="0">
                  <a:solidFill>
                    <a:srgbClr val="7F7E7E"/>
                  </a:solidFill>
                </a:rPr>
                <a:t>Many clusters, uneven cluster size, non-flat geometry</a:t>
              </a:r>
              <a:endParaRPr lang="en-US" sz="1200" dirty="0">
                <a:solidFill>
                  <a:srgbClr val="7F7E7E"/>
                </a:solidFill>
              </a:endParaRPr>
            </a:p>
          </p:txBody>
        </p:sp>
        <p:sp>
          <p:nvSpPr>
            <p:cNvPr id="26" name="TextBox 25"/>
            <p:cNvSpPr txBox="1"/>
            <p:nvPr/>
          </p:nvSpPr>
          <p:spPr>
            <a:xfrm>
              <a:off x="7226745" y="1006045"/>
              <a:ext cx="1596812" cy="36933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1200" dirty="0" smtClean="0">
                  <a:solidFill>
                    <a:srgbClr val="7F7E7E"/>
                  </a:solidFill>
                </a:rPr>
                <a:t>Graph distance (e.g. nearest-neighbor graph)</a:t>
              </a:r>
              <a:endParaRPr lang="en-US" sz="1200" dirty="0">
                <a:solidFill>
                  <a:srgbClr val="7F7E7E"/>
                </a:solidFill>
              </a:endParaRPr>
            </a:p>
          </p:txBody>
        </p:sp>
      </p:grpSp>
      <p:grpSp>
        <p:nvGrpSpPr>
          <p:cNvPr id="84" name="Group 83"/>
          <p:cNvGrpSpPr/>
          <p:nvPr/>
        </p:nvGrpSpPr>
        <p:grpSpPr>
          <a:xfrm>
            <a:off x="143926" y="1326831"/>
            <a:ext cx="8679631" cy="369332"/>
            <a:chOff x="143926" y="1437633"/>
            <a:chExt cx="8679631" cy="369332"/>
          </a:xfrm>
        </p:grpSpPr>
        <p:sp>
          <p:nvSpPr>
            <p:cNvPr id="30" name="TextBox 29"/>
            <p:cNvSpPr txBox="1"/>
            <p:nvPr/>
          </p:nvSpPr>
          <p:spPr>
            <a:xfrm>
              <a:off x="143926" y="1437633"/>
              <a:ext cx="1270537" cy="18466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1200" i="1" dirty="0" smtClean="0">
                  <a:solidFill>
                    <a:srgbClr val="6094C9"/>
                  </a:solidFill>
                </a:rPr>
                <a:t>Mean-shift</a:t>
              </a:r>
              <a:endParaRPr lang="en-US" sz="1200" i="1" dirty="0">
                <a:solidFill>
                  <a:srgbClr val="6094C9"/>
                </a:solidFill>
              </a:endParaRPr>
            </a:p>
          </p:txBody>
        </p:sp>
        <p:sp>
          <p:nvSpPr>
            <p:cNvPr id="31" name="TextBox 30"/>
            <p:cNvSpPr txBox="1"/>
            <p:nvPr/>
          </p:nvSpPr>
          <p:spPr>
            <a:xfrm>
              <a:off x="1462475" y="1437633"/>
              <a:ext cx="1228466" cy="18466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1200" dirty="0" smtClean="0">
                  <a:solidFill>
                    <a:srgbClr val="7F7E7E"/>
                  </a:solidFill>
                </a:rPr>
                <a:t>Bandwidth</a:t>
              </a:r>
              <a:endParaRPr lang="en-US" sz="1200" dirty="0">
                <a:solidFill>
                  <a:srgbClr val="7F7E7E"/>
                </a:solidFill>
              </a:endParaRPr>
            </a:p>
          </p:txBody>
        </p:sp>
        <p:sp>
          <p:nvSpPr>
            <p:cNvPr id="32" name="TextBox 31"/>
            <p:cNvSpPr txBox="1"/>
            <p:nvPr/>
          </p:nvSpPr>
          <p:spPr>
            <a:xfrm>
              <a:off x="2738953" y="1437633"/>
              <a:ext cx="2114057" cy="18466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1200" dirty="0" smtClean="0">
                  <a:solidFill>
                    <a:srgbClr val="7F7E7E"/>
                  </a:solidFill>
                </a:rPr>
                <a:t>Not scalable with </a:t>
              </a:r>
              <a:r>
                <a:rPr lang="en-US" sz="1200" dirty="0" err="1" smtClean="0">
                  <a:solidFill>
                    <a:srgbClr val="7F7E7E"/>
                  </a:solidFill>
                </a:rPr>
                <a:t>n_samples</a:t>
              </a:r>
              <a:endParaRPr lang="en-US" sz="1200" i="1" dirty="0">
                <a:solidFill>
                  <a:srgbClr val="6094C9"/>
                </a:solidFill>
              </a:endParaRPr>
            </a:p>
          </p:txBody>
        </p:sp>
        <p:sp>
          <p:nvSpPr>
            <p:cNvPr id="33" name="TextBox 32"/>
            <p:cNvSpPr txBox="1"/>
            <p:nvPr/>
          </p:nvSpPr>
          <p:spPr>
            <a:xfrm>
              <a:off x="4901022" y="1437633"/>
              <a:ext cx="2277711" cy="36933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1200" dirty="0" smtClean="0">
                  <a:solidFill>
                    <a:srgbClr val="7F7E7E"/>
                  </a:solidFill>
                </a:rPr>
                <a:t>Many clusters, uneven cluster size, non-flat geometry</a:t>
              </a:r>
              <a:endParaRPr lang="en-US" sz="1200" dirty="0">
                <a:solidFill>
                  <a:srgbClr val="7F7E7E"/>
                </a:solidFill>
              </a:endParaRPr>
            </a:p>
          </p:txBody>
        </p:sp>
        <p:sp>
          <p:nvSpPr>
            <p:cNvPr id="34" name="TextBox 33"/>
            <p:cNvSpPr txBox="1"/>
            <p:nvPr/>
          </p:nvSpPr>
          <p:spPr>
            <a:xfrm>
              <a:off x="7226745" y="1437633"/>
              <a:ext cx="1596812" cy="18466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1200" dirty="0">
                  <a:solidFill>
                    <a:srgbClr val="7F7E7E"/>
                  </a:solidFill>
                </a:rPr>
                <a:t>Distances between points</a:t>
              </a:r>
            </a:p>
          </p:txBody>
        </p:sp>
      </p:grpSp>
      <p:grpSp>
        <p:nvGrpSpPr>
          <p:cNvPr id="85" name="Group 84"/>
          <p:cNvGrpSpPr/>
          <p:nvPr/>
        </p:nvGrpSpPr>
        <p:grpSpPr>
          <a:xfrm>
            <a:off x="143926" y="1795351"/>
            <a:ext cx="8679631" cy="369332"/>
            <a:chOff x="143926" y="1869221"/>
            <a:chExt cx="8679631" cy="369332"/>
          </a:xfrm>
        </p:grpSpPr>
        <p:sp>
          <p:nvSpPr>
            <p:cNvPr id="37" name="TextBox 36"/>
            <p:cNvSpPr txBox="1"/>
            <p:nvPr/>
          </p:nvSpPr>
          <p:spPr>
            <a:xfrm>
              <a:off x="143926" y="1869221"/>
              <a:ext cx="1270537" cy="18466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1200" i="1" dirty="0" smtClean="0">
                  <a:solidFill>
                    <a:srgbClr val="6094C9"/>
                  </a:solidFill>
                </a:rPr>
                <a:t>Spectral clustering</a:t>
              </a:r>
              <a:endParaRPr lang="en-US" sz="1200" i="1" dirty="0">
                <a:solidFill>
                  <a:srgbClr val="6094C9"/>
                </a:solidFill>
              </a:endParaRPr>
            </a:p>
          </p:txBody>
        </p:sp>
        <p:sp>
          <p:nvSpPr>
            <p:cNvPr id="38" name="TextBox 37"/>
            <p:cNvSpPr txBox="1"/>
            <p:nvPr/>
          </p:nvSpPr>
          <p:spPr>
            <a:xfrm>
              <a:off x="1462475" y="1869221"/>
              <a:ext cx="1228466" cy="18466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1200" dirty="0">
                  <a:solidFill>
                    <a:srgbClr val="7F7E7E"/>
                  </a:solidFill>
                </a:rPr>
                <a:t>Number of </a:t>
              </a:r>
              <a:r>
                <a:rPr lang="en-US" sz="1200" dirty="0" smtClean="0">
                  <a:solidFill>
                    <a:srgbClr val="7F7E7E"/>
                  </a:solidFill>
                </a:rPr>
                <a:t>clusters</a:t>
              </a:r>
              <a:endParaRPr lang="en-US" sz="1200" dirty="0">
                <a:solidFill>
                  <a:srgbClr val="7F7E7E"/>
                </a:solidFill>
              </a:endParaRPr>
            </a:p>
          </p:txBody>
        </p:sp>
        <p:sp>
          <p:nvSpPr>
            <p:cNvPr id="39" name="TextBox 38"/>
            <p:cNvSpPr txBox="1"/>
            <p:nvPr/>
          </p:nvSpPr>
          <p:spPr>
            <a:xfrm>
              <a:off x="2738953" y="1869221"/>
              <a:ext cx="2114057" cy="36933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1200" dirty="0" smtClean="0">
                  <a:solidFill>
                    <a:srgbClr val="7F7E7E"/>
                  </a:solidFill>
                </a:rPr>
                <a:t>Medium </a:t>
              </a:r>
              <a:r>
                <a:rPr lang="en-US" sz="1200" i="1" dirty="0" err="1" smtClean="0">
                  <a:solidFill>
                    <a:srgbClr val="7F7E7E"/>
                  </a:solidFill>
                </a:rPr>
                <a:t>n_samples</a:t>
              </a:r>
              <a:r>
                <a:rPr lang="en-US" sz="1200" dirty="0" smtClean="0">
                  <a:solidFill>
                    <a:srgbClr val="7F7E7E"/>
                  </a:solidFill>
                </a:rPr>
                <a:t>, small </a:t>
              </a:r>
              <a:r>
                <a:rPr lang="en-US" sz="1200" i="1" dirty="0" err="1" smtClean="0">
                  <a:solidFill>
                    <a:srgbClr val="7F7E7E"/>
                  </a:solidFill>
                </a:rPr>
                <a:t>n_clusters</a:t>
              </a:r>
              <a:endParaRPr lang="en-US" sz="1200" i="1" dirty="0">
                <a:solidFill>
                  <a:srgbClr val="6094C9"/>
                </a:solidFill>
              </a:endParaRPr>
            </a:p>
          </p:txBody>
        </p:sp>
        <p:sp>
          <p:nvSpPr>
            <p:cNvPr id="40" name="TextBox 39"/>
            <p:cNvSpPr txBox="1"/>
            <p:nvPr/>
          </p:nvSpPr>
          <p:spPr>
            <a:xfrm>
              <a:off x="4901022" y="1869221"/>
              <a:ext cx="2277711" cy="36933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1200" dirty="0" smtClean="0">
                  <a:solidFill>
                    <a:srgbClr val="7F7E7E"/>
                  </a:solidFill>
                </a:rPr>
                <a:t>Few clusters, even cluster size, non-flat geometry</a:t>
              </a:r>
              <a:endParaRPr lang="en-US" sz="1200" dirty="0">
                <a:solidFill>
                  <a:srgbClr val="7F7E7E"/>
                </a:solidFill>
              </a:endParaRPr>
            </a:p>
          </p:txBody>
        </p:sp>
        <p:sp>
          <p:nvSpPr>
            <p:cNvPr id="41" name="TextBox 40"/>
            <p:cNvSpPr txBox="1"/>
            <p:nvPr/>
          </p:nvSpPr>
          <p:spPr>
            <a:xfrm>
              <a:off x="7226745" y="1869221"/>
              <a:ext cx="1596812" cy="36933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1200" dirty="0">
                  <a:solidFill>
                    <a:srgbClr val="7F7E7E"/>
                  </a:solidFill>
                </a:rPr>
                <a:t>Graph distance (e.g. nearest-neighbor graph)</a:t>
              </a:r>
            </a:p>
          </p:txBody>
        </p:sp>
      </p:grpSp>
      <p:cxnSp>
        <p:nvCxnSpPr>
          <p:cNvPr id="56" name="Straight Connector 55"/>
          <p:cNvCxnSpPr/>
          <p:nvPr/>
        </p:nvCxnSpPr>
        <p:spPr>
          <a:xfrm>
            <a:off x="143926" y="808717"/>
            <a:ext cx="8679631" cy="0"/>
          </a:xfrm>
          <a:prstGeom prst="line">
            <a:avLst/>
          </a:prstGeom>
          <a:ln>
            <a:solidFill>
              <a:srgbClr val="7F7E7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Straight Connector 56"/>
          <p:cNvCxnSpPr/>
          <p:nvPr/>
        </p:nvCxnSpPr>
        <p:spPr>
          <a:xfrm>
            <a:off x="143926" y="1277237"/>
            <a:ext cx="8679631" cy="0"/>
          </a:xfrm>
          <a:prstGeom prst="line">
            <a:avLst/>
          </a:prstGeom>
          <a:ln>
            <a:solidFill>
              <a:srgbClr val="7F7E7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Straight Connector 57"/>
          <p:cNvCxnSpPr/>
          <p:nvPr/>
        </p:nvCxnSpPr>
        <p:spPr>
          <a:xfrm>
            <a:off x="143926" y="1745757"/>
            <a:ext cx="8679631" cy="0"/>
          </a:xfrm>
          <a:prstGeom prst="line">
            <a:avLst/>
          </a:prstGeom>
          <a:ln>
            <a:solidFill>
              <a:srgbClr val="7F7E7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Straight Connector 58"/>
          <p:cNvCxnSpPr/>
          <p:nvPr/>
        </p:nvCxnSpPr>
        <p:spPr>
          <a:xfrm>
            <a:off x="143926" y="2214277"/>
            <a:ext cx="8679631" cy="0"/>
          </a:xfrm>
          <a:prstGeom prst="line">
            <a:avLst/>
          </a:prstGeom>
          <a:ln>
            <a:solidFill>
              <a:srgbClr val="7F7E7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81" name="Group 80"/>
          <p:cNvGrpSpPr/>
          <p:nvPr/>
        </p:nvGrpSpPr>
        <p:grpSpPr>
          <a:xfrm>
            <a:off x="143926" y="2263871"/>
            <a:ext cx="8679631" cy="369332"/>
            <a:chOff x="143926" y="2300809"/>
            <a:chExt cx="8679631" cy="369332"/>
          </a:xfrm>
        </p:grpSpPr>
        <p:sp>
          <p:nvSpPr>
            <p:cNvPr id="61" name="TextBox 60"/>
            <p:cNvSpPr txBox="1"/>
            <p:nvPr/>
          </p:nvSpPr>
          <p:spPr>
            <a:xfrm>
              <a:off x="143926" y="2300809"/>
              <a:ext cx="1270537" cy="36933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1200" i="1" dirty="0" smtClean="0">
                  <a:solidFill>
                    <a:srgbClr val="6094C9"/>
                  </a:solidFill>
                </a:rPr>
                <a:t>Hierarchical clustering</a:t>
              </a:r>
              <a:endParaRPr lang="en-US" sz="1200" i="1" dirty="0">
                <a:solidFill>
                  <a:srgbClr val="6094C9"/>
                </a:solidFill>
              </a:endParaRPr>
            </a:p>
          </p:txBody>
        </p:sp>
        <p:sp>
          <p:nvSpPr>
            <p:cNvPr id="62" name="TextBox 61"/>
            <p:cNvSpPr txBox="1"/>
            <p:nvPr/>
          </p:nvSpPr>
          <p:spPr>
            <a:xfrm>
              <a:off x="1462475" y="2300809"/>
              <a:ext cx="1228466" cy="18466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1200" dirty="0">
                  <a:solidFill>
                    <a:srgbClr val="7F7E7E"/>
                  </a:solidFill>
                </a:rPr>
                <a:t>Number of </a:t>
              </a:r>
              <a:r>
                <a:rPr lang="en-US" sz="1200" dirty="0" smtClean="0">
                  <a:solidFill>
                    <a:srgbClr val="7F7E7E"/>
                  </a:solidFill>
                </a:rPr>
                <a:t>clusters</a:t>
              </a:r>
              <a:endParaRPr lang="en-US" sz="1200" dirty="0">
                <a:solidFill>
                  <a:srgbClr val="7F7E7E"/>
                </a:solidFill>
              </a:endParaRPr>
            </a:p>
          </p:txBody>
        </p:sp>
        <p:sp>
          <p:nvSpPr>
            <p:cNvPr id="63" name="TextBox 62"/>
            <p:cNvSpPr txBox="1"/>
            <p:nvPr/>
          </p:nvSpPr>
          <p:spPr>
            <a:xfrm>
              <a:off x="2738953" y="2300809"/>
              <a:ext cx="2114057" cy="18466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1200" dirty="0" smtClean="0">
                  <a:solidFill>
                    <a:srgbClr val="7F7E7E"/>
                  </a:solidFill>
                </a:rPr>
                <a:t>Large </a:t>
              </a:r>
              <a:r>
                <a:rPr lang="en-US" sz="1200" i="1" dirty="0" err="1" smtClean="0">
                  <a:solidFill>
                    <a:srgbClr val="7F7E7E"/>
                  </a:solidFill>
                </a:rPr>
                <a:t>n_samples</a:t>
              </a:r>
              <a:r>
                <a:rPr lang="en-US" sz="1200" dirty="0">
                  <a:solidFill>
                    <a:srgbClr val="7F7E7E"/>
                  </a:solidFill>
                </a:rPr>
                <a:t> </a:t>
              </a:r>
              <a:r>
                <a:rPr lang="en-US" sz="1200" dirty="0" smtClean="0">
                  <a:solidFill>
                    <a:srgbClr val="7F7E7E"/>
                  </a:solidFill>
                </a:rPr>
                <a:t>and </a:t>
              </a:r>
              <a:r>
                <a:rPr lang="en-US" sz="1200" i="1" dirty="0" err="1" smtClean="0">
                  <a:solidFill>
                    <a:srgbClr val="7F7E7E"/>
                  </a:solidFill>
                </a:rPr>
                <a:t>n_clusters</a:t>
              </a:r>
              <a:endParaRPr lang="en-US" sz="1200" i="1" dirty="0">
                <a:solidFill>
                  <a:srgbClr val="6094C9"/>
                </a:solidFill>
              </a:endParaRPr>
            </a:p>
          </p:txBody>
        </p:sp>
        <p:sp>
          <p:nvSpPr>
            <p:cNvPr id="64" name="TextBox 63"/>
            <p:cNvSpPr txBox="1"/>
            <p:nvPr/>
          </p:nvSpPr>
          <p:spPr>
            <a:xfrm>
              <a:off x="4901022" y="2300809"/>
              <a:ext cx="2277711" cy="36933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1200" dirty="0" smtClean="0">
                  <a:solidFill>
                    <a:srgbClr val="7F7E7E"/>
                  </a:solidFill>
                </a:rPr>
                <a:t>Many clusters, possibly connectivity constraints</a:t>
              </a:r>
              <a:endParaRPr lang="en-US" sz="1200" dirty="0">
                <a:solidFill>
                  <a:srgbClr val="7F7E7E"/>
                </a:solidFill>
              </a:endParaRPr>
            </a:p>
          </p:txBody>
        </p:sp>
        <p:sp>
          <p:nvSpPr>
            <p:cNvPr id="65" name="TextBox 64"/>
            <p:cNvSpPr txBox="1"/>
            <p:nvPr/>
          </p:nvSpPr>
          <p:spPr>
            <a:xfrm>
              <a:off x="7226745" y="2300809"/>
              <a:ext cx="1596812" cy="18466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1200" dirty="0">
                  <a:solidFill>
                    <a:srgbClr val="7F7E7E"/>
                  </a:solidFill>
                </a:rPr>
                <a:t>Distances between points</a:t>
              </a:r>
            </a:p>
          </p:txBody>
        </p:sp>
      </p:grpSp>
      <p:cxnSp>
        <p:nvCxnSpPr>
          <p:cNvPr id="73" name="Straight Connector 72"/>
          <p:cNvCxnSpPr/>
          <p:nvPr/>
        </p:nvCxnSpPr>
        <p:spPr>
          <a:xfrm>
            <a:off x="143926" y="2682797"/>
            <a:ext cx="8679631" cy="0"/>
          </a:xfrm>
          <a:prstGeom prst="line">
            <a:avLst/>
          </a:prstGeom>
          <a:ln>
            <a:solidFill>
              <a:srgbClr val="7F7E7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80" name="Group 79"/>
          <p:cNvGrpSpPr/>
          <p:nvPr/>
        </p:nvGrpSpPr>
        <p:grpSpPr>
          <a:xfrm>
            <a:off x="143926" y="2732396"/>
            <a:ext cx="8679631" cy="369332"/>
            <a:chOff x="143926" y="2732396"/>
            <a:chExt cx="8679631" cy="369332"/>
          </a:xfrm>
        </p:grpSpPr>
        <p:sp>
          <p:nvSpPr>
            <p:cNvPr id="75" name="TextBox 74"/>
            <p:cNvSpPr txBox="1"/>
            <p:nvPr/>
          </p:nvSpPr>
          <p:spPr>
            <a:xfrm>
              <a:off x="143926" y="2732396"/>
              <a:ext cx="1270537" cy="18466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1200" i="1" dirty="0" smtClean="0">
                  <a:solidFill>
                    <a:srgbClr val="6094C9"/>
                  </a:solidFill>
                </a:rPr>
                <a:t>DBSCAN</a:t>
              </a:r>
              <a:endParaRPr lang="en-US" sz="1200" i="1" dirty="0">
                <a:solidFill>
                  <a:srgbClr val="6094C9"/>
                </a:solidFill>
              </a:endParaRPr>
            </a:p>
          </p:txBody>
        </p:sp>
        <p:sp>
          <p:nvSpPr>
            <p:cNvPr id="76" name="TextBox 75"/>
            <p:cNvSpPr txBox="1"/>
            <p:nvPr/>
          </p:nvSpPr>
          <p:spPr>
            <a:xfrm>
              <a:off x="1462475" y="2732396"/>
              <a:ext cx="1228466" cy="18466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1200" dirty="0" smtClean="0">
                  <a:solidFill>
                    <a:srgbClr val="7F7E7E"/>
                  </a:solidFill>
                </a:rPr>
                <a:t>Neighborhood size </a:t>
              </a:r>
              <a:endParaRPr lang="en-US" sz="1200" dirty="0">
                <a:solidFill>
                  <a:srgbClr val="7F7E7E"/>
                </a:solidFill>
              </a:endParaRPr>
            </a:p>
          </p:txBody>
        </p:sp>
        <p:sp>
          <p:nvSpPr>
            <p:cNvPr id="77" name="TextBox 76"/>
            <p:cNvSpPr txBox="1"/>
            <p:nvPr/>
          </p:nvSpPr>
          <p:spPr>
            <a:xfrm>
              <a:off x="2738953" y="2732396"/>
              <a:ext cx="2114057" cy="36933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1200" dirty="0" smtClean="0">
                  <a:solidFill>
                    <a:srgbClr val="7F7E7E"/>
                  </a:solidFill>
                </a:rPr>
                <a:t>Very large </a:t>
              </a:r>
              <a:r>
                <a:rPr lang="en-US" sz="1200" i="1" dirty="0" err="1" smtClean="0">
                  <a:solidFill>
                    <a:srgbClr val="7F7E7E"/>
                  </a:solidFill>
                </a:rPr>
                <a:t>n_samples</a:t>
              </a:r>
              <a:r>
                <a:rPr lang="en-US" sz="1200" dirty="0" smtClean="0">
                  <a:solidFill>
                    <a:srgbClr val="7F7E7E"/>
                  </a:solidFill>
                </a:rPr>
                <a:t>, medium </a:t>
              </a:r>
              <a:r>
                <a:rPr lang="en-US" sz="1200" i="1" dirty="0" err="1" smtClean="0">
                  <a:solidFill>
                    <a:srgbClr val="7F7E7E"/>
                  </a:solidFill>
                </a:rPr>
                <a:t>n_clusters</a:t>
              </a:r>
              <a:endParaRPr lang="en-US" sz="1200" i="1" dirty="0">
                <a:solidFill>
                  <a:srgbClr val="6094C9"/>
                </a:solidFill>
              </a:endParaRPr>
            </a:p>
          </p:txBody>
        </p:sp>
        <p:sp>
          <p:nvSpPr>
            <p:cNvPr id="78" name="TextBox 77"/>
            <p:cNvSpPr txBox="1"/>
            <p:nvPr/>
          </p:nvSpPr>
          <p:spPr>
            <a:xfrm>
              <a:off x="4901022" y="2732396"/>
              <a:ext cx="2277711" cy="36933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1200" dirty="0" smtClean="0">
                  <a:solidFill>
                    <a:srgbClr val="7F7E7E"/>
                  </a:solidFill>
                </a:rPr>
                <a:t>Non-flat geometry, uneven cluster sizes</a:t>
              </a:r>
              <a:endParaRPr lang="en-US" sz="1200" dirty="0">
                <a:solidFill>
                  <a:srgbClr val="7F7E7E"/>
                </a:solidFill>
              </a:endParaRPr>
            </a:p>
          </p:txBody>
        </p:sp>
        <p:sp>
          <p:nvSpPr>
            <p:cNvPr id="79" name="TextBox 78"/>
            <p:cNvSpPr txBox="1"/>
            <p:nvPr/>
          </p:nvSpPr>
          <p:spPr>
            <a:xfrm>
              <a:off x="7226745" y="2732396"/>
              <a:ext cx="1596812" cy="36933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1200" dirty="0">
                  <a:solidFill>
                    <a:srgbClr val="7F7E7E"/>
                  </a:solidFill>
                </a:rPr>
                <a:t>Distances between </a:t>
              </a:r>
              <a:r>
                <a:rPr lang="en-US" sz="1200" dirty="0" smtClean="0">
                  <a:solidFill>
                    <a:srgbClr val="7F7E7E"/>
                  </a:solidFill>
                </a:rPr>
                <a:t>nearest points</a:t>
              </a:r>
              <a:endParaRPr lang="en-US" sz="1200" dirty="0">
                <a:solidFill>
                  <a:srgbClr val="7F7E7E"/>
                </a:solidFill>
              </a:endParaRPr>
            </a:p>
          </p:txBody>
        </p:sp>
      </p:grp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3" name="object 10"/>
          <p:cNvSpPr txBox="1"/>
          <p:nvPr/>
        </p:nvSpPr>
        <p:spPr>
          <a:xfrm>
            <a:off x="2101916" y="369650"/>
            <a:ext cx="6296519" cy="4318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3400"/>
              </a:lnSpc>
              <a:spcBef>
                <a:spcPts val="170"/>
              </a:spcBef>
            </a:pPr>
            <a:r>
              <a:rPr lang="en-US" sz="4800" baseline="1706" dirty="0">
                <a:solidFill>
                  <a:srgbClr val="4E81BC"/>
                </a:solidFill>
                <a:latin typeface="+mj-lt"/>
                <a:cs typeface="Calibri"/>
              </a:rPr>
              <a:t>Agglomerative </a:t>
            </a:r>
            <a:r>
              <a:rPr sz="4800" spc="0" baseline="1706" dirty="0" smtClean="0">
                <a:solidFill>
                  <a:srgbClr val="4E81BC"/>
                </a:solidFill>
                <a:latin typeface="+mj-lt"/>
                <a:cs typeface="Calibri"/>
              </a:rPr>
              <a:t>Hierarchical Clustering</a:t>
            </a:r>
            <a:endParaRPr sz="3200" dirty="0">
              <a:latin typeface="+mj-lt"/>
              <a:cs typeface="Calibri"/>
            </a:endParaRPr>
          </a:p>
        </p:txBody>
      </p:sp>
      <p:sp>
        <p:nvSpPr>
          <p:cNvPr id="84" name="object 11"/>
          <p:cNvSpPr txBox="1"/>
          <p:nvPr/>
        </p:nvSpPr>
        <p:spPr>
          <a:xfrm>
            <a:off x="2101916" y="852250"/>
            <a:ext cx="6584884" cy="4318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>
            <a:defPPr>
              <a:defRPr lang="en-US"/>
            </a:defPPr>
            <a:lvl1pPr marL="12700">
              <a:lnSpc>
                <a:spcPts val="3400"/>
              </a:lnSpc>
              <a:spcBef>
                <a:spcPts val="170"/>
              </a:spcBef>
              <a:defRPr sz="4800" spc="0" baseline="1706">
                <a:solidFill>
                  <a:srgbClr val="7F7E7E"/>
                </a:solidFill>
                <a:latin typeface="Calibri"/>
                <a:cs typeface="Calibri"/>
              </a:defRPr>
            </a:lvl1pPr>
          </a:lstStyle>
          <a:p>
            <a:r>
              <a:rPr lang="en-US" dirty="0">
                <a:latin typeface="+mj-lt"/>
              </a:rPr>
              <a:t>If closest </a:t>
            </a:r>
            <a:r>
              <a:rPr lang="en-US" dirty="0" smtClean="0">
                <a:latin typeface="+mj-lt"/>
              </a:rPr>
              <a:t>pair are clusters, same: merge</a:t>
            </a:r>
            <a:endParaRPr dirty="0">
              <a:latin typeface="+mj-lt"/>
            </a:endParaRPr>
          </a:p>
        </p:txBody>
      </p:sp>
      <p:sp>
        <p:nvSpPr>
          <p:cNvPr id="85" name="object 82"/>
          <p:cNvSpPr/>
          <p:nvPr/>
        </p:nvSpPr>
        <p:spPr>
          <a:xfrm>
            <a:off x="4414372" y="54871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6" name="object 84"/>
          <p:cNvSpPr/>
          <p:nvPr/>
        </p:nvSpPr>
        <p:spPr>
          <a:xfrm>
            <a:off x="5399747" y="55212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367DF9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7" name="object 86"/>
          <p:cNvSpPr/>
          <p:nvPr/>
        </p:nvSpPr>
        <p:spPr>
          <a:xfrm>
            <a:off x="6251551" y="55023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8" name="object 74"/>
          <p:cNvSpPr/>
          <p:nvPr/>
        </p:nvSpPr>
        <p:spPr>
          <a:xfrm>
            <a:off x="2668469" y="519520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9" name="object 72"/>
          <p:cNvSpPr/>
          <p:nvPr/>
        </p:nvSpPr>
        <p:spPr>
          <a:xfrm>
            <a:off x="5959366" y="251737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40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80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0" name="object 70"/>
          <p:cNvSpPr/>
          <p:nvPr/>
        </p:nvSpPr>
        <p:spPr>
          <a:xfrm>
            <a:off x="5560113" y="213564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1" name="object 68"/>
          <p:cNvSpPr/>
          <p:nvPr/>
        </p:nvSpPr>
        <p:spPr>
          <a:xfrm>
            <a:off x="5148028" y="1723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2" name="object 66"/>
          <p:cNvSpPr/>
          <p:nvPr/>
        </p:nvSpPr>
        <p:spPr>
          <a:xfrm>
            <a:off x="6872003" y="34121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6094C9"/>
          </a:solidFill>
          <a:ln w="28575">
            <a:solidFill>
              <a:srgbClr val="46719B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3" name="object 63"/>
          <p:cNvSpPr/>
          <p:nvPr/>
        </p:nvSpPr>
        <p:spPr>
          <a:xfrm>
            <a:off x="5880842" y="502152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6"/>
                </a:lnTo>
                <a:lnTo>
                  <a:pt x="1583" y="198179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6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2"/>
                </a:lnTo>
                <a:lnTo>
                  <a:pt x="49876" y="299561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6"/>
                </a:lnTo>
                <a:lnTo>
                  <a:pt x="196530" y="342926"/>
                </a:lnTo>
                <a:lnTo>
                  <a:pt x="209650" y="339004"/>
                </a:lnTo>
                <a:lnTo>
                  <a:pt x="222295" y="333936"/>
                </a:lnTo>
                <a:lnTo>
                  <a:pt x="234413" y="327778"/>
                </a:lnTo>
                <a:lnTo>
                  <a:pt x="245953" y="320583"/>
                </a:lnTo>
                <a:lnTo>
                  <a:pt x="256864" y="312409"/>
                </a:lnTo>
                <a:lnTo>
                  <a:pt x="267095" y="303311"/>
                </a:lnTo>
                <a:lnTo>
                  <a:pt x="276595" y="293343"/>
                </a:lnTo>
                <a:lnTo>
                  <a:pt x="285312" y="282562"/>
                </a:lnTo>
                <a:lnTo>
                  <a:pt x="293195" y="271023"/>
                </a:lnTo>
                <a:lnTo>
                  <a:pt x="300193" y="258781"/>
                </a:lnTo>
                <a:lnTo>
                  <a:pt x="306255" y="245892"/>
                </a:lnTo>
                <a:lnTo>
                  <a:pt x="311330" y="232411"/>
                </a:lnTo>
                <a:lnTo>
                  <a:pt x="315366" y="218394"/>
                </a:lnTo>
                <a:lnTo>
                  <a:pt x="318312" y="203896"/>
                </a:lnTo>
                <a:lnTo>
                  <a:pt x="320117" y="188973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9" y="93485"/>
                </a:lnTo>
                <a:lnTo>
                  <a:pt x="296006" y="80986"/>
                </a:lnTo>
                <a:lnTo>
                  <a:pt x="288459" y="69169"/>
                </a:lnTo>
                <a:lnTo>
                  <a:pt x="280058" y="58089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4"/>
                </a:lnTo>
                <a:lnTo>
                  <a:pt x="86318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49B9CF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4" name="object 62"/>
          <p:cNvSpPr/>
          <p:nvPr/>
        </p:nvSpPr>
        <p:spPr>
          <a:xfrm>
            <a:off x="4326962" y="34938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5" name="object 60"/>
          <p:cNvSpPr/>
          <p:nvPr/>
        </p:nvSpPr>
        <p:spPr>
          <a:xfrm>
            <a:off x="3451263" y="457102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6" name="object 58"/>
          <p:cNvSpPr/>
          <p:nvPr/>
        </p:nvSpPr>
        <p:spPr>
          <a:xfrm>
            <a:off x="7513462" y="204543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4BAF39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7" name="object 56"/>
          <p:cNvSpPr/>
          <p:nvPr/>
        </p:nvSpPr>
        <p:spPr>
          <a:xfrm>
            <a:off x="6553321" y="196196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8" name="object 54"/>
          <p:cNvSpPr/>
          <p:nvPr/>
        </p:nvSpPr>
        <p:spPr>
          <a:xfrm>
            <a:off x="7353097" y="275391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9" name="object 52"/>
          <p:cNvSpPr/>
          <p:nvPr/>
        </p:nvSpPr>
        <p:spPr>
          <a:xfrm>
            <a:off x="4696124" y="412086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0" name="object 50"/>
          <p:cNvSpPr/>
          <p:nvPr/>
        </p:nvSpPr>
        <p:spPr>
          <a:xfrm>
            <a:off x="4441297" y="46123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1" name="object 48"/>
          <p:cNvSpPr/>
          <p:nvPr/>
        </p:nvSpPr>
        <p:spPr>
          <a:xfrm>
            <a:off x="3130532" y="40499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2" name="object 42"/>
          <p:cNvSpPr/>
          <p:nvPr/>
        </p:nvSpPr>
        <p:spPr>
          <a:xfrm>
            <a:off x="5748103" y="33118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3" name="object 44"/>
          <p:cNvSpPr/>
          <p:nvPr/>
        </p:nvSpPr>
        <p:spPr>
          <a:xfrm>
            <a:off x="5560113" y="25802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4" name="object 46"/>
          <p:cNvSpPr/>
          <p:nvPr/>
        </p:nvSpPr>
        <p:spPr>
          <a:xfrm>
            <a:off x="5421508" y="296447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5" name="object 40"/>
          <p:cNvSpPr/>
          <p:nvPr/>
        </p:nvSpPr>
        <p:spPr>
          <a:xfrm>
            <a:off x="5213120" y="49216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367DF9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6" name="object 38"/>
          <p:cNvSpPr/>
          <p:nvPr/>
        </p:nvSpPr>
        <p:spPr>
          <a:xfrm>
            <a:off x="7032365" y="221911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7" name="object 36"/>
          <p:cNvSpPr/>
          <p:nvPr/>
        </p:nvSpPr>
        <p:spPr>
          <a:xfrm>
            <a:off x="7385165" y="340218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6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7"/>
                </a:lnTo>
                <a:lnTo>
                  <a:pt x="310251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6094C9"/>
          </a:solidFill>
          <a:ln w="28575">
            <a:solidFill>
              <a:srgbClr val="46719B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8" name="object 34"/>
          <p:cNvSpPr/>
          <p:nvPr/>
        </p:nvSpPr>
        <p:spPr>
          <a:xfrm>
            <a:off x="5038354" y="24830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9" name="object 32"/>
          <p:cNvSpPr/>
          <p:nvPr/>
        </p:nvSpPr>
        <p:spPr>
          <a:xfrm>
            <a:off x="7192732" y="159327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4BAF39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0" name="object 30"/>
          <p:cNvSpPr/>
          <p:nvPr/>
        </p:nvSpPr>
        <p:spPr>
          <a:xfrm>
            <a:off x="6201572" y="316997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1" name="object 28"/>
          <p:cNvSpPr/>
          <p:nvPr/>
        </p:nvSpPr>
        <p:spPr>
          <a:xfrm>
            <a:off x="4877989" y="532865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2" name="object 26"/>
          <p:cNvSpPr/>
          <p:nvPr/>
        </p:nvSpPr>
        <p:spPr>
          <a:xfrm>
            <a:off x="5581873" y="4521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49B9CF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3" name="object 24"/>
          <p:cNvSpPr/>
          <p:nvPr/>
        </p:nvSpPr>
        <p:spPr>
          <a:xfrm>
            <a:off x="3528670" y="35173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4" name="object 22"/>
          <p:cNvSpPr/>
          <p:nvPr/>
        </p:nvSpPr>
        <p:spPr>
          <a:xfrm>
            <a:off x="3252845" y="520650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5" name="object 20"/>
          <p:cNvSpPr/>
          <p:nvPr/>
        </p:nvSpPr>
        <p:spPr>
          <a:xfrm>
            <a:off x="3849401" y="4051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6" name="object 18"/>
          <p:cNvSpPr/>
          <p:nvPr/>
        </p:nvSpPr>
        <p:spPr>
          <a:xfrm>
            <a:off x="6713687" y="269105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7" name="object 6"/>
          <p:cNvSpPr txBox="1"/>
          <p:nvPr/>
        </p:nvSpPr>
        <p:spPr>
          <a:xfrm>
            <a:off x="1332125" y="3759280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sp>
        <p:nvSpPr>
          <p:cNvPr id="118" name="object 5"/>
          <p:cNvSpPr txBox="1"/>
          <p:nvPr/>
        </p:nvSpPr>
        <p:spPr>
          <a:xfrm>
            <a:off x="5426815" y="6116930"/>
            <a:ext cx="542241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Age</a:t>
            </a:r>
            <a:endParaRPr sz="2400">
              <a:cs typeface="Calibri"/>
            </a:endParaRPr>
          </a:p>
        </p:txBody>
      </p:sp>
      <p:grpSp>
        <p:nvGrpSpPr>
          <p:cNvPr id="119" name="Group 118"/>
          <p:cNvGrpSpPr/>
          <p:nvPr/>
        </p:nvGrpSpPr>
        <p:grpSpPr>
          <a:xfrm>
            <a:off x="2383438" y="1888930"/>
            <a:ext cx="6303362" cy="4054670"/>
            <a:chOff x="2343901" y="1923700"/>
            <a:chExt cx="6303362" cy="4054670"/>
          </a:xfrm>
        </p:grpSpPr>
        <p:sp>
          <p:nvSpPr>
            <p:cNvPr id="120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121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</p:spTree>
    <p:extLst>
      <p:ext uri="{BB962C8B-B14F-4D97-AF65-F5344CB8AC3E}">
        <p14:creationId xmlns:p14="http://schemas.microsoft.com/office/powerpoint/2010/main" val="3869224113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143926" y="129140"/>
            <a:ext cx="1270537" cy="184666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r>
              <a:rPr lang="en-US" sz="1200" b="1" dirty="0" smtClean="0">
                <a:solidFill>
                  <a:srgbClr val="7F7E7E"/>
                </a:solidFill>
              </a:rPr>
              <a:t>Method name</a:t>
            </a:r>
            <a:endParaRPr lang="en-US" sz="1200" b="1" dirty="0">
              <a:solidFill>
                <a:srgbClr val="7F7E7E"/>
              </a:solidFill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1462475" y="129140"/>
            <a:ext cx="1228466" cy="184666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r>
              <a:rPr lang="en-US" sz="1200" b="1" dirty="0" smtClean="0">
                <a:solidFill>
                  <a:srgbClr val="7F7E7E"/>
                </a:solidFill>
              </a:rPr>
              <a:t>Parameters</a:t>
            </a:r>
            <a:endParaRPr lang="en-US" sz="1200" b="1" dirty="0">
              <a:solidFill>
                <a:srgbClr val="7F7E7E"/>
              </a:solidFill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2738953" y="129140"/>
            <a:ext cx="2114057" cy="184666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r>
              <a:rPr lang="en-US" sz="1200" b="1" dirty="0" smtClean="0">
                <a:solidFill>
                  <a:srgbClr val="7F7E7E"/>
                </a:solidFill>
              </a:rPr>
              <a:t>Scalability</a:t>
            </a:r>
            <a:endParaRPr lang="en-US" sz="1200" b="1" dirty="0">
              <a:solidFill>
                <a:srgbClr val="7F7E7E"/>
              </a:solidFill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4901022" y="129140"/>
            <a:ext cx="2277711" cy="184666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r>
              <a:rPr lang="en-US" sz="1200" b="1" dirty="0" err="1" smtClean="0">
                <a:solidFill>
                  <a:srgbClr val="7F7E7E"/>
                </a:solidFill>
              </a:rPr>
              <a:t>Usecase</a:t>
            </a:r>
            <a:endParaRPr lang="en-US" sz="1200" b="1" dirty="0">
              <a:solidFill>
                <a:srgbClr val="7F7E7E"/>
              </a:solidFill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7226745" y="129140"/>
            <a:ext cx="1596812" cy="184666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r>
              <a:rPr lang="en-US" sz="1200" b="1" dirty="0" smtClean="0">
                <a:solidFill>
                  <a:srgbClr val="7F7E7E"/>
                </a:solidFill>
              </a:rPr>
              <a:t>Geometry (metric used)</a:t>
            </a:r>
            <a:endParaRPr lang="en-US" sz="1200" b="1" dirty="0">
              <a:solidFill>
                <a:srgbClr val="7F7E7E"/>
              </a:solidFill>
            </a:endParaRPr>
          </a:p>
        </p:txBody>
      </p:sp>
      <p:cxnSp>
        <p:nvCxnSpPr>
          <p:cNvPr id="9" name="Straight Connector 8"/>
          <p:cNvCxnSpPr/>
          <p:nvPr/>
        </p:nvCxnSpPr>
        <p:spPr>
          <a:xfrm>
            <a:off x="143926" y="346258"/>
            <a:ext cx="8679631" cy="0"/>
          </a:xfrm>
          <a:prstGeom prst="line">
            <a:avLst/>
          </a:prstGeom>
          <a:ln>
            <a:solidFill>
              <a:srgbClr val="7F7E7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10"/>
          <p:cNvSpPr txBox="1"/>
          <p:nvPr/>
        </p:nvSpPr>
        <p:spPr>
          <a:xfrm>
            <a:off x="143926" y="389791"/>
            <a:ext cx="1270537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i="1" dirty="0" smtClean="0">
                <a:solidFill>
                  <a:srgbClr val="4E81BC"/>
                </a:solidFill>
              </a:rPr>
              <a:t>K-means</a:t>
            </a:r>
            <a:endParaRPr lang="en-US" sz="1200" i="1" dirty="0">
              <a:solidFill>
                <a:srgbClr val="4E81BC"/>
              </a:solidFill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1462475" y="389791"/>
            <a:ext cx="1228466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 smtClean="0">
                <a:solidFill>
                  <a:srgbClr val="7F7E7E"/>
                </a:solidFill>
              </a:rPr>
              <a:t>Number of clusters</a:t>
            </a:r>
            <a:endParaRPr lang="en-US" sz="1200" dirty="0">
              <a:solidFill>
                <a:srgbClr val="7F7E7E"/>
              </a:solidFill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2738953" y="389791"/>
            <a:ext cx="2114057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 smtClean="0">
                <a:solidFill>
                  <a:srgbClr val="7F7E7E"/>
                </a:solidFill>
              </a:rPr>
              <a:t>Very large </a:t>
            </a:r>
            <a:r>
              <a:rPr lang="en-US" sz="1200" i="1" dirty="0" err="1" smtClean="0">
                <a:solidFill>
                  <a:srgbClr val="7F7E7E"/>
                </a:solidFill>
              </a:rPr>
              <a:t>n_sample</a:t>
            </a:r>
            <a:r>
              <a:rPr lang="en-US" sz="1200" dirty="0" err="1" smtClean="0">
                <a:solidFill>
                  <a:srgbClr val="7F7E7E"/>
                </a:solidFill>
              </a:rPr>
              <a:t>s</a:t>
            </a:r>
            <a:r>
              <a:rPr lang="en-US" sz="1200" dirty="0" smtClean="0">
                <a:solidFill>
                  <a:srgbClr val="7F7E7E"/>
                </a:solidFill>
              </a:rPr>
              <a:t> medium </a:t>
            </a:r>
            <a:r>
              <a:rPr lang="en-US" sz="1200" i="1" dirty="0" err="1" smtClean="0">
                <a:solidFill>
                  <a:srgbClr val="7F7E7E"/>
                </a:solidFill>
              </a:rPr>
              <a:t>n_clusters</a:t>
            </a:r>
            <a:r>
              <a:rPr lang="en-US" sz="1200" dirty="0" smtClean="0">
                <a:solidFill>
                  <a:srgbClr val="7F7E7E"/>
                </a:solidFill>
              </a:rPr>
              <a:t> with </a:t>
            </a:r>
            <a:r>
              <a:rPr lang="en-US" sz="1200" i="1" dirty="0" err="1" smtClean="0">
                <a:solidFill>
                  <a:srgbClr val="4E81BC"/>
                </a:solidFill>
              </a:rPr>
              <a:t>MiniBatch</a:t>
            </a:r>
            <a:r>
              <a:rPr lang="en-US" sz="1200" i="1" dirty="0" smtClean="0">
                <a:solidFill>
                  <a:srgbClr val="4E81BC"/>
                </a:solidFill>
              </a:rPr>
              <a:t> code</a:t>
            </a:r>
            <a:endParaRPr lang="en-US" sz="1200" i="1" dirty="0">
              <a:solidFill>
                <a:srgbClr val="4E81BC"/>
              </a:solidFill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4901022" y="389791"/>
            <a:ext cx="2277711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 smtClean="0">
                <a:solidFill>
                  <a:srgbClr val="7F7E7E"/>
                </a:solidFill>
              </a:rPr>
              <a:t>General purpose, even cluster size, flat geometry, not too many clusters</a:t>
            </a:r>
            <a:endParaRPr lang="en-US" sz="1200" dirty="0">
              <a:solidFill>
                <a:srgbClr val="7F7E7E"/>
              </a:solidFill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7226745" y="389791"/>
            <a:ext cx="1596812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 smtClean="0">
                <a:solidFill>
                  <a:srgbClr val="7F7E7E"/>
                </a:solidFill>
              </a:rPr>
              <a:t>Distances between points</a:t>
            </a:r>
            <a:endParaRPr lang="en-US" sz="1200" dirty="0">
              <a:solidFill>
                <a:srgbClr val="7F7E7E"/>
              </a:solidFill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143926" y="858311"/>
            <a:ext cx="1270537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i="1" dirty="0" smtClean="0">
                <a:solidFill>
                  <a:srgbClr val="4E81BC"/>
                </a:solidFill>
              </a:rPr>
              <a:t>Affinity propagation</a:t>
            </a:r>
            <a:endParaRPr lang="en-US" sz="1200" i="1" dirty="0">
              <a:solidFill>
                <a:srgbClr val="4E81BC"/>
              </a:solidFill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1462475" y="858311"/>
            <a:ext cx="1228466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 smtClean="0">
                <a:solidFill>
                  <a:srgbClr val="7F7E7E"/>
                </a:solidFill>
              </a:rPr>
              <a:t>Damping, sample preferences</a:t>
            </a:r>
            <a:endParaRPr lang="en-US" sz="1200" dirty="0">
              <a:solidFill>
                <a:srgbClr val="7F7E7E"/>
              </a:solidFill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2738953" y="858311"/>
            <a:ext cx="2114057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 smtClean="0">
                <a:solidFill>
                  <a:srgbClr val="7F7E7E"/>
                </a:solidFill>
              </a:rPr>
              <a:t>Not scalable with </a:t>
            </a:r>
            <a:r>
              <a:rPr lang="en-US" sz="1200" dirty="0" err="1" smtClean="0">
                <a:solidFill>
                  <a:srgbClr val="7F7E7E"/>
                </a:solidFill>
              </a:rPr>
              <a:t>n_samples</a:t>
            </a:r>
            <a:endParaRPr lang="en-US" sz="1200" i="1" dirty="0">
              <a:solidFill>
                <a:srgbClr val="6094C9"/>
              </a:solidFill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4901022" y="858311"/>
            <a:ext cx="2277711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 smtClean="0">
                <a:solidFill>
                  <a:srgbClr val="7F7E7E"/>
                </a:solidFill>
              </a:rPr>
              <a:t>Many clusters, uneven cluster size, non-flat geometry</a:t>
            </a:r>
            <a:endParaRPr lang="en-US" sz="1200" dirty="0">
              <a:solidFill>
                <a:srgbClr val="7F7E7E"/>
              </a:solidFill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7226745" y="858311"/>
            <a:ext cx="1596812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 smtClean="0">
                <a:solidFill>
                  <a:srgbClr val="7F7E7E"/>
                </a:solidFill>
              </a:rPr>
              <a:t>Graph distance (e.g. nearest-neighbor graph)</a:t>
            </a:r>
            <a:endParaRPr lang="en-US" sz="1200" dirty="0">
              <a:solidFill>
                <a:srgbClr val="7F7E7E"/>
              </a:solidFill>
            </a:endParaRPr>
          </a:p>
        </p:txBody>
      </p:sp>
      <p:sp>
        <p:nvSpPr>
          <p:cNvPr id="23" name="TextBox 22"/>
          <p:cNvSpPr txBox="1"/>
          <p:nvPr/>
        </p:nvSpPr>
        <p:spPr>
          <a:xfrm>
            <a:off x="143926" y="1326831"/>
            <a:ext cx="1270537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i="1" dirty="0" smtClean="0">
                <a:solidFill>
                  <a:srgbClr val="4E81BC"/>
                </a:solidFill>
              </a:rPr>
              <a:t>Mean-shift</a:t>
            </a:r>
            <a:endParaRPr lang="en-US" sz="1200" i="1" dirty="0">
              <a:solidFill>
                <a:srgbClr val="4E81BC"/>
              </a:solidFill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1462475" y="1326831"/>
            <a:ext cx="1228466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 smtClean="0">
                <a:solidFill>
                  <a:srgbClr val="7F7E7E"/>
                </a:solidFill>
              </a:rPr>
              <a:t>Bandwidth</a:t>
            </a:r>
            <a:endParaRPr lang="en-US" sz="1200" dirty="0">
              <a:solidFill>
                <a:srgbClr val="7F7E7E"/>
              </a:solidFill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2738953" y="1326831"/>
            <a:ext cx="2114057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 smtClean="0">
                <a:solidFill>
                  <a:srgbClr val="7F7E7E"/>
                </a:solidFill>
              </a:rPr>
              <a:t>Not scalable with </a:t>
            </a:r>
            <a:r>
              <a:rPr lang="en-US" sz="1200" dirty="0" err="1" smtClean="0">
                <a:solidFill>
                  <a:srgbClr val="7F7E7E"/>
                </a:solidFill>
              </a:rPr>
              <a:t>n_samples</a:t>
            </a:r>
            <a:endParaRPr lang="en-US" sz="1200" i="1" dirty="0">
              <a:solidFill>
                <a:srgbClr val="6094C9"/>
              </a:solidFill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4901022" y="1326831"/>
            <a:ext cx="2277711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 smtClean="0">
                <a:solidFill>
                  <a:srgbClr val="7F7E7E"/>
                </a:solidFill>
              </a:rPr>
              <a:t>Many clusters, uneven cluster size, non-flat geometry</a:t>
            </a:r>
            <a:endParaRPr lang="en-US" sz="1200" dirty="0">
              <a:solidFill>
                <a:srgbClr val="7F7E7E"/>
              </a:solidFill>
            </a:endParaRPr>
          </a:p>
        </p:txBody>
      </p:sp>
      <p:sp>
        <p:nvSpPr>
          <p:cNvPr id="27" name="TextBox 26"/>
          <p:cNvSpPr txBox="1"/>
          <p:nvPr/>
        </p:nvSpPr>
        <p:spPr>
          <a:xfrm>
            <a:off x="7226745" y="1326831"/>
            <a:ext cx="1596812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>
                <a:solidFill>
                  <a:srgbClr val="7F7E7E"/>
                </a:solidFill>
              </a:rPr>
              <a:t>Distances between points</a:t>
            </a:r>
          </a:p>
        </p:txBody>
      </p:sp>
      <p:sp>
        <p:nvSpPr>
          <p:cNvPr id="29" name="TextBox 28"/>
          <p:cNvSpPr txBox="1"/>
          <p:nvPr/>
        </p:nvSpPr>
        <p:spPr>
          <a:xfrm>
            <a:off x="143926" y="1795351"/>
            <a:ext cx="1270537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i="1" dirty="0" smtClean="0">
                <a:solidFill>
                  <a:srgbClr val="4E81BC"/>
                </a:solidFill>
              </a:rPr>
              <a:t>Spectral clustering</a:t>
            </a:r>
            <a:endParaRPr lang="en-US" sz="1200" i="1" dirty="0">
              <a:solidFill>
                <a:srgbClr val="4E81BC"/>
              </a:solidFill>
            </a:endParaRPr>
          </a:p>
        </p:txBody>
      </p:sp>
      <p:sp>
        <p:nvSpPr>
          <p:cNvPr id="30" name="TextBox 29"/>
          <p:cNvSpPr txBox="1"/>
          <p:nvPr/>
        </p:nvSpPr>
        <p:spPr>
          <a:xfrm>
            <a:off x="1462475" y="1795351"/>
            <a:ext cx="1228466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>
                <a:solidFill>
                  <a:srgbClr val="7F7E7E"/>
                </a:solidFill>
              </a:rPr>
              <a:t>Number of </a:t>
            </a:r>
            <a:r>
              <a:rPr lang="en-US" sz="1200" dirty="0" smtClean="0">
                <a:solidFill>
                  <a:srgbClr val="7F7E7E"/>
                </a:solidFill>
              </a:rPr>
              <a:t>clusters</a:t>
            </a:r>
            <a:endParaRPr lang="en-US" sz="1200" dirty="0">
              <a:solidFill>
                <a:srgbClr val="7F7E7E"/>
              </a:solidFill>
            </a:endParaRPr>
          </a:p>
        </p:txBody>
      </p:sp>
      <p:sp>
        <p:nvSpPr>
          <p:cNvPr id="31" name="TextBox 30"/>
          <p:cNvSpPr txBox="1"/>
          <p:nvPr/>
        </p:nvSpPr>
        <p:spPr>
          <a:xfrm>
            <a:off x="2738953" y="1795351"/>
            <a:ext cx="2114057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 smtClean="0">
                <a:solidFill>
                  <a:srgbClr val="7F7E7E"/>
                </a:solidFill>
              </a:rPr>
              <a:t>Medium </a:t>
            </a:r>
            <a:r>
              <a:rPr lang="en-US" sz="1200" i="1" dirty="0" err="1" smtClean="0">
                <a:solidFill>
                  <a:srgbClr val="7F7E7E"/>
                </a:solidFill>
              </a:rPr>
              <a:t>n_samples</a:t>
            </a:r>
            <a:r>
              <a:rPr lang="en-US" sz="1200" dirty="0" smtClean="0">
                <a:solidFill>
                  <a:srgbClr val="7F7E7E"/>
                </a:solidFill>
              </a:rPr>
              <a:t>, small </a:t>
            </a:r>
            <a:r>
              <a:rPr lang="en-US" sz="1200" i="1" dirty="0" err="1" smtClean="0">
                <a:solidFill>
                  <a:srgbClr val="7F7E7E"/>
                </a:solidFill>
              </a:rPr>
              <a:t>n_clusters</a:t>
            </a:r>
            <a:endParaRPr lang="en-US" sz="1200" i="1" dirty="0">
              <a:solidFill>
                <a:srgbClr val="6094C9"/>
              </a:solidFill>
            </a:endParaRPr>
          </a:p>
        </p:txBody>
      </p:sp>
      <p:sp>
        <p:nvSpPr>
          <p:cNvPr id="32" name="TextBox 31"/>
          <p:cNvSpPr txBox="1"/>
          <p:nvPr/>
        </p:nvSpPr>
        <p:spPr>
          <a:xfrm>
            <a:off x="4901022" y="1795351"/>
            <a:ext cx="2277711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 smtClean="0">
                <a:solidFill>
                  <a:srgbClr val="7F7E7E"/>
                </a:solidFill>
              </a:rPr>
              <a:t>Few clusters, even cluster size, non-flat geometry</a:t>
            </a:r>
            <a:endParaRPr lang="en-US" sz="1200" dirty="0">
              <a:solidFill>
                <a:srgbClr val="7F7E7E"/>
              </a:solidFill>
            </a:endParaRPr>
          </a:p>
        </p:txBody>
      </p:sp>
      <p:sp>
        <p:nvSpPr>
          <p:cNvPr id="33" name="TextBox 32"/>
          <p:cNvSpPr txBox="1"/>
          <p:nvPr/>
        </p:nvSpPr>
        <p:spPr>
          <a:xfrm>
            <a:off x="7226745" y="1795351"/>
            <a:ext cx="1596812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>
                <a:solidFill>
                  <a:srgbClr val="7F7E7E"/>
                </a:solidFill>
              </a:rPr>
              <a:t>Graph distance (e.g. nearest-neighbor graph)</a:t>
            </a:r>
          </a:p>
        </p:txBody>
      </p:sp>
      <p:cxnSp>
        <p:nvCxnSpPr>
          <p:cNvPr id="34" name="Straight Connector 33"/>
          <p:cNvCxnSpPr/>
          <p:nvPr/>
        </p:nvCxnSpPr>
        <p:spPr>
          <a:xfrm>
            <a:off x="143926" y="808717"/>
            <a:ext cx="8679631" cy="0"/>
          </a:xfrm>
          <a:prstGeom prst="line">
            <a:avLst/>
          </a:prstGeom>
          <a:ln>
            <a:solidFill>
              <a:srgbClr val="7F7E7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/>
          <p:cNvCxnSpPr/>
          <p:nvPr/>
        </p:nvCxnSpPr>
        <p:spPr>
          <a:xfrm>
            <a:off x="143926" y="1277237"/>
            <a:ext cx="8679631" cy="0"/>
          </a:xfrm>
          <a:prstGeom prst="line">
            <a:avLst/>
          </a:prstGeom>
          <a:ln>
            <a:solidFill>
              <a:srgbClr val="7F7E7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Connector 35"/>
          <p:cNvCxnSpPr/>
          <p:nvPr/>
        </p:nvCxnSpPr>
        <p:spPr>
          <a:xfrm>
            <a:off x="143926" y="1745757"/>
            <a:ext cx="8679631" cy="0"/>
          </a:xfrm>
          <a:prstGeom prst="line">
            <a:avLst/>
          </a:prstGeom>
          <a:ln>
            <a:solidFill>
              <a:srgbClr val="7F7E7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Straight Connector 36"/>
          <p:cNvCxnSpPr/>
          <p:nvPr/>
        </p:nvCxnSpPr>
        <p:spPr>
          <a:xfrm>
            <a:off x="143926" y="2214277"/>
            <a:ext cx="8679631" cy="0"/>
          </a:xfrm>
          <a:prstGeom prst="line">
            <a:avLst/>
          </a:prstGeom>
          <a:ln>
            <a:solidFill>
              <a:srgbClr val="7F7E7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TextBox 38"/>
          <p:cNvSpPr txBox="1"/>
          <p:nvPr/>
        </p:nvSpPr>
        <p:spPr>
          <a:xfrm>
            <a:off x="143926" y="2263871"/>
            <a:ext cx="1270537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i="1" dirty="0" smtClean="0">
                <a:solidFill>
                  <a:srgbClr val="4E81BC"/>
                </a:solidFill>
              </a:rPr>
              <a:t>Hierarchical clustering</a:t>
            </a:r>
            <a:endParaRPr lang="en-US" sz="1200" i="1" dirty="0">
              <a:solidFill>
                <a:srgbClr val="4E81BC"/>
              </a:solidFill>
            </a:endParaRPr>
          </a:p>
        </p:txBody>
      </p:sp>
      <p:sp>
        <p:nvSpPr>
          <p:cNvPr id="40" name="TextBox 39"/>
          <p:cNvSpPr txBox="1"/>
          <p:nvPr/>
        </p:nvSpPr>
        <p:spPr>
          <a:xfrm>
            <a:off x="1462475" y="2263871"/>
            <a:ext cx="1228466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>
                <a:solidFill>
                  <a:srgbClr val="7F7E7E"/>
                </a:solidFill>
              </a:rPr>
              <a:t>Number of </a:t>
            </a:r>
            <a:r>
              <a:rPr lang="en-US" sz="1200" dirty="0" smtClean="0">
                <a:solidFill>
                  <a:srgbClr val="7F7E7E"/>
                </a:solidFill>
              </a:rPr>
              <a:t>clusters</a:t>
            </a:r>
            <a:endParaRPr lang="en-US" sz="1200" dirty="0">
              <a:solidFill>
                <a:srgbClr val="7F7E7E"/>
              </a:solidFill>
            </a:endParaRPr>
          </a:p>
        </p:txBody>
      </p:sp>
      <p:sp>
        <p:nvSpPr>
          <p:cNvPr id="41" name="TextBox 40"/>
          <p:cNvSpPr txBox="1"/>
          <p:nvPr/>
        </p:nvSpPr>
        <p:spPr>
          <a:xfrm>
            <a:off x="2738953" y="2263871"/>
            <a:ext cx="2114057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 smtClean="0">
                <a:solidFill>
                  <a:srgbClr val="7F7E7E"/>
                </a:solidFill>
              </a:rPr>
              <a:t>Large </a:t>
            </a:r>
            <a:r>
              <a:rPr lang="en-US" sz="1200" i="1" dirty="0" err="1" smtClean="0">
                <a:solidFill>
                  <a:srgbClr val="7F7E7E"/>
                </a:solidFill>
              </a:rPr>
              <a:t>n_samples</a:t>
            </a:r>
            <a:r>
              <a:rPr lang="en-US" sz="1200" dirty="0">
                <a:solidFill>
                  <a:srgbClr val="7F7E7E"/>
                </a:solidFill>
              </a:rPr>
              <a:t> </a:t>
            </a:r>
            <a:r>
              <a:rPr lang="en-US" sz="1200" dirty="0" smtClean="0">
                <a:solidFill>
                  <a:srgbClr val="7F7E7E"/>
                </a:solidFill>
              </a:rPr>
              <a:t>and </a:t>
            </a:r>
            <a:r>
              <a:rPr lang="en-US" sz="1200" i="1" dirty="0" err="1" smtClean="0">
                <a:solidFill>
                  <a:srgbClr val="7F7E7E"/>
                </a:solidFill>
              </a:rPr>
              <a:t>n_clusters</a:t>
            </a:r>
            <a:endParaRPr lang="en-US" sz="1200" i="1" dirty="0">
              <a:solidFill>
                <a:srgbClr val="6094C9"/>
              </a:solidFill>
            </a:endParaRPr>
          </a:p>
        </p:txBody>
      </p:sp>
      <p:sp>
        <p:nvSpPr>
          <p:cNvPr id="42" name="TextBox 41"/>
          <p:cNvSpPr txBox="1"/>
          <p:nvPr/>
        </p:nvSpPr>
        <p:spPr>
          <a:xfrm>
            <a:off x="4901022" y="2263871"/>
            <a:ext cx="2277711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 smtClean="0">
                <a:solidFill>
                  <a:srgbClr val="7F7E7E"/>
                </a:solidFill>
              </a:rPr>
              <a:t>Many clusters, possibly connectivity constraints</a:t>
            </a:r>
            <a:endParaRPr lang="en-US" sz="1200" dirty="0">
              <a:solidFill>
                <a:srgbClr val="7F7E7E"/>
              </a:solidFill>
            </a:endParaRPr>
          </a:p>
        </p:txBody>
      </p:sp>
      <p:sp>
        <p:nvSpPr>
          <p:cNvPr id="43" name="TextBox 42"/>
          <p:cNvSpPr txBox="1"/>
          <p:nvPr/>
        </p:nvSpPr>
        <p:spPr>
          <a:xfrm>
            <a:off x="7226745" y="2263871"/>
            <a:ext cx="1596812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>
                <a:solidFill>
                  <a:srgbClr val="7F7E7E"/>
                </a:solidFill>
              </a:rPr>
              <a:t>Distances between points</a:t>
            </a:r>
          </a:p>
        </p:txBody>
      </p:sp>
      <p:cxnSp>
        <p:nvCxnSpPr>
          <p:cNvPr id="44" name="Straight Connector 43"/>
          <p:cNvCxnSpPr/>
          <p:nvPr/>
        </p:nvCxnSpPr>
        <p:spPr>
          <a:xfrm>
            <a:off x="143926" y="2682797"/>
            <a:ext cx="8679631" cy="0"/>
          </a:xfrm>
          <a:prstGeom prst="line">
            <a:avLst/>
          </a:prstGeom>
          <a:ln>
            <a:solidFill>
              <a:srgbClr val="7F7E7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TextBox 45"/>
          <p:cNvSpPr txBox="1"/>
          <p:nvPr/>
        </p:nvSpPr>
        <p:spPr>
          <a:xfrm>
            <a:off x="143926" y="2732396"/>
            <a:ext cx="1270537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i="1" dirty="0" smtClean="0">
                <a:solidFill>
                  <a:srgbClr val="4E81BC"/>
                </a:solidFill>
              </a:rPr>
              <a:t>DBSCAN</a:t>
            </a:r>
            <a:endParaRPr lang="en-US" sz="1200" i="1" dirty="0">
              <a:solidFill>
                <a:srgbClr val="4E81BC"/>
              </a:solidFill>
            </a:endParaRPr>
          </a:p>
        </p:txBody>
      </p:sp>
      <p:sp>
        <p:nvSpPr>
          <p:cNvPr id="47" name="TextBox 46"/>
          <p:cNvSpPr txBox="1"/>
          <p:nvPr/>
        </p:nvSpPr>
        <p:spPr>
          <a:xfrm>
            <a:off x="1462475" y="2732396"/>
            <a:ext cx="1228466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 smtClean="0">
                <a:solidFill>
                  <a:srgbClr val="7F7E7E"/>
                </a:solidFill>
              </a:rPr>
              <a:t>Neighborhood size </a:t>
            </a:r>
            <a:endParaRPr lang="en-US" sz="1200" dirty="0">
              <a:solidFill>
                <a:srgbClr val="7F7E7E"/>
              </a:solidFill>
            </a:endParaRPr>
          </a:p>
        </p:txBody>
      </p:sp>
      <p:sp>
        <p:nvSpPr>
          <p:cNvPr id="48" name="TextBox 47"/>
          <p:cNvSpPr txBox="1"/>
          <p:nvPr/>
        </p:nvSpPr>
        <p:spPr>
          <a:xfrm>
            <a:off x="2738953" y="2732396"/>
            <a:ext cx="2114057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 smtClean="0">
                <a:solidFill>
                  <a:srgbClr val="7F7E7E"/>
                </a:solidFill>
              </a:rPr>
              <a:t>Very large </a:t>
            </a:r>
            <a:r>
              <a:rPr lang="en-US" sz="1200" i="1" dirty="0" err="1" smtClean="0">
                <a:solidFill>
                  <a:srgbClr val="7F7E7E"/>
                </a:solidFill>
              </a:rPr>
              <a:t>n_samples</a:t>
            </a:r>
            <a:r>
              <a:rPr lang="en-US" sz="1200" dirty="0" smtClean="0">
                <a:solidFill>
                  <a:srgbClr val="7F7E7E"/>
                </a:solidFill>
              </a:rPr>
              <a:t>, medium </a:t>
            </a:r>
            <a:r>
              <a:rPr lang="en-US" sz="1200" i="1" dirty="0" err="1" smtClean="0">
                <a:solidFill>
                  <a:srgbClr val="7F7E7E"/>
                </a:solidFill>
              </a:rPr>
              <a:t>n_clusters</a:t>
            </a:r>
            <a:endParaRPr lang="en-US" sz="1200" i="1" dirty="0">
              <a:solidFill>
                <a:srgbClr val="6094C9"/>
              </a:solidFill>
            </a:endParaRPr>
          </a:p>
        </p:txBody>
      </p:sp>
      <p:sp>
        <p:nvSpPr>
          <p:cNvPr id="49" name="TextBox 48"/>
          <p:cNvSpPr txBox="1"/>
          <p:nvPr/>
        </p:nvSpPr>
        <p:spPr>
          <a:xfrm>
            <a:off x="4901022" y="2732396"/>
            <a:ext cx="2277711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 smtClean="0">
                <a:solidFill>
                  <a:srgbClr val="7F7E7E"/>
                </a:solidFill>
              </a:rPr>
              <a:t>Non-flat geometry, uneven cluster sizes</a:t>
            </a:r>
            <a:endParaRPr lang="en-US" sz="1200" dirty="0">
              <a:solidFill>
                <a:srgbClr val="7F7E7E"/>
              </a:solidFill>
            </a:endParaRPr>
          </a:p>
        </p:txBody>
      </p:sp>
      <p:sp>
        <p:nvSpPr>
          <p:cNvPr id="50" name="TextBox 49"/>
          <p:cNvSpPr txBox="1"/>
          <p:nvPr/>
        </p:nvSpPr>
        <p:spPr>
          <a:xfrm>
            <a:off x="7226745" y="2732396"/>
            <a:ext cx="1596812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>
                <a:solidFill>
                  <a:srgbClr val="7F7E7E"/>
                </a:solidFill>
              </a:rPr>
              <a:t>Distances between </a:t>
            </a:r>
            <a:r>
              <a:rPr lang="en-US" sz="1200" dirty="0" smtClean="0">
                <a:solidFill>
                  <a:srgbClr val="7F7E7E"/>
                </a:solidFill>
              </a:rPr>
              <a:t>nearest points</a:t>
            </a:r>
            <a:endParaRPr lang="en-US" sz="1200" dirty="0">
              <a:solidFill>
                <a:srgbClr val="7F7E7E"/>
              </a:solidFill>
            </a:endParaRPr>
          </a:p>
        </p:txBody>
      </p:sp>
      <p:sp>
        <p:nvSpPr>
          <p:cNvPr id="51" name="object 5"/>
          <p:cNvSpPr txBox="1"/>
          <p:nvPr/>
        </p:nvSpPr>
        <p:spPr>
          <a:xfrm>
            <a:off x="143926" y="3515232"/>
            <a:ext cx="8679631" cy="2962349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 marR="41909">
              <a:lnSpc>
                <a:spcPts val="3454"/>
              </a:lnSpc>
              <a:spcBef>
                <a:spcPts val="172"/>
              </a:spcBef>
            </a:pPr>
            <a:r>
              <a:rPr lang="en-US" sz="4400" baseline="2560" dirty="0" smtClean="0">
                <a:solidFill>
                  <a:srgbClr val="4E81BC"/>
                </a:solidFill>
                <a:cs typeface="Calibri"/>
              </a:rPr>
              <a:t>K Means</a:t>
            </a:r>
            <a:endParaRPr sz="4400" dirty="0">
              <a:cs typeface="Calibri"/>
            </a:endParaRPr>
          </a:p>
          <a:p>
            <a:pPr marL="12700">
              <a:lnSpc>
                <a:spcPts val="2770"/>
              </a:lnSpc>
            </a:pPr>
            <a:r>
              <a:rPr lang="en-US" sz="4400" baseline="1137" dirty="0" err="1">
                <a:solidFill>
                  <a:srgbClr val="F69545"/>
                </a:solidFill>
                <a:cs typeface="Calibri"/>
              </a:rPr>
              <a:t>MiniBatch</a:t>
            </a:r>
            <a:r>
              <a:rPr lang="en-US" sz="4400" baseline="1137" dirty="0">
                <a:solidFill>
                  <a:srgbClr val="F69545"/>
                </a:solidFill>
                <a:cs typeface="Calibri"/>
              </a:rPr>
              <a:t> </a:t>
            </a:r>
            <a:r>
              <a:rPr lang="en-US" sz="4400" baseline="1137" dirty="0">
                <a:solidFill>
                  <a:srgbClr val="7F7E7E"/>
                </a:solidFill>
                <a:cs typeface="Calibri"/>
              </a:rPr>
              <a:t>version is </a:t>
            </a:r>
            <a:r>
              <a:rPr lang="en-US" sz="4400" baseline="1137" dirty="0">
                <a:solidFill>
                  <a:srgbClr val="F69545"/>
                </a:solidFill>
                <a:cs typeface="Calibri"/>
              </a:rPr>
              <a:t>super fast </a:t>
            </a:r>
            <a:r>
              <a:rPr lang="en-US" sz="4400" baseline="1137" dirty="0">
                <a:solidFill>
                  <a:srgbClr val="7F7E7E"/>
                </a:solidFill>
                <a:cs typeface="Calibri"/>
              </a:rPr>
              <a:t>(big data</a:t>
            </a:r>
            <a:r>
              <a:rPr lang="en-US" sz="4400" baseline="1137" dirty="0" smtClean="0">
                <a:solidFill>
                  <a:srgbClr val="7F7E7E"/>
                </a:solidFill>
                <a:cs typeface="Calibri"/>
              </a:rPr>
              <a:t>).</a:t>
            </a:r>
          </a:p>
          <a:p>
            <a:pPr marL="12700">
              <a:lnSpc>
                <a:spcPts val="2770"/>
              </a:lnSpc>
            </a:pPr>
            <a:endParaRPr lang="en-US" sz="4400" baseline="1137" dirty="0">
              <a:solidFill>
                <a:srgbClr val="7F7E7E"/>
              </a:solidFill>
              <a:cs typeface="Calibri"/>
            </a:endParaRPr>
          </a:p>
          <a:p>
            <a:pPr marL="12700">
              <a:lnSpc>
                <a:spcPts val="2770"/>
              </a:lnSpc>
            </a:pPr>
            <a:r>
              <a:rPr lang="en-US" sz="4400" baseline="1137" dirty="0">
                <a:solidFill>
                  <a:srgbClr val="7F7E7E"/>
                </a:solidFill>
                <a:cs typeface="Calibri"/>
              </a:rPr>
              <a:t>Have to try k values (k not too big). </a:t>
            </a:r>
            <a:r>
              <a:rPr lang="en-US" sz="4400" baseline="1137" dirty="0" smtClean="0">
                <a:solidFill>
                  <a:srgbClr val="7F7E7E"/>
                </a:solidFill>
                <a:cs typeface="Calibri"/>
              </a:rPr>
              <a:t/>
            </a:r>
            <a:br>
              <a:rPr lang="en-US" sz="4400" baseline="1137" dirty="0" smtClean="0">
                <a:solidFill>
                  <a:srgbClr val="7F7E7E"/>
                </a:solidFill>
                <a:cs typeface="Calibri"/>
              </a:rPr>
            </a:br>
            <a:r>
              <a:rPr lang="en-US" sz="4400" baseline="1137" dirty="0" smtClean="0">
                <a:solidFill>
                  <a:srgbClr val="7F7E7E"/>
                </a:solidFill>
                <a:cs typeface="Calibri"/>
              </a:rPr>
              <a:t>Tends </a:t>
            </a:r>
            <a:r>
              <a:rPr lang="en-US" sz="4400" baseline="1137" dirty="0">
                <a:solidFill>
                  <a:srgbClr val="7F7E7E"/>
                </a:solidFill>
                <a:cs typeface="Calibri"/>
              </a:rPr>
              <a:t>to ﬁnd </a:t>
            </a:r>
            <a:r>
              <a:rPr lang="en-US" sz="4400" baseline="1137" dirty="0">
                <a:solidFill>
                  <a:srgbClr val="418FA2"/>
                </a:solidFill>
                <a:cs typeface="Calibri"/>
              </a:rPr>
              <a:t>even sized</a:t>
            </a:r>
            <a:r>
              <a:rPr lang="en-US" sz="4400" baseline="1137" dirty="0" smtClean="0">
                <a:solidFill>
                  <a:srgbClr val="7F7E7E"/>
                </a:solidFill>
                <a:cs typeface="Calibri"/>
              </a:rPr>
              <a:t>.</a:t>
            </a:r>
          </a:p>
          <a:p>
            <a:pPr marL="12700">
              <a:lnSpc>
                <a:spcPts val="2770"/>
              </a:lnSpc>
            </a:pPr>
            <a:endParaRPr lang="en-US" sz="4400" baseline="1137" dirty="0">
              <a:solidFill>
                <a:srgbClr val="7F7E7E"/>
              </a:solidFill>
              <a:cs typeface="Calibri"/>
            </a:endParaRPr>
          </a:p>
          <a:p>
            <a:pPr marL="12700">
              <a:lnSpc>
                <a:spcPts val="2770"/>
              </a:lnSpc>
            </a:pPr>
            <a:r>
              <a:rPr lang="en-US" sz="4400" baseline="1137" dirty="0">
                <a:solidFill>
                  <a:srgbClr val="7F7E7E"/>
                </a:solidFill>
                <a:cs typeface="Calibri"/>
              </a:rPr>
              <a:t>Bad with non-­‐spherical cluster shapes. </a:t>
            </a:r>
            <a:endParaRPr lang="en-US" sz="4400" baseline="1137" dirty="0" smtClean="0">
              <a:solidFill>
                <a:srgbClr val="7F7E7E"/>
              </a:solidFill>
              <a:cs typeface="Calibri"/>
            </a:endParaRPr>
          </a:p>
          <a:p>
            <a:pPr marL="12700">
              <a:lnSpc>
                <a:spcPts val="2770"/>
              </a:lnSpc>
            </a:pPr>
            <a:r>
              <a:rPr lang="en-US" sz="4400" baseline="1137" dirty="0" smtClean="0">
                <a:solidFill>
                  <a:srgbClr val="7F7E7E"/>
                </a:solidFill>
                <a:cs typeface="Calibri"/>
              </a:rPr>
              <a:t>Only </a:t>
            </a:r>
            <a:r>
              <a:rPr lang="en-US" sz="4400" baseline="1137" dirty="0" err="1">
                <a:solidFill>
                  <a:schemeClr val="accent4"/>
                </a:solidFill>
                <a:cs typeface="Calibri"/>
              </a:rPr>
              <a:t>euclidean</a:t>
            </a:r>
            <a:r>
              <a:rPr lang="en-US" sz="4400" baseline="1137" dirty="0">
                <a:solidFill>
                  <a:schemeClr val="accent4"/>
                </a:solidFill>
                <a:cs typeface="Calibri"/>
              </a:rPr>
              <a:t> distance</a:t>
            </a:r>
            <a:r>
              <a:rPr lang="en-US" sz="4400" baseline="1137" dirty="0">
                <a:solidFill>
                  <a:srgbClr val="7F7E7E"/>
                </a:solidFill>
                <a:cs typeface="Calibri"/>
              </a:rPr>
              <a:t>.</a:t>
            </a:r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1" name="Object 16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9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Rectangle 22"/>
          <p:cNvSpPr/>
          <p:nvPr/>
        </p:nvSpPr>
        <p:spPr>
          <a:xfrm>
            <a:off x="114300" y="381000"/>
            <a:ext cx="1422040" cy="1524000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30" name="TextBox 29"/>
          <p:cNvSpPr txBox="1"/>
          <p:nvPr/>
        </p:nvSpPr>
        <p:spPr>
          <a:xfrm>
            <a:off x="143926" y="1719329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 smtClean="0">
                <a:solidFill>
                  <a:srgbClr val="7F7E7E"/>
                </a:solidFill>
              </a:rPr>
              <a:t>.01s</a:t>
            </a:r>
            <a:endParaRPr lang="en-US" sz="1000" dirty="0">
              <a:solidFill>
                <a:srgbClr val="7F7E7E"/>
              </a:solidFill>
            </a:endParaRPr>
          </a:p>
        </p:txBody>
      </p:sp>
      <p:sp>
        <p:nvSpPr>
          <p:cNvPr id="34" name="Rectangle 33"/>
          <p:cNvSpPr/>
          <p:nvPr/>
        </p:nvSpPr>
        <p:spPr>
          <a:xfrm>
            <a:off x="1612972" y="381000"/>
            <a:ext cx="1422040" cy="1524000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35" name="TextBox 34"/>
          <p:cNvSpPr txBox="1"/>
          <p:nvPr/>
        </p:nvSpPr>
        <p:spPr>
          <a:xfrm>
            <a:off x="1642598" y="1719329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 smtClean="0">
                <a:solidFill>
                  <a:srgbClr val="7F7E7E"/>
                </a:solidFill>
              </a:rPr>
              <a:t>8.17s</a:t>
            </a:r>
            <a:endParaRPr lang="en-US" sz="1000" dirty="0">
              <a:solidFill>
                <a:srgbClr val="7F7E7E"/>
              </a:solidFill>
            </a:endParaRPr>
          </a:p>
        </p:txBody>
      </p:sp>
      <p:sp>
        <p:nvSpPr>
          <p:cNvPr id="37" name="Rectangle 36"/>
          <p:cNvSpPr/>
          <p:nvPr/>
        </p:nvSpPr>
        <p:spPr>
          <a:xfrm>
            <a:off x="3111644" y="381000"/>
            <a:ext cx="1422040" cy="1524000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38" name="TextBox 37"/>
          <p:cNvSpPr txBox="1"/>
          <p:nvPr/>
        </p:nvSpPr>
        <p:spPr>
          <a:xfrm>
            <a:off x="3141270" y="1719329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 smtClean="0">
                <a:solidFill>
                  <a:srgbClr val="7F7E7E"/>
                </a:solidFill>
              </a:rPr>
              <a:t>.02s</a:t>
            </a:r>
            <a:endParaRPr lang="en-US" sz="1000" dirty="0">
              <a:solidFill>
                <a:srgbClr val="7F7E7E"/>
              </a:solidFill>
            </a:endParaRPr>
          </a:p>
        </p:txBody>
      </p:sp>
      <p:sp>
        <p:nvSpPr>
          <p:cNvPr id="40" name="Rectangle 39"/>
          <p:cNvSpPr/>
          <p:nvPr/>
        </p:nvSpPr>
        <p:spPr>
          <a:xfrm>
            <a:off x="4610317" y="381000"/>
            <a:ext cx="1422040" cy="1524000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41" name="TextBox 40"/>
          <p:cNvSpPr txBox="1"/>
          <p:nvPr/>
        </p:nvSpPr>
        <p:spPr>
          <a:xfrm>
            <a:off x="4639943" y="1719329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 smtClean="0">
                <a:solidFill>
                  <a:srgbClr val="7F7E7E"/>
                </a:solidFill>
              </a:rPr>
              <a:t>.31s</a:t>
            </a:r>
            <a:endParaRPr lang="en-US" sz="1000" dirty="0">
              <a:solidFill>
                <a:srgbClr val="7F7E7E"/>
              </a:solidFill>
            </a:endParaRPr>
          </a:p>
        </p:txBody>
      </p:sp>
      <p:sp>
        <p:nvSpPr>
          <p:cNvPr id="43" name="Rectangle 42"/>
          <p:cNvSpPr/>
          <p:nvPr/>
        </p:nvSpPr>
        <p:spPr>
          <a:xfrm>
            <a:off x="6108989" y="381000"/>
            <a:ext cx="1422040" cy="1524000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44" name="TextBox 43"/>
          <p:cNvSpPr txBox="1"/>
          <p:nvPr/>
        </p:nvSpPr>
        <p:spPr>
          <a:xfrm>
            <a:off x="6138615" y="1719329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 smtClean="0">
                <a:solidFill>
                  <a:srgbClr val="7F7E7E"/>
                </a:solidFill>
              </a:rPr>
              <a:t>.21s</a:t>
            </a:r>
            <a:endParaRPr lang="en-US" sz="1000" dirty="0">
              <a:solidFill>
                <a:srgbClr val="7F7E7E"/>
              </a:solidFill>
            </a:endParaRPr>
          </a:p>
        </p:txBody>
      </p:sp>
      <p:sp>
        <p:nvSpPr>
          <p:cNvPr id="46" name="Rectangle 45"/>
          <p:cNvSpPr/>
          <p:nvPr/>
        </p:nvSpPr>
        <p:spPr>
          <a:xfrm>
            <a:off x="7607660" y="381000"/>
            <a:ext cx="1422040" cy="1524000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47" name="TextBox 46"/>
          <p:cNvSpPr txBox="1"/>
          <p:nvPr/>
        </p:nvSpPr>
        <p:spPr>
          <a:xfrm>
            <a:off x="7637286" y="1719329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 smtClean="0">
                <a:solidFill>
                  <a:srgbClr val="7F7E7E"/>
                </a:solidFill>
              </a:rPr>
              <a:t>.10s</a:t>
            </a:r>
            <a:endParaRPr lang="en-US" sz="1000" dirty="0">
              <a:solidFill>
                <a:srgbClr val="7F7E7E"/>
              </a:solidFill>
            </a:endParaRPr>
          </a:p>
        </p:txBody>
      </p:sp>
      <p:sp>
        <p:nvSpPr>
          <p:cNvPr id="67" name="Rectangle 66"/>
          <p:cNvSpPr/>
          <p:nvPr/>
        </p:nvSpPr>
        <p:spPr>
          <a:xfrm>
            <a:off x="114300" y="1981200"/>
            <a:ext cx="1422040" cy="1524000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68" name="TextBox 67"/>
          <p:cNvSpPr txBox="1"/>
          <p:nvPr/>
        </p:nvSpPr>
        <p:spPr>
          <a:xfrm>
            <a:off x="143926" y="3319529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 smtClean="0">
                <a:solidFill>
                  <a:srgbClr val="7F7E7E"/>
                </a:solidFill>
              </a:rPr>
              <a:t>0.1s</a:t>
            </a:r>
            <a:endParaRPr lang="en-US" sz="1000" dirty="0">
              <a:solidFill>
                <a:srgbClr val="7F7E7E"/>
              </a:solidFill>
            </a:endParaRPr>
          </a:p>
        </p:txBody>
      </p:sp>
      <p:sp>
        <p:nvSpPr>
          <p:cNvPr id="65" name="Rectangle 64"/>
          <p:cNvSpPr/>
          <p:nvPr/>
        </p:nvSpPr>
        <p:spPr>
          <a:xfrm>
            <a:off x="1612972" y="1981200"/>
            <a:ext cx="1422040" cy="1524000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66" name="TextBox 65"/>
          <p:cNvSpPr txBox="1"/>
          <p:nvPr/>
        </p:nvSpPr>
        <p:spPr>
          <a:xfrm>
            <a:off x="1642598" y="3319529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 smtClean="0">
                <a:solidFill>
                  <a:srgbClr val="7F7E7E"/>
                </a:solidFill>
              </a:rPr>
              <a:t>8.17s</a:t>
            </a:r>
            <a:endParaRPr lang="en-US" sz="1000" dirty="0">
              <a:solidFill>
                <a:srgbClr val="7F7E7E"/>
              </a:solidFill>
            </a:endParaRPr>
          </a:p>
        </p:txBody>
      </p:sp>
      <p:sp>
        <p:nvSpPr>
          <p:cNvPr id="63" name="Rectangle 62"/>
          <p:cNvSpPr/>
          <p:nvPr/>
        </p:nvSpPr>
        <p:spPr>
          <a:xfrm>
            <a:off x="3111644" y="1981200"/>
            <a:ext cx="1422040" cy="1524000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64" name="TextBox 63"/>
          <p:cNvSpPr txBox="1"/>
          <p:nvPr/>
        </p:nvSpPr>
        <p:spPr>
          <a:xfrm>
            <a:off x="3141270" y="3319529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 smtClean="0">
                <a:solidFill>
                  <a:srgbClr val="7F7E7E"/>
                </a:solidFill>
              </a:rPr>
              <a:t>.03s</a:t>
            </a:r>
            <a:endParaRPr lang="en-US" sz="1000" dirty="0">
              <a:solidFill>
                <a:srgbClr val="7F7E7E"/>
              </a:solidFill>
            </a:endParaRPr>
          </a:p>
        </p:txBody>
      </p:sp>
      <p:sp>
        <p:nvSpPr>
          <p:cNvPr id="61" name="Rectangle 60"/>
          <p:cNvSpPr/>
          <p:nvPr/>
        </p:nvSpPr>
        <p:spPr>
          <a:xfrm>
            <a:off x="4610317" y="1981200"/>
            <a:ext cx="1422040" cy="1524000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62" name="TextBox 61"/>
          <p:cNvSpPr txBox="1"/>
          <p:nvPr/>
        </p:nvSpPr>
        <p:spPr>
          <a:xfrm>
            <a:off x="4639943" y="3319529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 smtClean="0">
                <a:solidFill>
                  <a:srgbClr val="7F7E7E"/>
                </a:solidFill>
              </a:rPr>
              <a:t>.03s</a:t>
            </a:r>
            <a:endParaRPr lang="en-US" sz="1000" dirty="0">
              <a:solidFill>
                <a:srgbClr val="7F7E7E"/>
              </a:solidFill>
            </a:endParaRPr>
          </a:p>
        </p:txBody>
      </p:sp>
      <p:sp>
        <p:nvSpPr>
          <p:cNvPr id="59" name="Rectangle 58"/>
          <p:cNvSpPr/>
          <p:nvPr/>
        </p:nvSpPr>
        <p:spPr>
          <a:xfrm>
            <a:off x="6108989" y="1981200"/>
            <a:ext cx="1422040" cy="1524000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60" name="TextBox 59"/>
          <p:cNvSpPr txBox="1"/>
          <p:nvPr/>
        </p:nvSpPr>
        <p:spPr>
          <a:xfrm>
            <a:off x="6138615" y="3319529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 smtClean="0">
                <a:solidFill>
                  <a:srgbClr val="7F7E7E"/>
                </a:solidFill>
              </a:rPr>
              <a:t>.26s</a:t>
            </a:r>
            <a:endParaRPr lang="en-US" sz="1000" dirty="0">
              <a:solidFill>
                <a:srgbClr val="7F7E7E"/>
              </a:solidFill>
            </a:endParaRPr>
          </a:p>
        </p:txBody>
      </p:sp>
      <p:sp>
        <p:nvSpPr>
          <p:cNvPr id="57" name="Rectangle 56"/>
          <p:cNvSpPr/>
          <p:nvPr/>
        </p:nvSpPr>
        <p:spPr>
          <a:xfrm>
            <a:off x="7607660" y="1981200"/>
            <a:ext cx="1422040" cy="1524000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58" name="TextBox 57"/>
          <p:cNvSpPr txBox="1"/>
          <p:nvPr/>
        </p:nvSpPr>
        <p:spPr>
          <a:xfrm>
            <a:off x="7637286" y="3319529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 smtClean="0">
                <a:solidFill>
                  <a:srgbClr val="7F7E7E"/>
                </a:solidFill>
              </a:rPr>
              <a:t>.10s</a:t>
            </a:r>
            <a:endParaRPr lang="en-US" sz="1000" dirty="0">
              <a:solidFill>
                <a:srgbClr val="7F7E7E"/>
              </a:solidFill>
            </a:endParaRPr>
          </a:p>
        </p:txBody>
      </p:sp>
      <p:sp>
        <p:nvSpPr>
          <p:cNvPr id="86" name="Rectangle 85"/>
          <p:cNvSpPr/>
          <p:nvPr/>
        </p:nvSpPr>
        <p:spPr>
          <a:xfrm>
            <a:off x="114300" y="3581400"/>
            <a:ext cx="1422040" cy="1524000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87" name="TextBox 86"/>
          <p:cNvSpPr txBox="1"/>
          <p:nvPr/>
        </p:nvSpPr>
        <p:spPr>
          <a:xfrm>
            <a:off x="143926" y="4919729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 smtClean="0">
                <a:solidFill>
                  <a:srgbClr val="7F7E7E"/>
                </a:solidFill>
              </a:rPr>
              <a:t>.01s</a:t>
            </a:r>
            <a:endParaRPr lang="en-US" sz="1000" dirty="0">
              <a:solidFill>
                <a:srgbClr val="7F7E7E"/>
              </a:solidFill>
            </a:endParaRPr>
          </a:p>
        </p:txBody>
      </p:sp>
      <p:sp>
        <p:nvSpPr>
          <p:cNvPr id="84" name="Rectangle 83"/>
          <p:cNvSpPr/>
          <p:nvPr/>
        </p:nvSpPr>
        <p:spPr>
          <a:xfrm>
            <a:off x="1612972" y="3581400"/>
            <a:ext cx="1422040" cy="1524000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85" name="TextBox 84"/>
          <p:cNvSpPr txBox="1"/>
          <p:nvPr/>
        </p:nvSpPr>
        <p:spPr>
          <a:xfrm>
            <a:off x="1642598" y="4919729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 smtClean="0">
                <a:solidFill>
                  <a:srgbClr val="7F7E7E"/>
                </a:solidFill>
              </a:rPr>
              <a:t>8.45s</a:t>
            </a:r>
            <a:endParaRPr lang="en-US" sz="1000" dirty="0">
              <a:solidFill>
                <a:srgbClr val="7F7E7E"/>
              </a:solidFill>
            </a:endParaRPr>
          </a:p>
        </p:txBody>
      </p:sp>
      <p:sp>
        <p:nvSpPr>
          <p:cNvPr id="82" name="Rectangle 81"/>
          <p:cNvSpPr/>
          <p:nvPr/>
        </p:nvSpPr>
        <p:spPr>
          <a:xfrm>
            <a:off x="3111644" y="3581400"/>
            <a:ext cx="1422040" cy="1524000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83" name="TextBox 82"/>
          <p:cNvSpPr txBox="1"/>
          <p:nvPr/>
        </p:nvSpPr>
        <p:spPr>
          <a:xfrm>
            <a:off x="3141270" y="4919729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 smtClean="0">
                <a:solidFill>
                  <a:srgbClr val="7F7E7E"/>
                </a:solidFill>
              </a:rPr>
              <a:t>.03s</a:t>
            </a:r>
            <a:endParaRPr lang="en-US" sz="1000" dirty="0">
              <a:solidFill>
                <a:srgbClr val="7F7E7E"/>
              </a:solidFill>
            </a:endParaRPr>
          </a:p>
        </p:txBody>
      </p:sp>
      <p:sp>
        <p:nvSpPr>
          <p:cNvPr id="80" name="Rectangle 79"/>
          <p:cNvSpPr/>
          <p:nvPr/>
        </p:nvSpPr>
        <p:spPr>
          <a:xfrm>
            <a:off x="4610317" y="3581400"/>
            <a:ext cx="1422040" cy="1524000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81" name="TextBox 80"/>
          <p:cNvSpPr txBox="1"/>
          <p:nvPr/>
        </p:nvSpPr>
        <p:spPr>
          <a:xfrm>
            <a:off x="4639943" y="4919729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 smtClean="0">
                <a:solidFill>
                  <a:srgbClr val="7F7E7E"/>
                </a:solidFill>
              </a:rPr>
              <a:t>.04s</a:t>
            </a:r>
            <a:endParaRPr lang="en-US" sz="1000" dirty="0">
              <a:solidFill>
                <a:srgbClr val="7F7E7E"/>
              </a:solidFill>
            </a:endParaRPr>
          </a:p>
        </p:txBody>
      </p:sp>
      <p:sp>
        <p:nvSpPr>
          <p:cNvPr id="78" name="Rectangle 77"/>
          <p:cNvSpPr/>
          <p:nvPr/>
        </p:nvSpPr>
        <p:spPr>
          <a:xfrm>
            <a:off x="6108989" y="3581400"/>
            <a:ext cx="1422040" cy="1524000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79" name="TextBox 78"/>
          <p:cNvSpPr txBox="1"/>
          <p:nvPr/>
        </p:nvSpPr>
        <p:spPr>
          <a:xfrm>
            <a:off x="6138615" y="4919729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 smtClean="0">
                <a:solidFill>
                  <a:srgbClr val="7F7E7E"/>
                </a:solidFill>
              </a:rPr>
              <a:t>.31s</a:t>
            </a:r>
            <a:endParaRPr lang="en-US" sz="1000" dirty="0">
              <a:solidFill>
                <a:srgbClr val="7F7E7E"/>
              </a:solidFill>
            </a:endParaRPr>
          </a:p>
        </p:txBody>
      </p:sp>
      <p:sp>
        <p:nvSpPr>
          <p:cNvPr id="76" name="Rectangle 75"/>
          <p:cNvSpPr/>
          <p:nvPr/>
        </p:nvSpPr>
        <p:spPr>
          <a:xfrm>
            <a:off x="7607660" y="3581400"/>
            <a:ext cx="1422040" cy="1524000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77" name="TextBox 76"/>
          <p:cNvSpPr txBox="1"/>
          <p:nvPr/>
        </p:nvSpPr>
        <p:spPr>
          <a:xfrm>
            <a:off x="7637286" y="4919729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 smtClean="0">
                <a:solidFill>
                  <a:srgbClr val="7F7E7E"/>
                </a:solidFill>
              </a:rPr>
              <a:t>.11s</a:t>
            </a:r>
            <a:endParaRPr lang="en-US" sz="1000" dirty="0">
              <a:solidFill>
                <a:srgbClr val="7F7E7E"/>
              </a:solidFill>
            </a:endParaRPr>
          </a:p>
        </p:txBody>
      </p:sp>
      <p:sp>
        <p:nvSpPr>
          <p:cNvPr id="105" name="Rectangle 104"/>
          <p:cNvSpPr/>
          <p:nvPr/>
        </p:nvSpPr>
        <p:spPr>
          <a:xfrm>
            <a:off x="114300" y="5181600"/>
            <a:ext cx="1422040" cy="1524000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106" name="TextBox 105"/>
          <p:cNvSpPr txBox="1"/>
          <p:nvPr/>
        </p:nvSpPr>
        <p:spPr>
          <a:xfrm>
            <a:off x="143926" y="6519929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 smtClean="0">
                <a:solidFill>
                  <a:srgbClr val="7F7E7E"/>
                </a:solidFill>
              </a:rPr>
              <a:t>.02s</a:t>
            </a:r>
            <a:endParaRPr lang="en-US" sz="1000" dirty="0">
              <a:solidFill>
                <a:srgbClr val="7F7E7E"/>
              </a:solidFill>
            </a:endParaRPr>
          </a:p>
        </p:txBody>
      </p:sp>
      <p:sp>
        <p:nvSpPr>
          <p:cNvPr id="103" name="Rectangle 102"/>
          <p:cNvSpPr/>
          <p:nvPr/>
        </p:nvSpPr>
        <p:spPr>
          <a:xfrm>
            <a:off x="1612972" y="5181600"/>
            <a:ext cx="1422040" cy="1524000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104" name="TextBox 103"/>
          <p:cNvSpPr txBox="1"/>
          <p:nvPr/>
        </p:nvSpPr>
        <p:spPr>
          <a:xfrm>
            <a:off x="1642598" y="6519929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 smtClean="0">
                <a:solidFill>
                  <a:srgbClr val="7F7E7E"/>
                </a:solidFill>
              </a:rPr>
              <a:t>8.53s</a:t>
            </a:r>
            <a:endParaRPr lang="en-US" sz="1000" dirty="0">
              <a:solidFill>
                <a:srgbClr val="7F7E7E"/>
              </a:solidFill>
            </a:endParaRPr>
          </a:p>
        </p:txBody>
      </p:sp>
      <p:sp>
        <p:nvSpPr>
          <p:cNvPr id="101" name="Rectangle 100"/>
          <p:cNvSpPr/>
          <p:nvPr/>
        </p:nvSpPr>
        <p:spPr>
          <a:xfrm>
            <a:off x="3111644" y="5181600"/>
            <a:ext cx="1422040" cy="1524000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102" name="TextBox 101"/>
          <p:cNvSpPr txBox="1"/>
          <p:nvPr/>
        </p:nvSpPr>
        <p:spPr>
          <a:xfrm>
            <a:off x="3141270" y="6519929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 smtClean="0">
                <a:solidFill>
                  <a:srgbClr val="7F7E7E"/>
                </a:solidFill>
              </a:rPr>
              <a:t>.06s</a:t>
            </a:r>
            <a:endParaRPr lang="en-US" sz="1000" dirty="0">
              <a:solidFill>
                <a:srgbClr val="7F7E7E"/>
              </a:solidFill>
            </a:endParaRPr>
          </a:p>
        </p:txBody>
      </p:sp>
      <p:sp>
        <p:nvSpPr>
          <p:cNvPr id="99" name="Rectangle 98"/>
          <p:cNvSpPr/>
          <p:nvPr/>
        </p:nvSpPr>
        <p:spPr>
          <a:xfrm>
            <a:off x="4610317" y="5181600"/>
            <a:ext cx="1422040" cy="1524000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100" name="TextBox 99"/>
          <p:cNvSpPr txBox="1"/>
          <p:nvPr/>
        </p:nvSpPr>
        <p:spPr>
          <a:xfrm>
            <a:off x="4639943" y="6519929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 smtClean="0">
                <a:solidFill>
                  <a:srgbClr val="7F7E7E"/>
                </a:solidFill>
              </a:rPr>
              <a:t>.08s</a:t>
            </a:r>
            <a:endParaRPr lang="en-US" sz="1000" dirty="0">
              <a:solidFill>
                <a:srgbClr val="7F7E7E"/>
              </a:solidFill>
            </a:endParaRPr>
          </a:p>
        </p:txBody>
      </p:sp>
      <p:sp>
        <p:nvSpPr>
          <p:cNvPr id="97" name="Rectangle 96"/>
          <p:cNvSpPr/>
          <p:nvPr/>
        </p:nvSpPr>
        <p:spPr>
          <a:xfrm>
            <a:off x="6108989" y="5181600"/>
            <a:ext cx="1422040" cy="1524000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98" name="TextBox 97"/>
          <p:cNvSpPr txBox="1"/>
          <p:nvPr/>
        </p:nvSpPr>
        <p:spPr>
          <a:xfrm>
            <a:off x="6138615" y="6519929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 smtClean="0">
                <a:solidFill>
                  <a:srgbClr val="7F7E7E"/>
                </a:solidFill>
              </a:rPr>
              <a:t>.21s</a:t>
            </a:r>
            <a:endParaRPr lang="en-US" sz="1000" dirty="0">
              <a:solidFill>
                <a:srgbClr val="7F7E7E"/>
              </a:solidFill>
            </a:endParaRPr>
          </a:p>
        </p:txBody>
      </p:sp>
      <p:sp>
        <p:nvSpPr>
          <p:cNvPr id="95" name="Rectangle 94"/>
          <p:cNvSpPr/>
          <p:nvPr/>
        </p:nvSpPr>
        <p:spPr>
          <a:xfrm>
            <a:off x="7607660" y="5181600"/>
            <a:ext cx="1422040" cy="1524000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96" name="TextBox 95"/>
          <p:cNvSpPr txBox="1"/>
          <p:nvPr/>
        </p:nvSpPr>
        <p:spPr>
          <a:xfrm>
            <a:off x="7637286" y="6519929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 smtClean="0">
                <a:solidFill>
                  <a:srgbClr val="7F7E7E"/>
                </a:solidFill>
              </a:rPr>
              <a:t>.10s</a:t>
            </a:r>
            <a:endParaRPr lang="en-US" sz="1000" dirty="0">
              <a:solidFill>
                <a:srgbClr val="7F7E7E"/>
              </a:solidFill>
            </a:endParaRPr>
          </a:p>
        </p:txBody>
      </p:sp>
      <p:sp>
        <p:nvSpPr>
          <p:cNvPr id="108" name="TextBox 107"/>
          <p:cNvSpPr txBox="1"/>
          <p:nvPr/>
        </p:nvSpPr>
        <p:spPr>
          <a:xfrm>
            <a:off x="143926" y="228600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b="1" dirty="0" err="1" smtClean="0">
                <a:solidFill>
                  <a:srgbClr val="7F7E7E"/>
                </a:solidFill>
              </a:rPr>
              <a:t>MiniBatchKMeans</a:t>
            </a:r>
            <a:endParaRPr lang="en-US" sz="1000" b="1" dirty="0">
              <a:solidFill>
                <a:srgbClr val="7F7E7E"/>
              </a:solidFill>
            </a:endParaRPr>
          </a:p>
        </p:txBody>
      </p:sp>
      <p:sp>
        <p:nvSpPr>
          <p:cNvPr id="109" name="TextBox 108"/>
          <p:cNvSpPr txBox="1"/>
          <p:nvPr/>
        </p:nvSpPr>
        <p:spPr>
          <a:xfrm>
            <a:off x="1642598" y="228600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b="1" dirty="0" err="1" smtClean="0">
                <a:solidFill>
                  <a:srgbClr val="7F7E7E"/>
                </a:solidFill>
              </a:rPr>
              <a:t>AffinityPropagation</a:t>
            </a:r>
            <a:endParaRPr lang="en-US" sz="1000" b="1" dirty="0">
              <a:solidFill>
                <a:srgbClr val="7F7E7E"/>
              </a:solidFill>
            </a:endParaRPr>
          </a:p>
        </p:txBody>
      </p:sp>
      <p:sp>
        <p:nvSpPr>
          <p:cNvPr id="110" name="TextBox 109"/>
          <p:cNvSpPr txBox="1"/>
          <p:nvPr/>
        </p:nvSpPr>
        <p:spPr>
          <a:xfrm>
            <a:off x="3141270" y="228600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b="1" dirty="0" err="1" smtClean="0">
                <a:solidFill>
                  <a:srgbClr val="7F7E7E"/>
                </a:solidFill>
              </a:rPr>
              <a:t>MeanShift</a:t>
            </a:r>
            <a:endParaRPr lang="en-US" sz="1000" b="1" dirty="0">
              <a:solidFill>
                <a:srgbClr val="7F7E7E"/>
              </a:solidFill>
            </a:endParaRPr>
          </a:p>
        </p:txBody>
      </p:sp>
      <p:sp>
        <p:nvSpPr>
          <p:cNvPr id="111" name="TextBox 110"/>
          <p:cNvSpPr txBox="1"/>
          <p:nvPr/>
        </p:nvSpPr>
        <p:spPr>
          <a:xfrm>
            <a:off x="4639943" y="228600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b="1" dirty="0" err="1" smtClean="0">
                <a:solidFill>
                  <a:srgbClr val="7F7E7E"/>
                </a:solidFill>
              </a:rPr>
              <a:t>SpectralClustering</a:t>
            </a:r>
            <a:endParaRPr lang="en-US" sz="1000" b="1" dirty="0">
              <a:solidFill>
                <a:srgbClr val="7F7E7E"/>
              </a:solidFill>
            </a:endParaRPr>
          </a:p>
        </p:txBody>
      </p:sp>
      <p:sp>
        <p:nvSpPr>
          <p:cNvPr id="112" name="TextBox 111"/>
          <p:cNvSpPr txBox="1"/>
          <p:nvPr/>
        </p:nvSpPr>
        <p:spPr>
          <a:xfrm>
            <a:off x="6138615" y="228600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b="1" dirty="0" smtClean="0">
                <a:solidFill>
                  <a:srgbClr val="7F7E7E"/>
                </a:solidFill>
              </a:rPr>
              <a:t>Ward</a:t>
            </a:r>
            <a:endParaRPr lang="en-US" sz="1000" b="1" dirty="0">
              <a:solidFill>
                <a:srgbClr val="7F7E7E"/>
              </a:solidFill>
            </a:endParaRPr>
          </a:p>
        </p:txBody>
      </p:sp>
      <p:sp>
        <p:nvSpPr>
          <p:cNvPr id="113" name="TextBox 112"/>
          <p:cNvSpPr txBox="1"/>
          <p:nvPr/>
        </p:nvSpPr>
        <p:spPr>
          <a:xfrm>
            <a:off x="7637286" y="228600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b="1" dirty="0" smtClean="0">
                <a:solidFill>
                  <a:srgbClr val="7F7E7E"/>
                </a:solidFill>
              </a:rPr>
              <a:t>DBSCAN</a:t>
            </a:r>
            <a:endParaRPr lang="en-US" sz="1000" b="1" dirty="0">
              <a:solidFill>
                <a:srgbClr val="7F7E7E"/>
              </a:solidFill>
            </a:endParaRPr>
          </a:p>
        </p:txBody>
      </p:sp>
      <p:grpSp>
        <p:nvGrpSpPr>
          <p:cNvPr id="118" name="Group 117"/>
          <p:cNvGrpSpPr/>
          <p:nvPr/>
        </p:nvGrpSpPr>
        <p:grpSpPr>
          <a:xfrm>
            <a:off x="1752600" y="457200"/>
            <a:ext cx="1185755" cy="1245801"/>
            <a:chOff x="1752600" y="457200"/>
            <a:chExt cx="1185755" cy="1245801"/>
          </a:xfrm>
        </p:grpSpPr>
        <p:pic>
          <p:nvPicPr>
            <p:cNvPr id="115" name="Picture 114"/>
            <p:cNvPicPr>
              <a:picLocks noChangeAspect="1"/>
            </p:cNvPicPr>
            <p:nvPr/>
          </p:nvPicPr>
          <p:blipFill rotWithShape="1">
            <a:blip r:embed="rId6"/>
            <a:srcRect l="3497"/>
            <a:stretch/>
          </p:blipFill>
          <p:spPr>
            <a:xfrm>
              <a:off x="1752600" y="457200"/>
              <a:ext cx="1185755" cy="1219200"/>
            </a:xfrm>
            <a:prstGeom prst="rect">
              <a:avLst/>
            </a:prstGeom>
          </p:spPr>
        </p:pic>
        <p:sp>
          <p:nvSpPr>
            <p:cNvPr id="117" name="Rectangle 116"/>
            <p:cNvSpPr/>
            <p:nvPr/>
          </p:nvSpPr>
          <p:spPr>
            <a:xfrm>
              <a:off x="2631502" y="1569651"/>
              <a:ext cx="306853" cy="13335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/>
            </a:p>
          </p:txBody>
        </p:sp>
      </p:grpSp>
      <p:grpSp>
        <p:nvGrpSpPr>
          <p:cNvPr id="121" name="Group 120"/>
          <p:cNvGrpSpPr/>
          <p:nvPr/>
        </p:nvGrpSpPr>
        <p:grpSpPr>
          <a:xfrm>
            <a:off x="3212253" y="457200"/>
            <a:ext cx="1220823" cy="1219200"/>
            <a:chOff x="3198777" y="457200"/>
            <a:chExt cx="1220823" cy="1219200"/>
          </a:xfrm>
        </p:grpSpPr>
        <p:pic>
          <p:nvPicPr>
            <p:cNvPr id="119" name="Picture 118"/>
            <p:cNvPicPr>
              <a:picLocks noChangeAspect="1"/>
            </p:cNvPicPr>
            <p:nvPr/>
          </p:nvPicPr>
          <p:blipFill rotWithShape="1">
            <a:blip r:embed="rId7"/>
            <a:srcRect r="2160"/>
            <a:stretch/>
          </p:blipFill>
          <p:spPr>
            <a:xfrm>
              <a:off x="3198777" y="457200"/>
              <a:ext cx="1220823" cy="1219200"/>
            </a:xfrm>
            <a:prstGeom prst="rect">
              <a:avLst/>
            </a:prstGeom>
          </p:spPr>
        </p:pic>
        <p:sp>
          <p:nvSpPr>
            <p:cNvPr id="120" name="Rectangle 119"/>
            <p:cNvSpPr/>
            <p:nvPr/>
          </p:nvSpPr>
          <p:spPr>
            <a:xfrm>
              <a:off x="4121113" y="1543050"/>
              <a:ext cx="298487" cy="13335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/>
            </a:p>
          </p:txBody>
        </p:sp>
      </p:grpSp>
      <p:grpSp>
        <p:nvGrpSpPr>
          <p:cNvPr id="125" name="Group 124"/>
          <p:cNvGrpSpPr/>
          <p:nvPr/>
        </p:nvGrpSpPr>
        <p:grpSpPr>
          <a:xfrm>
            <a:off x="4711737" y="494527"/>
            <a:ext cx="1219200" cy="1219200"/>
            <a:chOff x="4724400" y="494527"/>
            <a:chExt cx="1219200" cy="1219200"/>
          </a:xfrm>
        </p:grpSpPr>
        <p:pic>
          <p:nvPicPr>
            <p:cNvPr id="122" name="Picture 121"/>
            <p:cNvPicPr>
              <a:picLocks noChangeAspect="1"/>
            </p:cNvPicPr>
            <p:nvPr/>
          </p:nvPicPr>
          <p:blipFill rotWithShape="1">
            <a:blip r:embed="rId8"/>
            <a:srcRect l="596" r="943"/>
            <a:stretch/>
          </p:blipFill>
          <p:spPr>
            <a:xfrm>
              <a:off x="4724400" y="494527"/>
              <a:ext cx="1219200" cy="1219200"/>
            </a:xfrm>
            <a:prstGeom prst="rect">
              <a:avLst/>
            </a:prstGeom>
          </p:spPr>
        </p:pic>
        <p:sp>
          <p:nvSpPr>
            <p:cNvPr id="123" name="Rectangle 122"/>
            <p:cNvSpPr/>
            <p:nvPr/>
          </p:nvSpPr>
          <p:spPr>
            <a:xfrm>
              <a:off x="5645113" y="1580377"/>
              <a:ext cx="298487" cy="13335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/>
            </a:p>
          </p:txBody>
        </p:sp>
      </p:grpSp>
      <p:grpSp>
        <p:nvGrpSpPr>
          <p:cNvPr id="128" name="Group 127"/>
          <p:cNvGrpSpPr/>
          <p:nvPr/>
        </p:nvGrpSpPr>
        <p:grpSpPr>
          <a:xfrm>
            <a:off x="6206944" y="509201"/>
            <a:ext cx="1226130" cy="1200150"/>
            <a:chOff x="6206944" y="509201"/>
            <a:chExt cx="1226130" cy="1200150"/>
          </a:xfrm>
        </p:grpSpPr>
        <p:pic>
          <p:nvPicPr>
            <p:cNvPr id="126" name="Picture 125"/>
            <p:cNvPicPr>
              <a:picLocks noChangeAspect="1"/>
            </p:cNvPicPr>
            <p:nvPr/>
          </p:nvPicPr>
          <p:blipFill rotWithShape="1">
            <a:blip r:embed="rId9"/>
            <a:srcRect l="1734" r="-1"/>
            <a:stretch/>
          </p:blipFill>
          <p:spPr>
            <a:xfrm>
              <a:off x="6206944" y="509201"/>
              <a:ext cx="1226130" cy="1200150"/>
            </a:xfrm>
            <a:prstGeom prst="rect">
              <a:avLst/>
            </a:prstGeom>
          </p:spPr>
        </p:pic>
        <p:sp>
          <p:nvSpPr>
            <p:cNvPr id="127" name="Rectangle 126"/>
            <p:cNvSpPr/>
            <p:nvPr/>
          </p:nvSpPr>
          <p:spPr>
            <a:xfrm>
              <a:off x="7134587" y="1576001"/>
              <a:ext cx="298487" cy="13335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/>
            </a:p>
          </p:txBody>
        </p:sp>
      </p:grpSp>
      <p:grpSp>
        <p:nvGrpSpPr>
          <p:cNvPr id="131" name="Group 130"/>
          <p:cNvGrpSpPr/>
          <p:nvPr/>
        </p:nvGrpSpPr>
        <p:grpSpPr>
          <a:xfrm>
            <a:off x="7718605" y="458401"/>
            <a:ext cx="1200150" cy="1219200"/>
            <a:chOff x="7698581" y="452051"/>
            <a:chExt cx="1200150" cy="1219200"/>
          </a:xfrm>
        </p:grpSpPr>
        <p:pic>
          <p:nvPicPr>
            <p:cNvPr id="129" name="Picture 128"/>
            <p:cNvPicPr>
              <a:picLocks noChangeAspect="1"/>
            </p:cNvPicPr>
            <p:nvPr/>
          </p:nvPicPr>
          <p:blipFill rotWithShape="1">
            <a:blip r:embed="rId10"/>
            <a:srcRect l="1563"/>
            <a:stretch/>
          </p:blipFill>
          <p:spPr>
            <a:xfrm>
              <a:off x="7698581" y="452051"/>
              <a:ext cx="1200150" cy="1219200"/>
            </a:xfrm>
            <a:prstGeom prst="rect">
              <a:avLst/>
            </a:prstGeom>
          </p:spPr>
        </p:pic>
        <p:sp>
          <p:nvSpPr>
            <p:cNvPr id="130" name="Rectangle 129"/>
            <p:cNvSpPr/>
            <p:nvPr/>
          </p:nvSpPr>
          <p:spPr>
            <a:xfrm>
              <a:off x="8600244" y="1537901"/>
              <a:ext cx="298487" cy="13335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/>
            </a:p>
          </p:txBody>
        </p:sp>
      </p:grpSp>
      <p:grpSp>
        <p:nvGrpSpPr>
          <p:cNvPr id="134" name="Group 133"/>
          <p:cNvGrpSpPr/>
          <p:nvPr/>
        </p:nvGrpSpPr>
        <p:grpSpPr>
          <a:xfrm>
            <a:off x="215720" y="2061776"/>
            <a:ext cx="1219200" cy="1228725"/>
            <a:chOff x="215720" y="2061776"/>
            <a:chExt cx="1219200" cy="1228725"/>
          </a:xfrm>
        </p:grpSpPr>
        <p:pic>
          <p:nvPicPr>
            <p:cNvPr id="132" name="Picture 131"/>
            <p:cNvPicPr>
              <a:picLocks noChangeAspect="1"/>
            </p:cNvPicPr>
            <p:nvPr/>
          </p:nvPicPr>
          <p:blipFill>
            <a:blip r:embed="rId11"/>
            <a:stretch>
              <a:fillRect/>
            </a:stretch>
          </p:blipFill>
          <p:spPr>
            <a:xfrm>
              <a:off x="215720" y="2061776"/>
              <a:ext cx="1219200" cy="1228725"/>
            </a:xfrm>
            <a:prstGeom prst="rect">
              <a:avLst/>
            </a:prstGeom>
          </p:spPr>
        </p:pic>
        <p:sp>
          <p:nvSpPr>
            <p:cNvPr id="133" name="Rectangle 132"/>
            <p:cNvSpPr/>
            <p:nvPr/>
          </p:nvSpPr>
          <p:spPr>
            <a:xfrm>
              <a:off x="1204913" y="3190875"/>
              <a:ext cx="230007" cy="9962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/>
            </a:p>
          </p:txBody>
        </p:sp>
      </p:grpSp>
      <p:grpSp>
        <p:nvGrpSpPr>
          <p:cNvPr id="137" name="Group 136"/>
          <p:cNvGrpSpPr/>
          <p:nvPr/>
        </p:nvGrpSpPr>
        <p:grpSpPr>
          <a:xfrm>
            <a:off x="1720849" y="2041525"/>
            <a:ext cx="1222267" cy="1231900"/>
            <a:chOff x="1720849" y="2041525"/>
            <a:chExt cx="1222267" cy="1231900"/>
          </a:xfrm>
        </p:grpSpPr>
        <p:pic>
          <p:nvPicPr>
            <p:cNvPr id="135" name="Picture 134"/>
            <p:cNvPicPr>
              <a:picLocks noChangeAspect="1"/>
            </p:cNvPicPr>
            <p:nvPr/>
          </p:nvPicPr>
          <p:blipFill rotWithShape="1">
            <a:blip r:embed="rId12"/>
            <a:srcRect l="1291" t="1272" b="1"/>
            <a:stretch/>
          </p:blipFill>
          <p:spPr>
            <a:xfrm>
              <a:off x="1720849" y="2041525"/>
              <a:ext cx="1222267" cy="1231900"/>
            </a:xfrm>
            <a:prstGeom prst="rect">
              <a:avLst/>
            </a:prstGeom>
          </p:spPr>
        </p:pic>
        <p:sp>
          <p:nvSpPr>
            <p:cNvPr id="136" name="Rectangle 135"/>
            <p:cNvSpPr/>
            <p:nvPr/>
          </p:nvSpPr>
          <p:spPr>
            <a:xfrm>
              <a:off x="2631502" y="3169851"/>
              <a:ext cx="311614" cy="103574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/>
            </a:p>
          </p:txBody>
        </p:sp>
      </p:grpSp>
      <p:grpSp>
        <p:nvGrpSpPr>
          <p:cNvPr id="140" name="Group 139"/>
          <p:cNvGrpSpPr/>
          <p:nvPr/>
        </p:nvGrpSpPr>
        <p:grpSpPr>
          <a:xfrm>
            <a:off x="244295" y="3642926"/>
            <a:ext cx="1190625" cy="1171575"/>
            <a:chOff x="244295" y="3642926"/>
            <a:chExt cx="1190625" cy="1171575"/>
          </a:xfrm>
        </p:grpSpPr>
        <p:pic>
          <p:nvPicPr>
            <p:cNvPr id="138" name="Picture 137"/>
            <p:cNvPicPr>
              <a:picLocks noChangeAspect="1"/>
            </p:cNvPicPr>
            <p:nvPr/>
          </p:nvPicPr>
          <p:blipFill>
            <a:blip r:embed="rId13"/>
            <a:stretch>
              <a:fillRect/>
            </a:stretch>
          </p:blipFill>
          <p:spPr>
            <a:xfrm>
              <a:off x="244295" y="3642926"/>
              <a:ext cx="1190625" cy="1171575"/>
            </a:xfrm>
            <a:prstGeom prst="rect">
              <a:avLst/>
            </a:prstGeom>
          </p:spPr>
        </p:pic>
        <p:sp>
          <p:nvSpPr>
            <p:cNvPr id="139" name="Rectangle 138"/>
            <p:cNvSpPr/>
            <p:nvPr/>
          </p:nvSpPr>
          <p:spPr>
            <a:xfrm>
              <a:off x="1136433" y="4681151"/>
              <a:ext cx="298487" cy="13335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/>
            </a:p>
          </p:txBody>
        </p:sp>
      </p:grpSp>
      <p:pic>
        <p:nvPicPr>
          <p:cNvPr id="141" name="Picture 140"/>
          <p:cNvPicPr>
            <a:picLocks noChangeAspect="1"/>
          </p:cNvPicPr>
          <p:nvPr/>
        </p:nvPicPr>
        <p:blipFill rotWithShape="1">
          <a:blip r:embed="rId14"/>
          <a:srcRect r="4809" b="6589"/>
          <a:stretch/>
        </p:blipFill>
        <p:spPr>
          <a:xfrm>
            <a:off x="111289" y="5232656"/>
            <a:ext cx="1428062" cy="1234566"/>
          </a:xfrm>
          <a:prstGeom prst="rect">
            <a:avLst/>
          </a:prstGeom>
        </p:spPr>
      </p:pic>
      <p:pic>
        <p:nvPicPr>
          <p:cNvPr id="142" name="Picture 141"/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1619696" y="5232475"/>
            <a:ext cx="1408594" cy="1239690"/>
          </a:xfrm>
          <a:prstGeom prst="rect">
            <a:avLst/>
          </a:prstGeom>
        </p:spPr>
      </p:pic>
      <p:pic>
        <p:nvPicPr>
          <p:cNvPr id="143" name="Picture 142"/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3124093" y="5232834"/>
            <a:ext cx="1397142" cy="1229446"/>
          </a:xfrm>
          <a:prstGeom prst="rect">
            <a:avLst/>
          </a:prstGeom>
        </p:spPr>
      </p:pic>
      <p:pic>
        <p:nvPicPr>
          <p:cNvPr id="144" name="Picture 143"/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4639945" y="5232114"/>
            <a:ext cx="1362786" cy="1249936"/>
          </a:xfrm>
          <a:prstGeom prst="rect">
            <a:avLst/>
          </a:prstGeom>
        </p:spPr>
      </p:pic>
      <p:pic>
        <p:nvPicPr>
          <p:cNvPr id="145" name="Picture 144"/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>
            <a:off x="6121438" y="5233196"/>
            <a:ext cx="1397142" cy="1219198"/>
          </a:xfrm>
          <a:prstGeom prst="rect">
            <a:avLst/>
          </a:prstGeom>
        </p:spPr>
      </p:pic>
      <p:pic>
        <p:nvPicPr>
          <p:cNvPr id="146" name="Picture 145"/>
          <p:cNvPicPr>
            <a:picLocks noChangeAspect="1"/>
          </p:cNvPicPr>
          <p:nvPr/>
        </p:nvPicPr>
        <p:blipFill>
          <a:blip r:embed="rId19"/>
          <a:stretch>
            <a:fillRect/>
          </a:stretch>
        </p:blipFill>
        <p:spPr>
          <a:xfrm>
            <a:off x="7625836" y="5233196"/>
            <a:ext cx="1385690" cy="1219198"/>
          </a:xfrm>
          <a:prstGeom prst="rect">
            <a:avLst/>
          </a:prstGeom>
        </p:spPr>
      </p:pic>
      <p:grpSp>
        <p:nvGrpSpPr>
          <p:cNvPr id="149" name="Group 148"/>
          <p:cNvGrpSpPr/>
          <p:nvPr/>
        </p:nvGrpSpPr>
        <p:grpSpPr>
          <a:xfrm>
            <a:off x="1766780" y="3642926"/>
            <a:ext cx="1114425" cy="1162050"/>
            <a:chOff x="1766780" y="3642926"/>
            <a:chExt cx="1114425" cy="1162050"/>
          </a:xfrm>
        </p:grpSpPr>
        <p:pic>
          <p:nvPicPr>
            <p:cNvPr id="147" name="Picture 146"/>
            <p:cNvPicPr>
              <a:picLocks noChangeAspect="1"/>
            </p:cNvPicPr>
            <p:nvPr/>
          </p:nvPicPr>
          <p:blipFill>
            <a:blip r:embed="rId20"/>
            <a:stretch>
              <a:fillRect/>
            </a:stretch>
          </p:blipFill>
          <p:spPr>
            <a:xfrm>
              <a:off x="1766780" y="3642926"/>
              <a:ext cx="1114425" cy="1162050"/>
            </a:xfrm>
            <a:prstGeom prst="rect">
              <a:avLst/>
            </a:prstGeom>
          </p:spPr>
        </p:pic>
        <p:sp>
          <p:nvSpPr>
            <p:cNvPr id="148" name="Rectangle 147"/>
            <p:cNvSpPr/>
            <p:nvPr/>
          </p:nvSpPr>
          <p:spPr>
            <a:xfrm>
              <a:off x="2582718" y="4671626"/>
              <a:ext cx="298487" cy="13335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/>
            </a:p>
          </p:txBody>
        </p:sp>
      </p:grpSp>
      <p:grpSp>
        <p:nvGrpSpPr>
          <p:cNvPr id="152" name="Group 151"/>
          <p:cNvGrpSpPr/>
          <p:nvPr/>
        </p:nvGrpSpPr>
        <p:grpSpPr>
          <a:xfrm>
            <a:off x="3274976" y="3642926"/>
            <a:ext cx="1095375" cy="1200150"/>
            <a:chOff x="3274976" y="3664934"/>
            <a:chExt cx="1095375" cy="1200150"/>
          </a:xfrm>
        </p:grpSpPr>
        <p:pic>
          <p:nvPicPr>
            <p:cNvPr id="150" name="Picture 149"/>
            <p:cNvPicPr>
              <a:picLocks noChangeAspect="1"/>
            </p:cNvPicPr>
            <p:nvPr/>
          </p:nvPicPr>
          <p:blipFill>
            <a:blip r:embed="rId21"/>
            <a:stretch>
              <a:fillRect/>
            </a:stretch>
          </p:blipFill>
          <p:spPr>
            <a:xfrm>
              <a:off x="3274976" y="3664934"/>
              <a:ext cx="1095375" cy="1200150"/>
            </a:xfrm>
            <a:prstGeom prst="rect">
              <a:avLst/>
            </a:prstGeom>
          </p:spPr>
        </p:pic>
        <p:sp>
          <p:nvSpPr>
            <p:cNvPr id="151" name="Rectangle 150"/>
            <p:cNvSpPr/>
            <p:nvPr/>
          </p:nvSpPr>
          <p:spPr>
            <a:xfrm>
              <a:off x="4071864" y="4731734"/>
              <a:ext cx="298487" cy="13335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/>
            </a:p>
          </p:txBody>
        </p:sp>
      </p:grpSp>
      <p:grpSp>
        <p:nvGrpSpPr>
          <p:cNvPr id="155" name="Group 154"/>
          <p:cNvGrpSpPr/>
          <p:nvPr/>
        </p:nvGrpSpPr>
        <p:grpSpPr>
          <a:xfrm>
            <a:off x="4778412" y="3642926"/>
            <a:ext cx="1085850" cy="1200150"/>
            <a:chOff x="4778412" y="3654756"/>
            <a:chExt cx="1085850" cy="1200150"/>
          </a:xfrm>
        </p:grpSpPr>
        <p:pic>
          <p:nvPicPr>
            <p:cNvPr id="153" name="Picture 152"/>
            <p:cNvPicPr>
              <a:picLocks noChangeAspect="1"/>
            </p:cNvPicPr>
            <p:nvPr/>
          </p:nvPicPr>
          <p:blipFill>
            <a:blip r:embed="rId22"/>
            <a:stretch>
              <a:fillRect/>
            </a:stretch>
          </p:blipFill>
          <p:spPr>
            <a:xfrm>
              <a:off x="4778412" y="3654756"/>
              <a:ext cx="1085850" cy="1200150"/>
            </a:xfrm>
            <a:prstGeom prst="rect">
              <a:avLst/>
            </a:prstGeom>
          </p:spPr>
        </p:pic>
        <p:sp>
          <p:nvSpPr>
            <p:cNvPr id="154" name="Rectangle 153"/>
            <p:cNvSpPr/>
            <p:nvPr/>
          </p:nvSpPr>
          <p:spPr>
            <a:xfrm>
              <a:off x="5565775" y="4721556"/>
              <a:ext cx="298487" cy="13335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/>
            </a:p>
          </p:txBody>
        </p:sp>
      </p:grpSp>
      <p:grpSp>
        <p:nvGrpSpPr>
          <p:cNvPr id="158" name="Group 157"/>
          <p:cNvGrpSpPr/>
          <p:nvPr/>
        </p:nvGrpSpPr>
        <p:grpSpPr>
          <a:xfrm>
            <a:off x="6305659" y="3642926"/>
            <a:ext cx="1028700" cy="1171575"/>
            <a:chOff x="6305659" y="3718289"/>
            <a:chExt cx="1028700" cy="1171575"/>
          </a:xfrm>
        </p:grpSpPr>
        <p:pic>
          <p:nvPicPr>
            <p:cNvPr id="156" name="Picture 155"/>
            <p:cNvPicPr>
              <a:picLocks noChangeAspect="1"/>
            </p:cNvPicPr>
            <p:nvPr/>
          </p:nvPicPr>
          <p:blipFill>
            <a:blip r:embed="rId23"/>
            <a:stretch>
              <a:fillRect/>
            </a:stretch>
          </p:blipFill>
          <p:spPr>
            <a:xfrm>
              <a:off x="6305659" y="3718289"/>
              <a:ext cx="1028700" cy="1171575"/>
            </a:xfrm>
            <a:prstGeom prst="rect">
              <a:avLst/>
            </a:prstGeom>
          </p:spPr>
        </p:pic>
        <p:sp>
          <p:nvSpPr>
            <p:cNvPr id="157" name="Rectangle 156"/>
            <p:cNvSpPr/>
            <p:nvPr/>
          </p:nvSpPr>
          <p:spPr>
            <a:xfrm>
              <a:off x="7035872" y="4756514"/>
              <a:ext cx="298487" cy="13335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/>
            </a:p>
          </p:txBody>
        </p:sp>
      </p:grpSp>
      <p:pic>
        <p:nvPicPr>
          <p:cNvPr id="159" name="Picture 158"/>
          <p:cNvPicPr>
            <a:picLocks noChangeAspect="1"/>
          </p:cNvPicPr>
          <p:nvPr/>
        </p:nvPicPr>
        <p:blipFill rotWithShape="1">
          <a:blip r:embed="rId24"/>
          <a:srcRect r="1655"/>
          <a:stretch/>
        </p:blipFill>
        <p:spPr>
          <a:xfrm>
            <a:off x="7884677" y="3642926"/>
            <a:ext cx="1011673" cy="1190625"/>
          </a:xfrm>
          <a:prstGeom prst="rect">
            <a:avLst/>
          </a:prstGeom>
        </p:spPr>
      </p:pic>
      <p:grpSp>
        <p:nvGrpSpPr>
          <p:cNvPr id="173" name="Group 172"/>
          <p:cNvGrpSpPr/>
          <p:nvPr/>
        </p:nvGrpSpPr>
        <p:grpSpPr>
          <a:xfrm>
            <a:off x="209153" y="452051"/>
            <a:ext cx="1279760" cy="1257300"/>
            <a:chOff x="209153" y="452051"/>
            <a:chExt cx="1279760" cy="1257300"/>
          </a:xfrm>
        </p:grpSpPr>
        <p:pic>
          <p:nvPicPr>
            <p:cNvPr id="114" name="Picture 113"/>
            <p:cNvPicPr>
              <a:picLocks noChangeAspect="1"/>
            </p:cNvPicPr>
            <p:nvPr/>
          </p:nvPicPr>
          <p:blipFill rotWithShape="1">
            <a:blip r:embed="rId25"/>
            <a:srcRect r="2020"/>
            <a:stretch/>
          </p:blipFill>
          <p:spPr>
            <a:xfrm>
              <a:off x="209153" y="452051"/>
              <a:ext cx="1232334" cy="1257300"/>
            </a:xfrm>
            <a:prstGeom prst="rect">
              <a:avLst/>
            </a:prstGeom>
          </p:spPr>
        </p:pic>
        <p:sp>
          <p:nvSpPr>
            <p:cNvPr id="116" name="Rectangle 115"/>
            <p:cNvSpPr/>
            <p:nvPr/>
          </p:nvSpPr>
          <p:spPr>
            <a:xfrm>
              <a:off x="1190426" y="1576001"/>
              <a:ext cx="298487" cy="13335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/>
            </a:p>
          </p:txBody>
        </p:sp>
      </p:grpSp>
      <p:grpSp>
        <p:nvGrpSpPr>
          <p:cNvPr id="163" name="Group 162"/>
          <p:cNvGrpSpPr/>
          <p:nvPr/>
        </p:nvGrpSpPr>
        <p:grpSpPr>
          <a:xfrm>
            <a:off x="3217827" y="2041525"/>
            <a:ext cx="1209675" cy="1200150"/>
            <a:chOff x="3217827" y="2041525"/>
            <a:chExt cx="1209675" cy="1200150"/>
          </a:xfrm>
        </p:grpSpPr>
        <p:pic>
          <p:nvPicPr>
            <p:cNvPr id="160" name="Picture 159"/>
            <p:cNvPicPr>
              <a:picLocks noChangeAspect="1"/>
            </p:cNvPicPr>
            <p:nvPr/>
          </p:nvPicPr>
          <p:blipFill>
            <a:blip r:embed="rId26"/>
            <a:stretch>
              <a:fillRect/>
            </a:stretch>
          </p:blipFill>
          <p:spPr>
            <a:xfrm>
              <a:off x="3217827" y="2041525"/>
              <a:ext cx="1209675" cy="1200150"/>
            </a:xfrm>
            <a:prstGeom prst="rect">
              <a:avLst/>
            </a:prstGeom>
          </p:spPr>
        </p:pic>
        <p:sp>
          <p:nvSpPr>
            <p:cNvPr id="162" name="Rectangle 161"/>
            <p:cNvSpPr/>
            <p:nvPr/>
          </p:nvSpPr>
          <p:spPr>
            <a:xfrm>
              <a:off x="4198144" y="3138101"/>
              <a:ext cx="229358" cy="103574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/>
            </a:p>
          </p:txBody>
        </p:sp>
      </p:grpSp>
      <p:grpSp>
        <p:nvGrpSpPr>
          <p:cNvPr id="166" name="Group 165"/>
          <p:cNvGrpSpPr/>
          <p:nvPr/>
        </p:nvGrpSpPr>
        <p:grpSpPr>
          <a:xfrm>
            <a:off x="4712494" y="2041525"/>
            <a:ext cx="1208882" cy="1209675"/>
            <a:chOff x="4712494" y="2041525"/>
            <a:chExt cx="1208882" cy="1209675"/>
          </a:xfrm>
        </p:grpSpPr>
        <p:pic>
          <p:nvPicPr>
            <p:cNvPr id="164" name="Picture 163"/>
            <p:cNvPicPr>
              <a:picLocks noChangeAspect="1"/>
            </p:cNvPicPr>
            <p:nvPr/>
          </p:nvPicPr>
          <p:blipFill rotWithShape="1">
            <a:blip r:embed="rId27"/>
            <a:srcRect l="1575" r="2275"/>
            <a:stretch/>
          </p:blipFill>
          <p:spPr>
            <a:xfrm>
              <a:off x="4712494" y="2041525"/>
              <a:ext cx="1208882" cy="1209675"/>
            </a:xfrm>
            <a:prstGeom prst="rect">
              <a:avLst/>
            </a:prstGeom>
          </p:spPr>
        </p:pic>
        <p:sp>
          <p:nvSpPr>
            <p:cNvPr id="165" name="Rectangle 164"/>
            <p:cNvSpPr/>
            <p:nvPr/>
          </p:nvSpPr>
          <p:spPr>
            <a:xfrm>
              <a:off x="5622889" y="3117850"/>
              <a:ext cx="298487" cy="13335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/>
            </a:p>
          </p:txBody>
        </p:sp>
      </p:grpSp>
      <p:grpSp>
        <p:nvGrpSpPr>
          <p:cNvPr id="169" name="Group 168"/>
          <p:cNvGrpSpPr/>
          <p:nvPr/>
        </p:nvGrpSpPr>
        <p:grpSpPr>
          <a:xfrm>
            <a:off x="6226969" y="2041525"/>
            <a:ext cx="1207403" cy="1209675"/>
            <a:chOff x="6226969" y="2041525"/>
            <a:chExt cx="1207403" cy="1209675"/>
          </a:xfrm>
        </p:grpSpPr>
        <p:pic>
          <p:nvPicPr>
            <p:cNvPr id="167" name="Picture 166"/>
            <p:cNvPicPr>
              <a:picLocks noChangeAspect="1"/>
            </p:cNvPicPr>
            <p:nvPr/>
          </p:nvPicPr>
          <p:blipFill rotWithShape="1">
            <a:blip r:embed="rId28"/>
            <a:srcRect l="1735"/>
            <a:stretch/>
          </p:blipFill>
          <p:spPr>
            <a:xfrm>
              <a:off x="6226969" y="2041525"/>
              <a:ext cx="1207403" cy="1209675"/>
            </a:xfrm>
            <a:prstGeom prst="rect">
              <a:avLst/>
            </a:prstGeom>
          </p:spPr>
        </p:pic>
        <p:sp>
          <p:nvSpPr>
            <p:cNvPr id="168" name="Rectangle 167"/>
            <p:cNvSpPr/>
            <p:nvPr/>
          </p:nvSpPr>
          <p:spPr>
            <a:xfrm>
              <a:off x="7239000" y="3169852"/>
              <a:ext cx="195372" cy="8134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/>
            </a:p>
          </p:txBody>
        </p:sp>
      </p:grpSp>
      <p:grpSp>
        <p:nvGrpSpPr>
          <p:cNvPr id="170" name="Group 169"/>
          <p:cNvGrpSpPr/>
          <p:nvPr/>
        </p:nvGrpSpPr>
        <p:grpSpPr>
          <a:xfrm>
            <a:off x="7714979" y="2041525"/>
            <a:ext cx="1207403" cy="1209675"/>
            <a:chOff x="6226969" y="2041525"/>
            <a:chExt cx="1207403" cy="1209675"/>
          </a:xfrm>
        </p:grpSpPr>
        <p:pic>
          <p:nvPicPr>
            <p:cNvPr id="171" name="Picture 170"/>
            <p:cNvPicPr>
              <a:picLocks noChangeAspect="1"/>
            </p:cNvPicPr>
            <p:nvPr/>
          </p:nvPicPr>
          <p:blipFill rotWithShape="1">
            <a:blip r:embed="rId28"/>
            <a:srcRect l="1735"/>
            <a:stretch/>
          </p:blipFill>
          <p:spPr>
            <a:xfrm>
              <a:off x="6226969" y="2041525"/>
              <a:ext cx="1207403" cy="1209675"/>
            </a:xfrm>
            <a:prstGeom prst="rect">
              <a:avLst/>
            </a:prstGeom>
          </p:spPr>
        </p:pic>
        <p:sp>
          <p:nvSpPr>
            <p:cNvPr id="172" name="Rectangle 171"/>
            <p:cNvSpPr/>
            <p:nvPr/>
          </p:nvSpPr>
          <p:spPr>
            <a:xfrm>
              <a:off x="7239000" y="3169852"/>
              <a:ext cx="195372" cy="8134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/>
            </a:p>
          </p:txBody>
        </p:sp>
      </p:grpSp>
      <p:sp>
        <p:nvSpPr>
          <p:cNvPr id="174" name="Rectangle 173"/>
          <p:cNvSpPr/>
          <p:nvPr/>
        </p:nvSpPr>
        <p:spPr>
          <a:xfrm>
            <a:off x="103149" y="381000"/>
            <a:ext cx="1469046" cy="6324600"/>
          </a:xfrm>
          <a:prstGeom prst="rect">
            <a:avLst/>
          </a:prstGeom>
          <a:noFill/>
          <a:ln w="76200">
            <a:solidFill>
              <a:srgbClr val="F6954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</p:spTree>
    <p:extLst>
      <p:ext uri="{BB962C8B-B14F-4D97-AF65-F5344CB8AC3E}">
        <p14:creationId xmlns:p14="http://schemas.microsoft.com/office/powerpoint/2010/main" val="3346510174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143926" y="129140"/>
            <a:ext cx="1270537" cy="184666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r>
              <a:rPr lang="en-US" sz="1200" b="1" dirty="0" smtClean="0">
                <a:solidFill>
                  <a:srgbClr val="7F7E7E"/>
                </a:solidFill>
              </a:rPr>
              <a:t>Method name</a:t>
            </a:r>
            <a:endParaRPr lang="en-US" sz="1200" b="1" dirty="0">
              <a:solidFill>
                <a:srgbClr val="7F7E7E"/>
              </a:solidFill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1462475" y="129140"/>
            <a:ext cx="1228466" cy="184666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r>
              <a:rPr lang="en-US" sz="1200" b="1" dirty="0" smtClean="0">
                <a:solidFill>
                  <a:srgbClr val="7F7E7E"/>
                </a:solidFill>
              </a:rPr>
              <a:t>Parameters</a:t>
            </a:r>
            <a:endParaRPr lang="en-US" sz="1200" b="1" dirty="0">
              <a:solidFill>
                <a:srgbClr val="7F7E7E"/>
              </a:solidFill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2738953" y="129140"/>
            <a:ext cx="2114057" cy="184666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r>
              <a:rPr lang="en-US" sz="1200" b="1" dirty="0" smtClean="0">
                <a:solidFill>
                  <a:srgbClr val="7F7E7E"/>
                </a:solidFill>
              </a:rPr>
              <a:t>Scalability</a:t>
            </a:r>
            <a:endParaRPr lang="en-US" sz="1200" b="1" dirty="0">
              <a:solidFill>
                <a:srgbClr val="7F7E7E"/>
              </a:solidFill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4901022" y="129140"/>
            <a:ext cx="2277711" cy="184666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r>
              <a:rPr lang="en-US" sz="1200" b="1" dirty="0" err="1" smtClean="0">
                <a:solidFill>
                  <a:srgbClr val="7F7E7E"/>
                </a:solidFill>
              </a:rPr>
              <a:t>Usecase</a:t>
            </a:r>
            <a:endParaRPr lang="en-US" sz="1200" b="1" dirty="0">
              <a:solidFill>
                <a:srgbClr val="7F7E7E"/>
              </a:solidFill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7226745" y="129140"/>
            <a:ext cx="1596812" cy="184666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r>
              <a:rPr lang="en-US" sz="1200" b="1" dirty="0" smtClean="0">
                <a:solidFill>
                  <a:srgbClr val="7F7E7E"/>
                </a:solidFill>
              </a:rPr>
              <a:t>Geometry (metric used)</a:t>
            </a:r>
            <a:endParaRPr lang="en-US" sz="1200" b="1" dirty="0">
              <a:solidFill>
                <a:srgbClr val="7F7E7E"/>
              </a:solidFill>
            </a:endParaRPr>
          </a:p>
        </p:txBody>
      </p:sp>
      <p:cxnSp>
        <p:nvCxnSpPr>
          <p:cNvPr id="9" name="Straight Connector 8"/>
          <p:cNvCxnSpPr/>
          <p:nvPr/>
        </p:nvCxnSpPr>
        <p:spPr>
          <a:xfrm>
            <a:off x="143926" y="346258"/>
            <a:ext cx="8679631" cy="0"/>
          </a:xfrm>
          <a:prstGeom prst="line">
            <a:avLst/>
          </a:prstGeom>
          <a:ln>
            <a:solidFill>
              <a:srgbClr val="7F7E7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Box 9"/>
          <p:cNvSpPr txBox="1"/>
          <p:nvPr/>
        </p:nvSpPr>
        <p:spPr>
          <a:xfrm>
            <a:off x="143926" y="389791"/>
            <a:ext cx="1270537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i="1" dirty="0" smtClean="0">
                <a:solidFill>
                  <a:srgbClr val="4E81BC"/>
                </a:solidFill>
              </a:rPr>
              <a:t>K-means</a:t>
            </a:r>
            <a:endParaRPr lang="en-US" sz="1200" i="1" dirty="0">
              <a:solidFill>
                <a:srgbClr val="4E81BC"/>
              </a:solidFill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1462475" y="389791"/>
            <a:ext cx="1228466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 smtClean="0">
                <a:solidFill>
                  <a:srgbClr val="7F7E7E"/>
                </a:solidFill>
              </a:rPr>
              <a:t>Number of clusters</a:t>
            </a:r>
            <a:endParaRPr lang="en-US" sz="1200" dirty="0">
              <a:solidFill>
                <a:srgbClr val="7F7E7E"/>
              </a:solidFill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2738953" y="389791"/>
            <a:ext cx="2114057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 smtClean="0">
                <a:solidFill>
                  <a:srgbClr val="7F7E7E"/>
                </a:solidFill>
              </a:rPr>
              <a:t>Very large </a:t>
            </a:r>
            <a:r>
              <a:rPr lang="en-US" sz="1200" i="1" dirty="0" err="1" smtClean="0">
                <a:solidFill>
                  <a:srgbClr val="7F7E7E"/>
                </a:solidFill>
              </a:rPr>
              <a:t>n_sample</a:t>
            </a:r>
            <a:r>
              <a:rPr lang="en-US" sz="1200" dirty="0" err="1" smtClean="0">
                <a:solidFill>
                  <a:srgbClr val="7F7E7E"/>
                </a:solidFill>
              </a:rPr>
              <a:t>s</a:t>
            </a:r>
            <a:r>
              <a:rPr lang="en-US" sz="1200" dirty="0" smtClean="0">
                <a:solidFill>
                  <a:srgbClr val="7F7E7E"/>
                </a:solidFill>
              </a:rPr>
              <a:t> medium </a:t>
            </a:r>
            <a:r>
              <a:rPr lang="en-US" sz="1200" i="1" dirty="0" err="1" smtClean="0">
                <a:solidFill>
                  <a:srgbClr val="7F7E7E"/>
                </a:solidFill>
              </a:rPr>
              <a:t>n_clusters</a:t>
            </a:r>
            <a:r>
              <a:rPr lang="en-US" sz="1200" dirty="0" smtClean="0">
                <a:solidFill>
                  <a:srgbClr val="7F7E7E"/>
                </a:solidFill>
              </a:rPr>
              <a:t> with </a:t>
            </a:r>
            <a:r>
              <a:rPr lang="en-US" sz="1200" i="1" dirty="0" err="1" smtClean="0">
                <a:solidFill>
                  <a:srgbClr val="4E81BC"/>
                </a:solidFill>
              </a:rPr>
              <a:t>MiniBatch</a:t>
            </a:r>
            <a:r>
              <a:rPr lang="en-US" sz="1200" i="1" dirty="0" smtClean="0">
                <a:solidFill>
                  <a:srgbClr val="4E81BC"/>
                </a:solidFill>
              </a:rPr>
              <a:t> code</a:t>
            </a:r>
            <a:endParaRPr lang="en-US" sz="1200" i="1" dirty="0">
              <a:solidFill>
                <a:srgbClr val="4E81BC"/>
              </a:solidFill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4901022" y="389791"/>
            <a:ext cx="2277711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 smtClean="0">
                <a:solidFill>
                  <a:srgbClr val="7F7E7E"/>
                </a:solidFill>
              </a:rPr>
              <a:t>General purpose, even cluster size, flat geometry, not too many clusters</a:t>
            </a:r>
            <a:endParaRPr lang="en-US" sz="1200" dirty="0">
              <a:solidFill>
                <a:srgbClr val="7F7E7E"/>
              </a:solidFill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7226745" y="389791"/>
            <a:ext cx="1596812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 smtClean="0">
                <a:solidFill>
                  <a:srgbClr val="7F7E7E"/>
                </a:solidFill>
              </a:rPr>
              <a:t>Distances between points</a:t>
            </a:r>
            <a:endParaRPr lang="en-US" sz="1200" dirty="0">
              <a:solidFill>
                <a:srgbClr val="7F7E7E"/>
              </a:solidFill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143926" y="858311"/>
            <a:ext cx="1270537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i="1" dirty="0" smtClean="0">
                <a:solidFill>
                  <a:srgbClr val="4E81BC"/>
                </a:solidFill>
              </a:rPr>
              <a:t>Affinity propagation</a:t>
            </a:r>
            <a:endParaRPr lang="en-US" sz="1200" i="1" dirty="0">
              <a:solidFill>
                <a:srgbClr val="4E81BC"/>
              </a:solidFill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1462475" y="858311"/>
            <a:ext cx="1228466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 smtClean="0">
                <a:solidFill>
                  <a:srgbClr val="7F7E7E"/>
                </a:solidFill>
              </a:rPr>
              <a:t>Damping, sample preferences</a:t>
            </a:r>
            <a:endParaRPr lang="en-US" sz="1200" dirty="0">
              <a:solidFill>
                <a:srgbClr val="7F7E7E"/>
              </a:solidFill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2738953" y="858311"/>
            <a:ext cx="2114057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 smtClean="0">
                <a:solidFill>
                  <a:srgbClr val="7F7E7E"/>
                </a:solidFill>
              </a:rPr>
              <a:t>Not scalable with </a:t>
            </a:r>
            <a:r>
              <a:rPr lang="en-US" sz="1200" dirty="0" err="1" smtClean="0">
                <a:solidFill>
                  <a:srgbClr val="7F7E7E"/>
                </a:solidFill>
              </a:rPr>
              <a:t>n_samples</a:t>
            </a:r>
            <a:endParaRPr lang="en-US" sz="1200" i="1" dirty="0">
              <a:solidFill>
                <a:srgbClr val="6094C9"/>
              </a:solidFill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4901022" y="858311"/>
            <a:ext cx="2277711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 smtClean="0">
                <a:solidFill>
                  <a:srgbClr val="7F7E7E"/>
                </a:solidFill>
              </a:rPr>
              <a:t>Many clusters, uneven cluster size, non-flat geometry</a:t>
            </a:r>
            <a:endParaRPr lang="en-US" sz="1200" dirty="0">
              <a:solidFill>
                <a:srgbClr val="7F7E7E"/>
              </a:solidFill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7226745" y="858311"/>
            <a:ext cx="1596812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 smtClean="0">
                <a:solidFill>
                  <a:srgbClr val="7F7E7E"/>
                </a:solidFill>
              </a:rPr>
              <a:t>Graph distance (e.g. nearest-neighbor graph)</a:t>
            </a:r>
            <a:endParaRPr lang="en-US" sz="1200" dirty="0">
              <a:solidFill>
                <a:srgbClr val="7F7E7E"/>
              </a:solidFill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143926" y="1326831"/>
            <a:ext cx="1270537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i="1" dirty="0" smtClean="0">
                <a:solidFill>
                  <a:srgbClr val="4E81BC"/>
                </a:solidFill>
              </a:rPr>
              <a:t>Mean-shift</a:t>
            </a:r>
            <a:endParaRPr lang="en-US" sz="1200" i="1" dirty="0">
              <a:solidFill>
                <a:srgbClr val="4E81BC"/>
              </a:solidFill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1462475" y="1326831"/>
            <a:ext cx="1228466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 smtClean="0">
                <a:solidFill>
                  <a:srgbClr val="7F7E7E"/>
                </a:solidFill>
              </a:rPr>
              <a:t>Bandwidth</a:t>
            </a:r>
            <a:endParaRPr lang="en-US" sz="1200" dirty="0">
              <a:solidFill>
                <a:srgbClr val="7F7E7E"/>
              </a:solidFill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2738953" y="1326831"/>
            <a:ext cx="2114057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 smtClean="0">
                <a:solidFill>
                  <a:srgbClr val="7F7E7E"/>
                </a:solidFill>
              </a:rPr>
              <a:t>Not scalable with </a:t>
            </a:r>
            <a:r>
              <a:rPr lang="en-US" sz="1200" dirty="0" err="1" smtClean="0">
                <a:solidFill>
                  <a:srgbClr val="7F7E7E"/>
                </a:solidFill>
              </a:rPr>
              <a:t>n_samples</a:t>
            </a:r>
            <a:endParaRPr lang="en-US" sz="1200" i="1" dirty="0">
              <a:solidFill>
                <a:srgbClr val="6094C9"/>
              </a:solidFill>
            </a:endParaRPr>
          </a:p>
        </p:txBody>
      </p:sp>
      <p:sp>
        <p:nvSpPr>
          <p:cNvPr id="23" name="TextBox 22"/>
          <p:cNvSpPr txBox="1"/>
          <p:nvPr/>
        </p:nvSpPr>
        <p:spPr>
          <a:xfrm>
            <a:off x="4901022" y="1326831"/>
            <a:ext cx="2277711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 smtClean="0">
                <a:solidFill>
                  <a:srgbClr val="7F7E7E"/>
                </a:solidFill>
              </a:rPr>
              <a:t>Many clusters, uneven cluster size, non-flat geometry</a:t>
            </a:r>
            <a:endParaRPr lang="en-US" sz="1200" dirty="0">
              <a:solidFill>
                <a:srgbClr val="7F7E7E"/>
              </a:solidFill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7226745" y="1326831"/>
            <a:ext cx="1596812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>
                <a:solidFill>
                  <a:srgbClr val="7F7E7E"/>
                </a:solidFill>
              </a:rPr>
              <a:t>Distances between points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143926" y="1795351"/>
            <a:ext cx="1270537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i="1" dirty="0" smtClean="0">
                <a:solidFill>
                  <a:srgbClr val="4E81BC"/>
                </a:solidFill>
              </a:rPr>
              <a:t>Spectral clustering</a:t>
            </a:r>
            <a:endParaRPr lang="en-US" sz="1200" i="1" dirty="0">
              <a:solidFill>
                <a:srgbClr val="4E81BC"/>
              </a:solidFill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1462475" y="1795351"/>
            <a:ext cx="1228466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>
                <a:solidFill>
                  <a:srgbClr val="7F7E7E"/>
                </a:solidFill>
              </a:rPr>
              <a:t>Number of </a:t>
            </a:r>
            <a:r>
              <a:rPr lang="en-US" sz="1200" dirty="0" smtClean="0">
                <a:solidFill>
                  <a:srgbClr val="7F7E7E"/>
                </a:solidFill>
              </a:rPr>
              <a:t>clusters</a:t>
            </a:r>
            <a:endParaRPr lang="en-US" sz="1200" dirty="0">
              <a:solidFill>
                <a:srgbClr val="7F7E7E"/>
              </a:solidFill>
            </a:endParaRPr>
          </a:p>
        </p:txBody>
      </p:sp>
      <p:sp>
        <p:nvSpPr>
          <p:cNvPr id="27" name="TextBox 26"/>
          <p:cNvSpPr txBox="1"/>
          <p:nvPr/>
        </p:nvSpPr>
        <p:spPr>
          <a:xfrm>
            <a:off x="2738953" y="1795351"/>
            <a:ext cx="2114057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 smtClean="0">
                <a:solidFill>
                  <a:srgbClr val="7F7E7E"/>
                </a:solidFill>
              </a:rPr>
              <a:t>Medium </a:t>
            </a:r>
            <a:r>
              <a:rPr lang="en-US" sz="1200" i="1" dirty="0" err="1" smtClean="0">
                <a:solidFill>
                  <a:srgbClr val="7F7E7E"/>
                </a:solidFill>
              </a:rPr>
              <a:t>n_samples</a:t>
            </a:r>
            <a:r>
              <a:rPr lang="en-US" sz="1200" dirty="0" smtClean="0">
                <a:solidFill>
                  <a:srgbClr val="7F7E7E"/>
                </a:solidFill>
              </a:rPr>
              <a:t>, small </a:t>
            </a:r>
            <a:r>
              <a:rPr lang="en-US" sz="1200" i="1" dirty="0" err="1" smtClean="0">
                <a:solidFill>
                  <a:srgbClr val="7F7E7E"/>
                </a:solidFill>
              </a:rPr>
              <a:t>n_clusters</a:t>
            </a:r>
            <a:endParaRPr lang="en-US" sz="1200" i="1" dirty="0">
              <a:solidFill>
                <a:srgbClr val="6094C9"/>
              </a:solidFill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4901022" y="1795351"/>
            <a:ext cx="2277711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 smtClean="0">
                <a:solidFill>
                  <a:srgbClr val="7F7E7E"/>
                </a:solidFill>
              </a:rPr>
              <a:t>Few clusters, even cluster size, non-flat geometry</a:t>
            </a:r>
            <a:endParaRPr lang="en-US" sz="1200" dirty="0">
              <a:solidFill>
                <a:srgbClr val="7F7E7E"/>
              </a:solidFill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7226745" y="1795351"/>
            <a:ext cx="1596812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>
                <a:solidFill>
                  <a:srgbClr val="7F7E7E"/>
                </a:solidFill>
              </a:rPr>
              <a:t>Graph distance (e.g. nearest-neighbor graph)</a:t>
            </a:r>
          </a:p>
        </p:txBody>
      </p:sp>
      <p:cxnSp>
        <p:nvCxnSpPr>
          <p:cNvPr id="30" name="Straight Connector 29"/>
          <p:cNvCxnSpPr/>
          <p:nvPr/>
        </p:nvCxnSpPr>
        <p:spPr>
          <a:xfrm>
            <a:off x="143926" y="808717"/>
            <a:ext cx="8679631" cy="0"/>
          </a:xfrm>
          <a:prstGeom prst="line">
            <a:avLst/>
          </a:prstGeom>
          <a:ln>
            <a:solidFill>
              <a:srgbClr val="7F7E7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0"/>
          <p:cNvCxnSpPr/>
          <p:nvPr/>
        </p:nvCxnSpPr>
        <p:spPr>
          <a:xfrm>
            <a:off x="143926" y="1277237"/>
            <a:ext cx="8679631" cy="0"/>
          </a:xfrm>
          <a:prstGeom prst="line">
            <a:avLst/>
          </a:prstGeom>
          <a:ln>
            <a:solidFill>
              <a:srgbClr val="7F7E7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/>
          <p:cNvCxnSpPr/>
          <p:nvPr/>
        </p:nvCxnSpPr>
        <p:spPr>
          <a:xfrm>
            <a:off x="143926" y="1745757"/>
            <a:ext cx="8679631" cy="0"/>
          </a:xfrm>
          <a:prstGeom prst="line">
            <a:avLst/>
          </a:prstGeom>
          <a:ln>
            <a:solidFill>
              <a:srgbClr val="7F7E7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/>
          <p:cNvCxnSpPr/>
          <p:nvPr/>
        </p:nvCxnSpPr>
        <p:spPr>
          <a:xfrm>
            <a:off x="143926" y="2214277"/>
            <a:ext cx="8679631" cy="0"/>
          </a:xfrm>
          <a:prstGeom prst="line">
            <a:avLst/>
          </a:prstGeom>
          <a:ln>
            <a:solidFill>
              <a:srgbClr val="7F7E7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Box 33"/>
          <p:cNvSpPr txBox="1"/>
          <p:nvPr/>
        </p:nvSpPr>
        <p:spPr>
          <a:xfrm>
            <a:off x="143926" y="2263871"/>
            <a:ext cx="1270537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i="1" dirty="0" smtClean="0">
                <a:solidFill>
                  <a:srgbClr val="4E81BC"/>
                </a:solidFill>
              </a:rPr>
              <a:t>Hierarchical clustering</a:t>
            </a:r>
            <a:endParaRPr lang="en-US" sz="1200" i="1" dirty="0">
              <a:solidFill>
                <a:srgbClr val="4E81BC"/>
              </a:solidFill>
            </a:endParaRPr>
          </a:p>
        </p:txBody>
      </p:sp>
      <p:sp>
        <p:nvSpPr>
          <p:cNvPr id="35" name="TextBox 34"/>
          <p:cNvSpPr txBox="1"/>
          <p:nvPr/>
        </p:nvSpPr>
        <p:spPr>
          <a:xfrm>
            <a:off x="1462475" y="2263871"/>
            <a:ext cx="1228466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>
                <a:solidFill>
                  <a:srgbClr val="7F7E7E"/>
                </a:solidFill>
              </a:rPr>
              <a:t>Number of </a:t>
            </a:r>
            <a:r>
              <a:rPr lang="en-US" sz="1200" dirty="0" smtClean="0">
                <a:solidFill>
                  <a:srgbClr val="7F7E7E"/>
                </a:solidFill>
              </a:rPr>
              <a:t>clusters</a:t>
            </a:r>
            <a:endParaRPr lang="en-US" sz="1200" dirty="0">
              <a:solidFill>
                <a:srgbClr val="7F7E7E"/>
              </a:solidFill>
            </a:endParaRPr>
          </a:p>
        </p:txBody>
      </p:sp>
      <p:sp>
        <p:nvSpPr>
          <p:cNvPr id="36" name="TextBox 35"/>
          <p:cNvSpPr txBox="1"/>
          <p:nvPr/>
        </p:nvSpPr>
        <p:spPr>
          <a:xfrm>
            <a:off x="2738953" y="2263871"/>
            <a:ext cx="2114057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 smtClean="0">
                <a:solidFill>
                  <a:srgbClr val="7F7E7E"/>
                </a:solidFill>
              </a:rPr>
              <a:t>Large </a:t>
            </a:r>
            <a:r>
              <a:rPr lang="en-US" sz="1200" i="1" dirty="0" err="1" smtClean="0">
                <a:solidFill>
                  <a:srgbClr val="7F7E7E"/>
                </a:solidFill>
              </a:rPr>
              <a:t>n_samples</a:t>
            </a:r>
            <a:r>
              <a:rPr lang="en-US" sz="1200" dirty="0">
                <a:solidFill>
                  <a:srgbClr val="7F7E7E"/>
                </a:solidFill>
              </a:rPr>
              <a:t> </a:t>
            </a:r>
            <a:r>
              <a:rPr lang="en-US" sz="1200" dirty="0" smtClean="0">
                <a:solidFill>
                  <a:srgbClr val="7F7E7E"/>
                </a:solidFill>
              </a:rPr>
              <a:t>and </a:t>
            </a:r>
            <a:r>
              <a:rPr lang="en-US" sz="1200" i="1" dirty="0" err="1" smtClean="0">
                <a:solidFill>
                  <a:srgbClr val="7F7E7E"/>
                </a:solidFill>
              </a:rPr>
              <a:t>n_clusters</a:t>
            </a:r>
            <a:endParaRPr lang="en-US" sz="1200" i="1" dirty="0">
              <a:solidFill>
                <a:srgbClr val="6094C9"/>
              </a:solidFill>
            </a:endParaRPr>
          </a:p>
        </p:txBody>
      </p:sp>
      <p:sp>
        <p:nvSpPr>
          <p:cNvPr id="37" name="TextBox 36"/>
          <p:cNvSpPr txBox="1"/>
          <p:nvPr/>
        </p:nvSpPr>
        <p:spPr>
          <a:xfrm>
            <a:off x="4901022" y="2263871"/>
            <a:ext cx="2277711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 smtClean="0">
                <a:solidFill>
                  <a:srgbClr val="7F7E7E"/>
                </a:solidFill>
              </a:rPr>
              <a:t>Many clusters, possibly connectivity constraints</a:t>
            </a:r>
            <a:endParaRPr lang="en-US" sz="1200" dirty="0">
              <a:solidFill>
                <a:srgbClr val="7F7E7E"/>
              </a:solidFill>
            </a:endParaRPr>
          </a:p>
        </p:txBody>
      </p:sp>
      <p:sp>
        <p:nvSpPr>
          <p:cNvPr id="38" name="TextBox 37"/>
          <p:cNvSpPr txBox="1"/>
          <p:nvPr/>
        </p:nvSpPr>
        <p:spPr>
          <a:xfrm>
            <a:off x="7226745" y="2263871"/>
            <a:ext cx="1596812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>
                <a:solidFill>
                  <a:srgbClr val="7F7E7E"/>
                </a:solidFill>
              </a:rPr>
              <a:t>Distances between points</a:t>
            </a:r>
          </a:p>
        </p:txBody>
      </p:sp>
      <p:cxnSp>
        <p:nvCxnSpPr>
          <p:cNvPr id="39" name="Straight Connector 38"/>
          <p:cNvCxnSpPr/>
          <p:nvPr/>
        </p:nvCxnSpPr>
        <p:spPr>
          <a:xfrm>
            <a:off x="143926" y="2682797"/>
            <a:ext cx="8679631" cy="0"/>
          </a:xfrm>
          <a:prstGeom prst="line">
            <a:avLst/>
          </a:prstGeom>
          <a:ln>
            <a:solidFill>
              <a:srgbClr val="7F7E7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TextBox 39"/>
          <p:cNvSpPr txBox="1"/>
          <p:nvPr/>
        </p:nvSpPr>
        <p:spPr>
          <a:xfrm>
            <a:off x="143926" y="2732396"/>
            <a:ext cx="1270537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i="1" dirty="0" smtClean="0">
                <a:solidFill>
                  <a:srgbClr val="4E81BC"/>
                </a:solidFill>
              </a:rPr>
              <a:t>DBSCAN</a:t>
            </a:r>
            <a:endParaRPr lang="en-US" sz="1200" i="1" dirty="0">
              <a:solidFill>
                <a:srgbClr val="4E81BC"/>
              </a:solidFill>
            </a:endParaRPr>
          </a:p>
        </p:txBody>
      </p:sp>
      <p:sp>
        <p:nvSpPr>
          <p:cNvPr id="41" name="TextBox 40"/>
          <p:cNvSpPr txBox="1"/>
          <p:nvPr/>
        </p:nvSpPr>
        <p:spPr>
          <a:xfrm>
            <a:off x="1462475" y="2732396"/>
            <a:ext cx="1228466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 smtClean="0">
                <a:solidFill>
                  <a:srgbClr val="7F7E7E"/>
                </a:solidFill>
              </a:rPr>
              <a:t>Neighborhood size </a:t>
            </a:r>
            <a:endParaRPr lang="en-US" sz="1200" dirty="0">
              <a:solidFill>
                <a:srgbClr val="7F7E7E"/>
              </a:solidFill>
            </a:endParaRPr>
          </a:p>
        </p:txBody>
      </p:sp>
      <p:sp>
        <p:nvSpPr>
          <p:cNvPr id="42" name="TextBox 41"/>
          <p:cNvSpPr txBox="1"/>
          <p:nvPr/>
        </p:nvSpPr>
        <p:spPr>
          <a:xfrm>
            <a:off x="2738953" y="2732396"/>
            <a:ext cx="2114057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 smtClean="0">
                <a:solidFill>
                  <a:srgbClr val="7F7E7E"/>
                </a:solidFill>
              </a:rPr>
              <a:t>Very large </a:t>
            </a:r>
            <a:r>
              <a:rPr lang="en-US" sz="1200" i="1" dirty="0" err="1" smtClean="0">
                <a:solidFill>
                  <a:srgbClr val="7F7E7E"/>
                </a:solidFill>
              </a:rPr>
              <a:t>n_samples</a:t>
            </a:r>
            <a:r>
              <a:rPr lang="en-US" sz="1200" dirty="0" smtClean="0">
                <a:solidFill>
                  <a:srgbClr val="7F7E7E"/>
                </a:solidFill>
              </a:rPr>
              <a:t>, medium </a:t>
            </a:r>
            <a:r>
              <a:rPr lang="en-US" sz="1200" i="1" dirty="0" err="1" smtClean="0">
                <a:solidFill>
                  <a:srgbClr val="7F7E7E"/>
                </a:solidFill>
              </a:rPr>
              <a:t>n_clusters</a:t>
            </a:r>
            <a:endParaRPr lang="en-US" sz="1200" i="1" dirty="0">
              <a:solidFill>
                <a:srgbClr val="6094C9"/>
              </a:solidFill>
            </a:endParaRPr>
          </a:p>
        </p:txBody>
      </p:sp>
      <p:sp>
        <p:nvSpPr>
          <p:cNvPr id="43" name="TextBox 42"/>
          <p:cNvSpPr txBox="1"/>
          <p:nvPr/>
        </p:nvSpPr>
        <p:spPr>
          <a:xfrm>
            <a:off x="4901022" y="2732396"/>
            <a:ext cx="2277711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 smtClean="0">
                <a:solidFill>
                  <a:srgbClr val="7F7E7E"/>
                </a:solidFill>
              </a:rPr>
              <a:t>Non-flat geometry, uneven cluster sizes</a:t>
            </a:r>
            <a:endParaRPr lang="en-US" sz="1200" dirty="0">
              <a:solidFill>
                <a:srgbClr val="7F7E7E"/>
              </a:solidFill>
            </a:endParaRPr>
          </a:p>
        </p:txBody>
      </p:sp>
      <p:sp>
        <p:nvSpPr>
          <p:cNvPr id="44" name="TextBox 43"/>
          <p:cNvSpPr txBox="1"/>
          <p:nvPr/>
        </p:nvSpPr>
        <p:spPr>
          <a:xfrm>
            <a:off x="7226745" y="2732396"/>
            <a:ext cx="1596812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>
                <a:solidFill>
                  <a:srgbClr val="7F7E7E"/>
                </a:solidFill>
              </a:rPr>
              <a:t>Distances between </a:t>
            </a:r>
            <a:r>
              <a:rPr lang="en-US" sz="1200" dirty="0" smtClean="0">
                <a:solidFill>
                  <a:srgbClr val="7F7E7E"/>
                </a:solidFill>
              </a:rPr>
              <a:t>nearest points</a:t>
            </a:r>
            <a:endParaRPr lang="en-US" sz="1200" dirty="0">
              <a:solidFill>
                <a:srgbClr val="7F7E7E"/>
              </a:solidFill>
            </a:endParaRPr>
          </a:p>
        </p:txBody>
      </p:sp>
      <p:sp>
        <p:nvSpPr>
          <p:cNvPr id="45" name="object 5"/>
          <p:cNvSpPr txBox="1"/>
          <p:nvPr/>
        </p:nvSpPr>
        <p:spPr>
          <a:xfrm>
            <a:off x="143926" y="3515232"/>
            <a:ext cx="8679631" cy="2603277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 marR="41909">
              <a:lnSpc>
                <a:spcPts val="3454"/>
              </a:lnSpc>
              <a:spcBef>
                <a:spcPts val="172"/>
              </a:spcBef>
            </a:pPr>
            <a:r>
              <a:rPr lang="en-US" sz="4400" baseline="2560" dirty="0">
                <a:solidFill>
                  <a:srgbClr val="4E81BC"/>
                </a:solidFill>
                <a:cs typeface="Calibri"/>
              </a:rPr>
              <a:t>Hierarchical Clustering</a:t>
            </a:r>
          </a:p>
          <a:p>
            <a:pPr marL="12700">
              <a:lnSpc>
                <a:spcPts val="2770"/>
              </a:lnSpc>
            </a:pPr>
            <a:r>
              <a:rPr lang="en-US" sz="4400" baseline="1137" dirty="0">
                <a:solidFill>
                  <a:srgbClr val="7F7E7E"/>
                </a:solidFill>
                <a:cs typeface="Calibri"/>
              </a:rPr>
              <a:t>You get a full </a:t>
            </a:r>
            <a:r>
              <a:rPr lang="en-US" sz="4400" baseline="1137" dirty="0">
                <a:solidFill>
                  <a:schemeClr val="accent4"/>
                </a:solidFill>
                <a:cs typeface="Calibri"/>
              </a:rPr>
              <a:t>hierarchy tree</a:t>
            </a:r>
            <a:r>
              <a:rPr lang="en-US" sz="4400" baseline="1137" dirty="0">
                <a:solidFill>
                  <a:srgbClr val="7F7E7E"/>
                </a:solidFill>
                <a:cs typeface="Calibri"/>
              </a:rPr>
              <a:t>. Useful for some problems.</a:t>
            </a:r>
          </a:p>
          <a:p>
            <a:pPr marL="12700">
              <a:lnSpc>
                <a:spcPts val="2770"/>
              </a:lnSpc>
            </a:pPr>
            <a:r>
              <a:rPr lang="en-US" sz="4400" baseline="1137" dirty="0">
                <a:solidFill>
                  <a:srgbClr val="7F7E7E"/>
                </a:solidFill>
                <a:cs typeface="Calibri"/>
              </a:rPr>
              <a:t>Have to try k values.</a:t>
            </a:r>
          </a:p>
          <a:p>
            <a:pPr marL="12700">
              <a:lnSpc>
                <a:spcPts val="2770"/>
              </a:lnSpc>
            </a:pPr>
            <a:r>
              <a:rPr lang="en-US" sz="4400" baseline="1137" dirty="0">
                <a:solidFill>
                  <a:srgbClr val="7F7E7E"/>
                </a:solidFill>
                <a:cs typeface="Calibri"/>
              </a:rPr>
              <a:t>Finds </a:t>
            </a:r>
            <a:r>
              <a:rPr lang="en-US" sz="4400" baseline="1137" dirty="0">
                <a:solidFill>
                  <a:srgbClr val="AAC56C"/>
                </a:solidFill>
                <a:cs typeface="Calibri"/>
              </a:rPr>
              <a:t>uneven cluster sizes </a:t>
            </a:r>
            <a:r>
              <a:rPr lang="en-US" sz="4400" baseline="1137" dirty="0">
                <a:solidFill>
                  <a:srgbClr val="7F7E7E"/>
                </a:solidFill>
                <a:cs typeface="Calibri"/>
              </a:rPr>
              <a:t>(one is big, some are </a:t>
            </a:r>
            <a:r>
              <a:rPr lang="en-US" sz="4400" baseline="1137" dirty="0" smtClean="0">
                <a:solidFill>
                  <a:srgbClr val="7F7E7E"/>
                </a:solidFill>
                <a:cs typeface="Calibri"/>
              </a:rPr>
              <a:t>tiny, </a:t>
            </a:r>
            <a:r>
              <a:rPr lang="en-US" sz="4400" baseline="1137" dirty="0">
                <a:solidFill>
                  <a:srgbClr val="7F7E7E"/>
                </a:solidFill>
                <a:cs typeface="Calibri"/>
              </a:rPr>
              <a:t>etc.)</a:t>
            </a:r>
          </a:p>
          <a:p>
            <a:pPr marL="12700">
              <a:lnSpc>
                <a:spcPts val="2770"/>
              </a:lnSpc>
            </a:pPr>
            <a:r>
              <a:rPr lang="en-US" sz="4400" baseline="1137" dirty="0">
                <a:solidFill>
                  <a:srgbClr val="7F7E7E"/>
                </a:solidFill>
                <a:cs typeface="Calibri"/>
              </a:rPr>
              <a:t>This is due to the “the rich get richer eﬀect.” A lot of </a:t>
            </a:r>
            <a:r>
              <a:rPr lang="en-US" sz="4400" baseline="1137" dirty="0">
                <a:solidFill>
                  <a:srgbClr val="FAA757"/>
                </a:solidFill>
                <a:cs typeface="Calibri"/>
              </a:rPr>
              <a:t>distance metric</a:t>
            </a:r>
            <a:r>
              <a:rPr lang="en-US" sz="4400" baseline="1137" dirty="0">
                <a:solidFill>
                  <a:srgbClr val="7F7E7E"/>
                </a:solidFill>
                <a:cs typeface="Calibri"/>
              </a:rPr>
              <a:t> and linkage </a:t>
            </a:r>
            <a:r>
              <a:rPr lang="en-US" sz="4400" baseline="1137" dirty="0" smtClean="0">
                <a:solidFill>
                  <a:srgbClr val="FAA757"/>
                </a:solidFill>
                <a:cs typeface="Calibri"/>
              </a:rPr>
              <a:t>options</a:t>
            </a:r>
            <a:r>
              <a:rPr lang="en-US" sz="4400" baseline="1137" dirty="0" smtClean="0">
                <a:solidFill>
                  <a:srgbClr val="7F7E7E"/>
                </a:solidFill>
                <a:cs typeface="Calibri"/>
              </a:rPr>
              <a:t>. </a:t>
            </a:r>
          </a:p>
          <a:p>
            <a:pPr marL="12700">
              <a:lnSpc>
                <a:spcPts val="2770"/>
              </a:lnSpc>
            </a:pPr>
            <a:r>
              <a:rPr lang="en-US" sz="4400" baseline="1137" dirty="0" smtClean="0">
                <a:solidFill>
                  <a:srgbClr val="7F7E7E"/>
                </a:solidFill>
                <a:cs typeface="Calibri"/>
              </a:rPr>
              <a:t>Fast</a:t>
            </a:r>
            <a:r>
              <a:rPr lang="en-US" sz="4400" baseline="1137" dirty="0">
                <a:solidFill>
                  <a:srgbClr val="7F7E7E"/>
                </a:solidFill>
                <a:cs typeface="Calibri"/>
              </a:rPr>
              <a:t>. Can easily handle lots of data and clusters</a:t>
            </a:r>
            <a:r>
              <a:rPr lang="en-US" sz="4400" baseline="1137" dirty="0" smtClean="0">
                <a:solidFill>
                  <a:srgbClr val="7F7E7E"/>
                </a:solidFill>
                <a:cs typeface="Calibri"/>
              </a:rPr>
              <a:t>.</a:t>
            </a:r>
            <a:endParaRPr lang="en-US" sz="4400" baseline="1137" dirty="0">
              <a:solidFill>
                <a:srgbClr val="7F7E7E"/>
              </a:solidFill>
              <a:cs typeface="Calibri"/>
            </a:endParaRPr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1" name="Object 16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1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Rectangle 22"/>
          <p:cNvSpPr/>
          <p:nvPr/>
        </p:nvSpPr>
        <p:spPr>
          <a:xfrm>
            <a:off x="114300" y="381000"/>
            <a:ext cx="1422040" cy="1524000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30" name="TextBox 29"/>
          <p:cNvSpPr txBox="1"/>
          <p:nvPr/>
        </p:nvSpPr>
        <p:spPr>
          <a:xfrm>
            <a:off x="143926" y="1719329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 smtClean="0">
                <a:solidFill>
                  <a:srgbClr val="7F7E7E"/>
                </a:solidFill>
              </a:rPr>
              <a:t>.01s</a:t>
            </a:r>
            <a:endParaRPr lang="en-US" sz="1000" dirty="0">
              <a:solidFill>
                <a:srgbClr val="7F7E7E"/>
              </a:solidFill>
            </a:endParaRPr>
          </a:p>
        </p:txBody>
      </p:sp>
      <p:sp>
        <p:nvSpPr>
          <p:cNvPr id="34" name="Rectangle 33"/>
          <p:cNvSpPr/>
          <p:nvPr/>
        </p:nvSpPr>
        <p:spPr>
          <a:xfrm>
            <a:off x="1612972" y="381000"/>
            <a:ext cx="1422040" cy="1524000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35" name="TextBox 34"/>
          <p:cNvSpPr txBox="1"/>
          <p:nvPr/>
        </p:nvSpPr>
        <p:spPr>
          <a:xfrm>
            <a:off x="1642598" y="1719329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 smtClean="0">
                <a:solidFill>
                  <a:srgbClr val="7F7E7E"/>
                </a:solidFill>
              </a:rPr>
              <a:t>8.17s</a:t>
            </a:r>
            <a:endParaRPr lang="en-US" sz="1000" dirty="0">
              <a:solidFill>
                <a:srgbClr val="7F7E7E"/>
              </a:solidFill>
            </a:endParaRPr>
          </a:p>
        </p:txBody>
      </p:sp>
      <p:sp>
        <p:nvSpPr>
          <p:cNvPr id="37" name="Rectangle 36"/>
          <p:cNvSpPr/>
          <p:nvPr/>
        </p:nvSpPr>
        <p:spPr>
          <a:xfrm>
            <a:off x="3111644" y="381000"/>
            <a:ext cx="1422040" cy="1524000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38" name="TextBox 37"/>
          <p:cNvSpPr txBox="1"/>
          <p:nvPr/>
        </p:nvSpPr>
        <p:spPr>
          <a:xfrm>
            <a:off x="3141270" y="1719329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 smtClean="0">
                <a:solidFill>
                  <a:srgbClr val="7F7E7E"/>
                </a:solidFill>
              </a:rPr>
              <a:t>.02s</a:t>
            </a:r>
            <a:endParaRPr lang="en-US" sz="1000" dirty="0">
              <a:solidFill>
                <a:srgbClr val="7F7E7E"/>
              </a:solidFill>
            </a:endParaRPr>
          </a:p>
        </p:txBody>
      </p:sp>
      <p:sp>
        <p:nvSpPr>
          <p:cNvPr id="40" name="Rectangle 39"/>
          <p:cNvSpPr/>
          <p:nvPr/>
        </p:nvSpPr>
        <p:spPr>
          <a:xfrm>
            <a:off x="4610317" y="381000"/>
            <a:ext cx="1422040" cy="1524000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41" name="TextBox 40"/>
          <p:cNvSpPr txBox="1"/>
          <p:nvPr/>
        </p:nvSpPr>
        <p:spPr>
          <a:xfrm>
            <a:off x="4639943" y="1719329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 smtClean="0">
                <a:solidFill>
                  <a:srgbClr val="7F7E7E"/>
                </a:solidFill>
              </a:rPr>
              <a:t>.31s</a:t>
            </a:r>
            <a:endParaRPr lang="en-US" sz="1000" dirty="0">
              <a:solidFill>
                <a:srgbClr val="7F7E7E"/>
              </a:solidFill>
            </a:endParaRPr>
          </a:p>
        </p:txBody>
      </p:sp>
      <p:sp>
        <p:nvSpPr>
          <p:cNvPr id="43" name="Rectangle 42"/>
          <p:cNvSpPr/>
          <p:nvPr/>
        </p:nvSpPr>
        <p:spPr>
          <a:xfrm>
            <a:off x="6108989" y="381000"/>
            <a:ext cx="1422040" cy="1524000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44" name="TextBox 43"/>
          <p:cNvSpPr txBox="1"/>
          <p:nvPr/>
        </p:nvSpPr>
        <p:spPr>
          <a:xfrm>
            <a:off x="6138615" y="1719329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 smtClean="0">
                <a:solidFill>
                  <a:srgbClr val="7F7E7E"/>
                </a:solidFill>
              </a:rPr>
              <a:t>.21s</a:t>
            </a:r>
            <a:endParaRPr lang="en-US" sz="1000" dirty="0">
              <a:solidFill>
                <a:srgbClr val="7F7E7E"/>
              </a:solidFill>
            </a:endParaRPr>
          </a:p>
        </p:txBody>
      </p:sp>
      <p:sp>
        <p:nvSpPr>
          <p:cNvPr id="46" name="Rectangle 45"/>
          <p:cNvSpPr/>
          <p:nvPr/>
        </p:nvSpPr>
        <p:spPr>
          <a:xfrm>
            <a:off x="7607660" y="381000"/>
            <a:ext cx="1422040" cy="1524000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47" name="TextBox 46"/>
          <p:cNvSpPr txBox="1"/>
          <p:nvPr/>
        </p:nvSpPr>
        <p:spPr>
          <a:xfrm>
            <a:off x="7637286" y="1719329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 smtClean="0">
                <a:solidFill>
                  <a:srgbClr val="7F7E7E"/>
                </a:solidFill>
              </a:rPr>
              <a:t>.10s</a:t>
            </a:r>
            <a:endParaRPr lang="en-US" sz="1000" dirty="0">
              <a:solidFill>
                <a:srgbClr val="7F7E7E"/>
              </a:solidFill>
            </a:endParaRPr>
          </a:p>
        </p:txBody>
      </p:sp>
      <p:sp>
        <p:nvSpPr>
          <p:cNvPr id="67" name="Rectangle 66"/>
          <p:cNvSpPr/>
          <p:nvPr/>
        </p:nvSpPr>
        <p:spPr>
          <a:xfrm>
            <a:off x="114300" y="1981200"/>
            <a:ext cx="1422040" cy="1524000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68" name="TextBox 67"/>
          <p:cNvSpPr txBox="1"/>
          <p:nvPr/>
        </p:nvSpPr>
        <p:spPr>
          <a:xfrm>
            <a:off x="143926" y="3319529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 smtClean="0">
                <a:solidFill>
                  <a:srgbClr val="7F7E7E"/>
                </a:solidFill>
              </a:rPr>
              <a:t>0.1s</a:t>
            </a:r>
            <a:endParaRPr lang="en-US" sz="1000" dirty="0">
              <a:solidFill>
                <a:srgbClr val="7F7E7E"/>
              </a:solidFill>
            </a:endParaRPr>
          </a:p>
        </p:txBody>
      </p:sp>
      <p:sp>
        <p:nvSpPr>
          <p:cNvPr id="65" name="Rectangle 64"/>
          <p:cNvSpPr/>
          <p:nvPr/>
        </p:nvSpPr>
        <p:spPr>
          <a:xfrm>
            <a:off x="1612972" y="1981200"/>
            <a:ext cx="1422040" cy="1524000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66" name="TextBox 65"/>
          <p:cNvSpPr txBox="1"/>
          <p:nvPr/>
        </p:nvSpPr>
        <p:spPr>
          <a:xfrm>
            <a:off x="1642598" y="3319529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 smtClean="0">
                <a:solidFill>
                  <a:srgbClr val="7F7E7E"/>
                </a:solidFill>
              </a:rPr>
              <a:t>8.17s</a:t>
            </a:r>
            <a:endParaRPr lang="en-US" sz="1000" dirty="0">
              <a:solidFill>
                <a:srgbClr val="7F7E7E"/>
              </a:solidFill>
            </a:endParaRPr>
          </a:p>
        </p:txBody>
      </p:sp>
      <p:sp>
        <p:nvSpPr>
          <p:cNvPr id="63" name="Rectangle 62"/>
          <p:cNvSpPr/>
          <p:nvPr/>
        </p:nvSpPr>
        <p:spPr>
          <a:xfrm>
            <a:off x="3111644" y="1981200"/>
            <a:ext cx="1422040" cy="1524000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64" name="TextBox 63"/>
          <p:cNvSpPr txBox="1"/>
          <p:nvPr/>
        </p:nvSpPr>
        <p:spPr>
          <a:xfrm>
            <a:off x="3141270" y="3319529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 smtClean="0">
                <a:solidFill>
                  <a:srgbClr val="7F7E7E"/>
                </a:solidFill>
              </a:rPr>
              <a:t>.03s</a:t>
            </a:r>
            <a:endParaRPr lang="en-US" sz="1000" dirty="0">
              <a:solidFill>
                <a:srgbClr val="7F7E7E"/>
              </a:solidFill>
            </a:endParaRPr>
          </a:p>
        </p:txBody>
      </p:sp>
      <p:sp>
        <p:nvSpPr>
          <p:cNvPr id="61" name="Rectangle 60"/>
          <p:cNvSpPr/>
          <p:nvPr/>
        </p:nvSpPr>
        <p:spPr>
          <a:xfrm>
            <a:off x="4610317" y="1981200"/>
            <a:ext cx="1422040" cy="1524000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62" name="TextBox 61"/>
          <p:cNvSpPr txBox="1"/>
          <p:nvPr/>
        </p:nvSpPr>
        <p:spPr>
          <a:xfrm>
            <a:off x="4639943" y="3319529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 smtClean="0">
                <a:solidFill>
                  <a:srgbClr val="7F7E7E"/>
                </a:solidFill>
              </a:rPr>
              <a:t>.03s</a:t>
            </a:r>
            <a:endParaRPr lang="en-US" sz="1000" dirty="0">
              <a:solidFill>
                <a:srgbClr val="7F7E7E"/>
              </a:solidFill>
            </a:endParaRPr>
          </a:p>
        </p:txBody>
      </p:sp>
      <p:sp>
        <p:nvSpPr>
          <p:cNvPr id="59" name="Rectangle 58"/>
          <p:cNvSpPr/>
          <p:nvPr/>
        </p:nvSpPr>
        <p:spPr>
          <a:xfrm>
            <a:off x="6108989" y="1981200"/>
            <a:ext cx="1422040" cy="1524000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60" name="TextBox 59"/>
          <p:cNvSpPr txBox="1"/>
          <p:nvPr/>
        </p:nvSpPr>
        <p:spPr>
          <a:xfrm>
            <a:off x="6138615" y="3319529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 smtClean="0">
                <a:solidFill>
                  <a:srgbClr val="7F7E7E"/>
                </a:solidFill>
              </a:rPr>
              <a:t>.26s</a:t>
            </a:r>
            <a:endParaRPr lang="en-US" sz="1000" dirty="0">
              <a:solidFill>
                <a:srgbClr val="7F7E7E"/>
              </a:solidFill>
            </a:endParaRPr>
          </a:p>
        </p:txBody>
      </p:sp>
      <p:sp>
        <p:nvSpPr>
          <p:cNvPr id="57" name="Rectangle 56"/>
          <p:cNvSpPr/>
          <p:nvPr/>
        </p:nvSpPr>
        <p:spPr>
          <a:xfrm>
            <a:off x="7607660" y="1981200"/>
            <a:ext cx="1422040" cy="1524000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58" name="TextBox 57"/>
          <p:cNvSpPr txBox="1"/>
          <p:nvPr/>
        </p:nvSpPr>
        <p:spPr>
          <a:xfrm>
            <a:off x="7637286" y="3319529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 smtClean="0">
                <a:solidFill>
                  <a:srgbClr val="7F7E7E"/>
                </a:solidFill>
              </a:rPr>
              <a:t>.10s</a:t>
            </a:r>
            <a:endParaRPr lang="en-US" sz="1000" dirty="0">
              <a:solidFill>
                <a:srgbClr val="7F7E7E"/>
              </a:solidFill>
            </a:endParaRPr>
          </a:p>
        </p:txBody>
      </p:sp>
      <p:sp>
        <p:nvSpPr>
          <p:cNvPr id="86" name="Rectangle 85"/>
          <p:cNvSpPr/>
          <p:nvPr/>
        </p:nvSpPr>
        <p:spPr>
          <a:xfrm>
            <a:off x="114300" y="3581400"/>
            <a:ext cx="1422040" cy="1524000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87" name="TextBox 86"/>
          <p:cNvSpPr txBox="1"/>
          <p:nvPr/>
        </p:nvSpPr>
        <p:spPr>
          <a:xfrm>
            <a:off x="143926" y="4919729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 smtClean="0">
                <a:solidFill>
                  <a:srgbClr val="7F7E7E"/>
                </a:solidFill>
              </a:rPr>
              <a:t>.01s</a:t>
            </a:r>
            <a:endParaRPr lang="en-US" sz="1000" dirty="0">
              <a:solidFill>
                <a:srgbClr val="7F7E7E"/>
              </a:solidFill>
            </a:endParaRPr>
          </a:p>
        </p:txBody>
      </p:sp>
      <p:sp>
        <p:nvSpPr>
          <p:cNvPr id="84" name="Rectangle 83"/>
          <p:cNvSpPr/>
          <p:nvPr/>
        </p:nvSpPr>
        <p:spPr>
          <a:xfrm>
            <a:off x="1612972" y="3581400"/>
            <a:ext cx="1422040" cy="1524000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85" name="TextBox 84"/>
          <p:cNvSpPr txBox="1"/>
          <p:nvPr/>
        </p:nvSpPr>
        <p:spPr>
          <a:xfrm>
            <a:off x="1642598" y="4919729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 smtClean="0">
                <a:solidFill>
                  <a:srgbClr val="7F7E7E"/>
                </a:solidFill>
              </a:rPr>
              <a:t>8.45s</a:t>
            </a:r>
            <a:endParaRPr lang="en-US" sz="1000" dirty="0">
              <a:solidFill>
                <a:srgbClr val="7F7E7E"/>
              </a:solidFill>
            </a:endParaRPr>
          </a:p>
        </p:txBody>
      </p:sp>
      <p:sp>
        <p:nvSpPr>
          <p:cNvPr id="82" name="Rectangle 81"/>
          <p:cNvSpPr/>
          <p:nvPr/>
        </p:nvSpPr>
        <p:spPr>
          <a:xfrm>
            <a:off x="3111644" y="3581400"/>
            <a:ext cx="1422040" cy="1524000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83" name="TextBox 82"/>
          <p:cNvSpPr txBox="1"/>
          <p:nvPr/>
        </p:nvSpPr>
        <p:spPr>
          <a:xfrm>
            <a:off x="3141270" y="4919729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 smtClean="0">
                <a:solidFill>
                  <a:srgbClr val="7F7E7E"/>
                </a:solidFill>
              </a:rPr>
              <a:t>.03s</a:t>
            </a:r>
            <a:endParaRPr lang="en-US" sz="1000" dirty="0">
              <a:solidFill>
                <a:srgbClr val="7F7E7E"/>
              </a:solidFill>
            </a:endParaRPr>
          </a:p>
        </p:txBody>
      </p:sp>
      <p:sp>
        <p:nvSpPr>
          <p:cNvPr id="80" name="Rectangle 79"/>
          <p:cNvSpPr/>
          <p:nvPr/>
        </p:nvSpPr>
        <p:spPr>
          <a:xfrm>
            <a:off x="4610317" y="3581400"/>
            <a:ext cx="1422040" cy="1524000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81" name="TextBox 80"/>
          <p:cNvSpPr txBox="1"/>
          <p:nvPr/>
        </p:nvSpPr>
        <p:spPr>
          <a:xfrm>
            <a:off x="4639943" y="4919729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 smtClean="0">
                <a:solidFill>
                  <a:srgbClr val="7F7E7E"/>
                </a:solidFill>
              </a:rPr>
              <a:t>.04s</a:t>
            </a:r>
            <a:endParaRPr lang="en-US" sz="1000" dirty="0">
              <a:solidFill>
                <a:srgbClr val="7F7E7E"/>
              </a:solidFill>
            </a:endParaRPr>
          </a:p>
        </p:txBody>
      </p:sp>
      <p:sp>
        <p:nvSpPr>
          <p:cNvPr id="78" name="Rectangle 77"/>
          <p:cNvSpPr/>
          <p:nvPr/>
        </p:nvSpPr>
        <p:spPr>
          <a:xfrm>
            <a:off x="6108989" y="3581400"/>
            <a:ext cx="1422040" cy="1524000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79" name="TextBox 78"/>
          <p:cNvSpPr txBox="1"/>
          <p:nvPr/>
        </p:nvSpPr>
        <p:spPr>
          <a:xfrm>
            <a:off x="6138615" y="4919729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 smtClean="0">
                <a:solidFill>
                  <a:srgbClr val="7F7E7E"/>
                </a:solidFill>
              </a:rPr>
              <a:t>.31s</a:t>
            </a:r>
            <a:endParaRPr lang="en-US" sz="1000" dirty="0">
              <a:solidFill>
                <a:srgbClr val="7F7E7E"/>
              </a:solidFill>
            </a:endParaRPr>
          </a:p>
        </p:txBody>
      </p:sp>
      <p:sp>
        <p:nvSpPr>
          <p:cNvPr id="76" name="Rectangle 75"/>
          <p:cNvSpPr/>
          <p:nvPr/>
        </p:nvSpPr>
        <p:spPr>
          <a:xfrm>
            <a:off x="7607660" y="3581400"/>
            <a:ext cx="1422040" cy="1524000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77" name="TextBox 76"/>
          <p:cNvSpPr txBox="1"/>
          <p:nvPr/>
        </p:nvSpPr>
        <p:spPr>
          <a:xfrm>
            <a:off x="7637286" y="4919729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 smtClean="0">
                <a:solidFill>
                  <a:srgbClr val="7F7E7E"/>
                </a:solidFill>
              </a:rPr>
              <a:t>.11s</a:t>
            </a:r>
            <a:endParaRPr lang="en-US" sz="1000" dirty="0">
              <a:solidFill>
                <a:srgbClr val="7F7E7E"/>
              </a:solidFill>
            </a:endParaRPr>
          </a:p>
        </p:txBody>
      </p:sp>
      <p:sp>
        <p:nvSpPr>
          <p:cNvPr id="105" name="Rectangle 104"/>
          <p:cNvSpPr/>
          <p:nvPr/>
        </p:nvSpPr>
        <p:spPr>
          <a:xfrm>
            <a:off x="114300" y="5181600"/>
            <a:ext cx="1422040" cy="1524000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106" name="TextBox 105"/>
          <p:cNvSpPr txBox="1"/>
          <p:nvPr/>
        </p:nvSpPr>
        <p:spPr>
          <a:xfrm>
            <a:off x="143926" y="6519929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 smtClean="0">
                <a:solidFill>
                  <a:srgbClr val="7F7E7E"/>
                </a:solidFill>
              </a:rPr>
              <a:t>.02s</a:t>
            </a:r>
            <a:endParaRPr lang="en-US" sz="1000" dirty="0">
              <a:solidFill>
                <a:srgbClr val="7F7E7E"/>
              </a:solidFill>
            </a:endParaRPr>
          </a:p>
        </p:txBody>
      </p:sp>
      <p:sp>
        <p:nvSpPr>
          <p:cNvPr id="103" name="Rectangle 102"/>
          <p:cNvSpPr/>
          <p:nvPr/>
        </p:nvSpPr>
        <p:spPr>
          <a:xfrm>
            <a:off x="1612972" y="5181600"/>
            <a:ext cx="1422040" cy="1524000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104" name="TextBox 103"/>
          <p:cNvSpPr txBox="1"/>
          <p:nvPr/>
        </p:nvSpPr>
        <p:spPr>
          <a:xfrm>
            <a:off x="1642598" y="6519929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 smtClean="0">
                <a:solidFill>
                  <a:srgbClr val="7F7E7E"/>
                </a:solidFill>
              </a:rPr>
              <a:t>8.53s</a:t>
            </a:r>
            <a:endParaRPr lang="en-US" sz="1000" dirty="0">
              <a:solidFill>
                <a:srgbClr val="7F7E7E"/>
              </a:solidFill>
            </a:endParaRPr>
          </a:p>
        </p:txBody>
      </p:sp>
      <p:sp>
        <p:nvSpPr>
          <p:cNvPr id="101" name="Rectangle 100"/>
          <p:cNvSpPr/>
          <p:nvPr/>
        </p:nvSpPr>
        <p:spPr>
          <a:xfrm>
            <a:off x="3111644" y="5181600"/>
            <a:ext cx="1422040" cy="1524000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102" name="TextBox 101"/>
          <p:cNvSpPr txBox="1"/>
          <p:nvPr/>
        </p:nvSpPr>
        <p:spPr>
          <a:xfrm>
            <a:off x="3141270" y="6519929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 smtClean="0">
                <a:solidFill>
                  <a:srgbClr val="7F7E7E"/>
                </a:solidFill>
              </a:rPr>
              <a:t>.06s</a:t>
            </a:r>
            <a:endParaRPr lang="en-US" sz="1000" dirty="0">
              <a:solidFill>
                <a:srgbClr val="7F7E7E"/>
              </a:solidFill>
            </a:endParaRPr>
          </a:p>
        </p:txBody>
      </p:sp>
      <p:sp>
        <p:nvSpPr>
          <p:cNvPr id="99" name="Rectangle 98"/>
          <p:cNvSpPr/>
          <p:nvPr/>
        </p:nvSpPr>
        <p:spPr>
          <a:xfrm>
            <a:off x="4610317" y="5181600"/>
            <a:ext cx="1422040" cy="1524000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100" name="TextBox 99"/>
          <p:cNvSpPr txBox="1"/>
          <p:nvPr/>
        </p:nvSpPr>
        <p:spPr>
          <a:xfrm>
            <a:off x="4639943" y="6519929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 smtClean="0">
                <a:solidFill>
                  <a:srgbClr val="7F7E7E"/>
                </a:solidFill>
              </a:rPr>
              <a:t>.08s</a:t>
            </a:r>
            <a:endParaRPr lang="en-US" sz="1000" dirty="0">
              <a:solidFill>
                <a:srgbClr val="7F7E7E"/>
              </a:solidFill>
            </a:endParaRPr>
          </a:p>
        </p:txBody>
      </p:sp>
      <p:sp>
        <p:nvSpPr>
          <p:cNvPr id="97" name="Rectangle 96"/>
          <p:cNvSpPr/>
          <p:nvPr/>
        </p:nvSpPr>
        <p:spPr>
          <a:xfrm>
            <a:off x="6108989" y="5181600"/>
            <a:ext cx="1422040" cy="1524000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98" name="TextBox 97"/>
          <p:cNvSpPr txBox="1"/>
          <p:nvPr/>
        </p:nvSpPr>
        <p:spPr>
          <a:xfrm>
            <a:off x="6138615" y="6519929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 smtClean="0">
                <a:solidFill>
                  <a:srgbClr val="7F7E7E"/>
                </a:solidFill>
              </a:rPr>
              <a:t>.21s</a:t>
            </a:r>
            <a:endParaRPr lang="en-US" sz="1000" dirty="0">
              <a:solidFill>
                <a:srgbClr val="7F7E7E"/>
              </a:solidFill>
            </a:endParaRPr>
          </a:p>
        </p:txBody>
      </p:sp>
      <p:sp>
        <p:nvSpPr>
          <p:cNvPr id="95" name="Rectangle 94"/>
          <p:cNvSpPr/>
          <p:nvPr/>
        </p:nvSpPr>
        <p:spPr>
          <a:xfrm>
            <a:off x="7607660" y="5181600"/>
            <a:ext cx="1422040" cy="1524000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96" name="TextBox 95"/>
          <p:cNvSpPr txBox="1"/>
          <p:nvPr/>
        </p:nvSpPr>
        <p:spPr>
          <a:xfrm>
            <a:off x="7637286" y="6519929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 smtClean="0">
                <a:solidFill>
                  <a:srgbClr val="7F7E7E"/>
                </a:solidFill>
              </a:rPr>
              <a:t>.10s</a:t>
            </a:r>
            <a:endParaRPr lang="en-US" sz="1000" dirty="0">
              <a:solidFill>
                <a:srgbClr val="7F7E7E"/>
              </a:solidFill>
            </a:endParaRPr>
          </a:p>
        </p:txBody>
      </p:sp>
      <p:sp>
        <p:nvSpPr>
          <p:cNvPr id="108" name="TextBox 107"/>
          <p:cNvSpPr txBox="1"/>
          <p:nvPr/>
        </p:nvSpPr>
        <p:spPr>
          <a:xfrm>
            <a:off x="143926" y="228600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b="1" dirty="0" err="1" smtClean="0">
                <a:solidFill>
                  <a:srgbClr val="7F7E7E"/>
                </a:solidFill>
              </a:rPr>
              <a:t>MiniBatchKMeans</a:t>
            </a:r>
            <a:endParaRPr lang="en-US" sz="1000" b="1" dirty="0">
              <a:solidFill>
                <a:srgbClr val="7F7E7E"/>
              </a:solidFill>
            </a:endParaRPr>
          </a:p>
        </p:txBody>
      </p:sp>
      <p:sp>
        <p:nvSpPr>
          <p:cNvPr id="109" name="TextBox 108"/>
          <p:cNvSpPr txBox="1"/>
          <p:nvPr/>
        </p:nvSpPr>
        <p:spPr>
          <a:xfrm>
            <a:off x="1642598" y="228600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b="1" dirty="0" err="1" smtClean="0">
                <a:solidFill>
                  <a:srgbClr val="7F7E7E"/>
                </a:solidFill>
              </a:rPr>
              <a:t>AffinityPropagation</a:t>
            </a:r>
            <a:endParaRPr lang="en-US" sz="1000" b="1" dirty="0">
              <a:solidFill>
                <a:srgbClr val="7F7E7E"/>
              </a:solidFill>
            </a:endParaRPr>
          </a:p>
        </p:txBody>
      </p:sp>
      <p:sp>
        <p:nvSpPr>
          <p:cNvPr id="110" name="TextBox 109"/>
          <p:cNvSpPr txBox="1"/>
          <p:nvPr/>
        </p:nvSpPr>
        <p:spPr>
          <a:xfrm>
            <a:off x="3141270" y="228600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b="1" dirty="0" err="1" smtClean="0">
                <a:solidFill>
                  <a:srgbClr val="7F7E7E"/>
                </a:solidFill>
              </a:rPr>
              <a:t>MeanShift</a:t>
            </a:r>
            <a:endParaRPr lang="en-US" sz="1000" b="1" dirty="0">
              <a:solidFill>
                <a:srgbClr val="7F7E7E"/>
              </a:solidFill>
            </a:endParaRPr>
          </a:p>
        </p:txBody>
      </p:sp>
      <p:sp>
        <p:nvSpPr>
          <p:cNvPr id="111" name="TextBox 110"/>
          <p:cNvSpPr txBox="1"/>
          <p:nvPr/>
        </p:nvSpPr>
        <p:spPr>
          <a:xfrm>
            <a:off x="4639943" y="228600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b="1" dirty="0" err="1" smtClean="0">
                <a:solidFill>
                  <a:srgbClr val="7F7E7E"/>
                </a:solidFill>
              </a:rPr>
              <a:t>SpectralClustering</a:t>
            </a:r>
            <a:endParaRPr lang="en-US" sz="1000" b="1" dirty="0">
              <a:solidFill>
                <a:srgbClr val="7F7E7E"/>
              </a:solidFill>
            </a:endParaRPr>
          </a:p>
        </p:txBody>
      </p:sp>
      <p:sp>
        <p:nvSpPr>
          <p:cNvPr id="112" name="TextBox 111"/>
          <p:cNvSpPr txBox="1"/>
          <p:nvPr/>
        </p:nvSpPr>
        <p:spPr>
          <a:xfrm>
            <a:off x="6138615" y="228600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b="1" dirty="0" smtClean="0">
                <a:solidFill>
                  <a:srgbClr val="7F7E7E"/>
                </a:solidFill>
              </a:rPr>
              <a:t>Ward</a:t>
            </a:r>
            <a:endParaRPr lang="en-US" sz="1000" b="1" dirty="0">
              <a:solidFill>
                <a:srgbClr val="7F7E7E"/>
              </a:solidFill>
            </a:endParaRPr>
          </a:p>
        </p:txBody>
      </p:sp>
      <p:sp>
        <p:nvSpPr>
          <p:cNvPr id="113" name="TextBox 112"/>
          <p:cNvSpPr txBox="1"/>
          <p:nvPr/>
        </p:nvSpPr>
        <p:spPr>
          <a:xfrm>
            <a:off x="7637286" y="228600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b="1" dirty="0" smtClean="0">
                <a:solidFill>
                  <a:srgbClr val="7F7E7E"/>
                </a:solidFill>
              </a:rPr>
              <a:t>DBSCAN</a:t>
            </a:r>
            <a:endParaRPr lang="en-US" sz="1000" b="1" dirty="0">
              <a:solidFill>
                <a:srgbClr val="7F7E7E"/>
              </a:solidFill>
            </a:endParaRPr>
          </a:p>
        </p:txBody>
      </p:sp>
      <p:grpSp>
        <p:nvGrpSpPr>
          <p:cNvPr id="118" name="Group 117"/>
          <p:cNvGrpSpPr/>
          <p:nvPr/>
        </p:nvGrpSpPr>
        <p:grpSpPr>
          <a:xfrm>
            <a:off x="1752600" y="457200"/>
            <a:ext cx="1185755" cy="1245801"/>
            <a:chOff x="1752600" y="457200"/>
            <a:chExt cx="1185755" cy="1245801"/>
          </a:xfrm>
        </p:grpSpPr>
        <p:pic>
          <p:nvPicPr>
            <p:cNvPr id="115" name="Picture 114"/>
            <p:cNvPicPr>
              <a:picLocks noChangeAspect="1"/>
            </p:cNvPicPr>
            <p:nvPr/>
          </p:nvPicPr>
          <p:blipFill rotWithShape="1">
            <a:blip r:embed="rId6"/>
            <a:srcRect l="3497"/>
            <a:stretch/>
          </p:blipFill>
          <p:spPr>
            <a:xfrm>
              <a:off x="1752600" y="457200"/>
              <a:ext cx="1185755" cy="1219200"/>
            </a:xfrm>
            <a:prstGeom prst="rect">
              <a:avLst/>
            </a:prstGeom>
          </p:spPr>
        </p:pic>
        <p:sp>
          <p:nvSpPr>
            <p:cNvPr id="117" name="Rectangle 116"/>
            <p:cNvSpPr/>
            <p:nvPr/>
          </p:nvSpPr>
          <p:spPr>
            <a:xfrm>
              <a:off x="2631502" y="1569651"/>
              <a:ext cx="306853" cy="13335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/>
            </a:p>
          </p:txBody>
        </p:sp>
      </p:grpSp>
      <p:grpSp>
        <p:nvGrpSpPr>
          <p:cNvPr id="121" name="Group 120"/>
          <p:cNvGrpSpPr/>
          <p:nvPr/>
        </p:nvGrpSpPr>
        <p:grpSpPr>
          <a:xfrm>
            <a:off x="3212253" y="457200"/>
            <a:ext cx="1220823" cy="1219200"/>
            <a:chOff x="3198777" y="457200"/>
            <a:chExt cx="1220823" cy="1219200"/>
          </a:xfrm>
        </p:grpSpPr>
        <p:pic>
          <p:nvPicPr>
            <p:cNvPr id="119" name="Picture 118"/>
            <p:cNvPicPr>
              <a:picLocks noChangeAspect="1"/>
            </p:cNvPicPr>
            <p:nvPr/>
          </p:nvPicPr>
          <p:blipFill rotWithShape="1">
            <a:blip r:embed="rId7"/>
            <a:srcRect r="2160"/>
            <a:stretch/>
          </p:blipFill>
          <p:spPr>
            <a:xfrm>
              <a:off x="3198777" y="457200"/>
              <a:ext cx="1220823" cy="1219200"/>
            </a:xfrm>
            <a:prstGeom prst="rect">
              <a:avLst/>
            </a:prstGeom>
          </p:spPr>
        </p:pic>
        <p:sp>
          <p:nvSpPr>
            <p:cNvPr id="120" name="Rectangle 119"/>
            <p:cNvSpPr/>
            <p:nvPr/>
          </p:nvSpPr>
          <p:spPr>
            <a:xfrm>
              <a:off x="4121113" y="1543050"/>
              <a:ext cx="298487" cy="13335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/>
            </a:p>
          </p:txBody>
        </p:sp>
      </p:grpSp>
      <p:grpSp>
        <p:nvGrpSpPr>
          <p:cNvPr id="125" name="Group 124"/>
          <p:cNvGrpSpPr/>
          <p:nvPr/>
        </p:nvGrpSpPr>
        <p:grpSpPr>
          <a:xfrm>
            <a:off x="4711737" y="494527"/>
            <a:ext cx="1219200" cy="1219200"/>
            <a:chOff x="4724400" y="494527"/>
            <a:chExt cx="1219200" cy="1219200"/>
          </a:xfrm>
        </p:grpSpPr>
        <p:pic>
          <p:nvPicPr>
            <p:cNvPr id="122" name="Picture 121"/>
            <p:cNvPicPr>
              <a:picLocks noChangeAspect="1"/>
            </p:cNvPicPr>
            <p:nvPr/>
          </p:nvPicPr>
          <p:blipFill rotWithShape="1">
            <a:blip r:embed="rId8"/>
            <a:srcRect l="596" r="943"/>
            <a:stretch/>
          </p:blipFill>
          <p:spPr>
            <a:xfrm>
              <a:off x="4724400" y="494527"/>
              <a:ext cx="1219200" cy="1219200"/>
            </a:xfrm>
            <a:prstGeom prst="rect">
              <a:avLst/>
            </a:prstGeom>
          </p:spPr>
        </p:pic>
        <p:sp>
          <p:nvSpPr>
            <p:cNvPr id="123" name="Rectangle 122"/>
            <p:cNvSpPr/>
            <p:nvPr/>
          </p:nvSpPr>
          <p:spPr>
            <a:xfrm>
              <a:off x="5645113" y="1580377"/>
              <a:ext cx="298487" cy="13335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/>
            </a:p>
          </p:txBody>
        </p:sp>
      </p:grpSp>
      <p:grpSp>
        <p:nvGrpSpPr>
          <p:cNvPr id="128" name="Group 127"/>
          <p:cNvGrpSpPr/>
          <p:nvPr/>
        </p:nvGrpSpPr>
        <p:grpSpPr>
          <a:xfrm>
            <a:off x="6206944" y="509201"/>
            <a:ext cx="1226130" cy="1200150"/>
            <a:chOff x="6206944" y="509201"/>
            <a:chExt cx="1226130" cy="1200150"/>
          </a:xfrm>
        </p:grpSpPr>
        <p:pic>
          <p:nvPicPr>
            <p:cNvPr id="126" name="Picture 125"/>
            <p:cNvPicPr>
              <a:picLocks noChangeAspect="1"/>
            </p:cNvPicPr>
            <p:nvPr/>
          </p:nvPicPr>
          <p:blipFill rotWithShape="1">
            <a:blip r:embed="rId9"/>
            <a:srcRect l="1734" r="-1"/>
            <a:stretch/>
          </p:blipFill>
          <p:spPr>
            <a:xfrm>
              <a:off x="6206944" y="509201"/>
              <a:ext cx="1226130" cy="1200150"/>
            </a:xfrm>
            <a:prstGeom prst="rect">
              <a:avLst/>
            </a:prstGeom>
          </p:spPr>
        </p:pic>
        <p:sp>
          <p:nvSpPr>
            <p:cNvPr id="127" name="Rectangle 126"/>
            <p:cNvSpPr/>
            <p:nvPr/>
          </p:nvSpPr>
          <p:spPr>
            <a:xfrm>
              <a:off x="7134587" y="1576001"/>
              <a:ext cx="298487" cy="13335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/>
            </a:p>
          </p:txBody>
        </p:sp>
      </p:grpSp>
      <p:grpSp>
        <p:nvGrpSpPr>
          <p:cNvPr id="131" name="Group 130"/>
          <p:cNvGrpSpPr/>
          <p:nvPr/>
        </p:nvGrpSpPr>
        <p:grpSpPr>
          <a:xfrm>
            <a:off x="7718605" y="458401"/>
            <a:ext cx="1200150" cy="1219200"/>
            <a:chOff x="7698581" y="452051"/>
            <a:chExt cx="1200150" cy="1219200"/>
          </a:xfrm>
        </p:grpSpPr>
        <p:pic>
          <p:nvPicPr>
            <p:cNvPr id="129" name="Picture 128"/>
            <p:cNvPicPr>
              <a:picLocks noChangeAspect="1"/>
            </p:cNvPicPr>
            <p:nvPr/>
          </p:nvPicPr>
          <p:blipFill rotWithShape="1">
            <a:blip r:embed="rId10"/>
            <a:srcRect l="1563"/>
            <a:stretch/>
          </p:blipFill>
          <p:spPr>
            <a:xfrm>
              <a:off x="7698581" y="452051"/>
              <a:ext cx="1200150" cy="1219200"/>
            </a:xfrm>
            <a:prstGeom prst="rect">
              <a:avLst/>
            </a:prstGeom>
          </p:spPr>
        </p:pic>
        <p:sp>
          <p:nvSpPr>
            <p:cNvPr id="130" name="Rectangle 129"/>
            <p:cNvSpPr/>
            <p:nvPr/>
          </p:nvSpPr>
          <p:spPr>
            <a:xfrm>
              <a:off x="8600244" y="1537901"/>
              <a:ext cx="298487" cy="13335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/>
            </a:p>
          </p:txBody>
        </p:sp>
      </p:grpSp>
      <p:grpSp>
        <p:nvGrpSpPr>
          <p:cNvPr id="134" name="Group 133"/>
          <p:cNvGrpSpPr/>
          <p:nvPr/>
        </p:nvGrpSpPr>
        <p:grpSpPr>
          <a:xfrm>
            <a:off x="215720" y="2061776"/>
            <a:ext cx="1219200" cy="1228725"/>
            <a:chOff x="215720" y="2061776"/>
            <a:chExt cx="1219200" cy="1228725"/>
          </a:xfrm>
        </p:grpSpPr>
        <p:pic>
          <p:nvPicPr>
            <p:cNvPr id="132" name="Picture 131"/>
            <p:cNvPicPr>
              <a:picLocks noChangeAspect="1"/>
            </p:cNvPicPr>
            <p:nvPr/>
          </p:nvPicPr>
          <p:blipFill>
            <a:blip r:embed="rId11"/>
            <a:stretch>
              <a:fillRect/>
            </a:stretch>
          </p:blipFill>
          <p:spPr>
            <a:xfrm>
              <a:off x="215720" y="2061776"/>
              <a:ext cx="1219200" cy="1228725"/>
            </a:xfrm>
            <a:prstGeom prst="rect">
              <a:avLst/>
            </a:prstGeom>
          </p:spPr>
        </p:pic>
        <p:sp>
          <p:nvSpPr>
            <p:cNvPr id="133" name="Rectangle 132"/>
            <p:cNvSpPr/>
            <p:nvPr/>
          </p:nvSpPr>
          <p:spPr>
            <a:xfrm>
              <a:off x="1204913" y="3190875"/>
              <a:ext cx="230007" cy="9962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/>
            </a:p>
          </p:txBody>
        </p:sp>
      </p:grpSp>
      <p:grpSp>
        <p:nvGrpSpPr>
          <p:cNvPr id="137" name="Group 136"/>
          <p:cNvGrpSpPr/>
          <p:nvPr/>
        </p:nvGrpSpPr>
        <p:grpSpPr>
          <a:xfrm>
            <a:off x="1720849" y="2041525"/>
            <a:ext cx="1222267" cy="1231900"/>
            <a:chOff x="1720849" y="2041525"/>
            <a:chExt cx="1222267" cy="1231900"/>
          </a:xfrm>
        </p:grpSpPr>
        <p:pic>
          <p:nvPicPr>
            <p:cNvPr id="135" name="Picture 134"/>
            <p:cNvPicPr>
              <a:picLocks noChangeAspect="1"/>
            </p:cNvPicPr>
            <p:nvPr/>
          </p:nvPicPr>
          <p:blipFill rotWithShape="1">
            <a:blip r:embed="rId12"/>
            <a:srcRect l="1291" t="1272" b="1"/>
            <a:stretch/>
          </p:blipFill>
          <p:spPr>
            <a:xfrm>
              <a:off x="1720849" y="2041525"/>
              <a:ext cx="1222267" cy="1231900"/>
            </a:xfrm>
            <a:prstGeom prst="rect">
              <a:avLst/>
            </a:prstGeom>
          </p:spPr>
        </p:pic>
        <p:sp>
          <p:nvSpPr>
            <p:cNvPr id="136" name="Rectangle 135"/>
            <p:cNvSpPr/>
            <p:nvPr/>
          </p:nvSpPr>
          <p:spPr>
            <a:xfrm>
              <a:off x="2631502" y="3169851"/>
              <a:ext cx="311614" cy="103574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/>
            </a:p>
          </p:txBody>
        </p:sp>
      </p:grpSp>
      <p:grpSp>
        <p:nvGrpSpPr>
          <p:cNvPr id="140" name="Group 139"/>
          <p:cNvGrpSpPr/>
          <p:nvPr/>
        </p:nvGrpSpPr>
        <p:grpSpPr>
          <a:xfrm>
            <a:off x="244295" y="3642926"/>
            <a:ext cx="1190625" cy="1171575"/>
            <a:chOff x="244295" y="3642926"/>
            <a:chExt cx="1190625" cy="1171575"/>
          </a:xfrm>
        </p:grpSpPr>
        <p:pic>
          <p:nvPicPr>
            <p:cNvPr id="138" name="Picture 137"/>
            <p:cNvPicPr>
              <a:picLocks noChangeAspect="1"/>
            </p:cNvPicPr>
            <p:nvPr/>
          </p:nvPicPr>
          <p:blipFill>
            <a:blip r:embed="rId13"/>
            <a:stretch>
              <a:fillRect/>
            </a:stretch>
          </p:blipFill>
          <p:spPr>
            <a:xfrm>
              <a:off x="244295" y="3642926"/>
              <a:ext cx="1190625" cy="1171575"/>
            </a:xfrm>
            <a:prstGeom prst="rect">
              <a:avLst/>
            </a:prstGeom>
          </p:spPr>
        </p:pic>
        <p:sp>
          <p:nvSpPr>
            <p:cNvPr id="139" name="Rectangle 138"/>
            <p:cNvSpPr/>
            <p:nvPr/>
          </p:nvSpPr>
          <p:spPr>
            <a:xfrm>
              <a:off x="1136433" y="4681151"/>
              <a:ext cx="298487" cy="13335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/>
            </a:p>
          </p:txBody>
        </p:sp>
      </p:grpSp>
      <p:pic>
        <p:nvPicPr>
          <p:cNvPr id="141" name="Picture 140"/>
          <p:cNvPicPr>
            <a:picLocks noChangeAspect="1"/>
          </p:cNvPicPr>
          <p:nvPr/>
        </p:nvPicPr>
        <p:blipFill rotWithShape="1">
          <a:blip r:embed="rId14"/>
          <a:srcRect r="4809" b="6589"/>
          <a:stretch/>
        </p:blipFill>
        <p:spPr>
          <a:xfrm>
            <a:off x="111289" y="5232656"/>
            <a:ext cx="1428062" cy="1234566"/>
          </a:xfrm>
          <a:prstGeom prst="rect">
            <a:avLst/>
          </a:prstGeom>
        </p:spPr>
      </p:pic>
      <p:pic>
        <p:nvPicPr>
          <p:cNvPr id="142" name="Picture 141"/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1619696" y="5232475"/>
            <a:ext cx="1408594" cy="1239690"/>
          </a:xfrm>
          <a:prstGeom prst="rect">
            <a:avLst/>
          </a:prstGeom>
        </p:spPr>
      </p:pic>
      <p:pic>
        <p:nvPicPr>
          <p:cNvPr id="143" name="Picture 142"/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3124093" y="5232834"/>
            <a:ext cx="1397142" cy="1229446"/>
          </a:xfrm>
          <a:prstGeom prst="rect">
            <a:avLst/>
          </a:prstGeom>
        </p:spPr>
      </p:pic>
      <p:pic>
        <p:nvPicPr>
          <p:cNvPr id="144" name="Picture 143"/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4639945" y="5232114"/>
            <a:ext cx="1362786" cy="1249936"/>
          </a:xfrm>
          <a:prstGeom prst="rect">
            <a:avLst/>
          </a:prstGeom>
        </p:spPr>
      </p:pic>
      <p:pic>
        <p:nvPicPr>
          <p:cNvPr id="145" name="Picture 144"/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>
            <a:off x="6121438" y="5233196"/>
            <a:ext cx="1397142" cy="1219198"/>
          </a:xfrm>
          <a:prstGeom prst="rect">
            <a:avLst/>
          </a:prstGeom>
        </p:spPr>
      </p:pic>
      <p:pic>
        <p:nvPicPr>
          <p:cNvPr id="146" name="Picture 145"/>
          <p:cNvPicPr>
            <a:picLocks noChangeAspect="1"/>
          </p:cNvPicPr>
          <p:nvPr/>
        </p:nvPicPr>
        <p:blipFill>
          <a:blip r:embed="rId19"/>
          <a:stretch>
            <a:fillRect/>
          </a:stretch>
        </p:blipFill>
        <p:spPr>
          <a:xfrm>
            <a:off x="7625836" y="5233196"/>
            <a:ext cx="1385690" cy="1219198"/>
          </a:xfrm>
          <a:prstGeom prst="rect">
            <a:avLst/>
          </a:prstGeom>
        </p:spPr>
      </p:pic>
      <p:grpSp>
        <p:nvGrpSpPr>
          <p:cNvPr id="149" name="Group 148"/>
          <p:cNvGrpSpPr/>
          <p:nvPr/>
        </p:nvGrpSpPr>
        <p:grpSpPr>
          <a:xfrm>
            <a:off x="1766780" y="3642926"/>
            <a:ext cx="1114425" cy="1162050"/>
            <a:chOff x="1766780" y="3642926"/>
            <a:chExt cx="1114425" cy="1162050"/>
          </a:xfrm>
        </p:grpSpPr>
        <p:pic>
          <p:nvPicPr>
            <p:cNvPr id="147" name="Picture 146"/>
            <p:cNvPicPr>
              <a:picLocks noChangeAspect="1"/>
            </p:cNvPicPr>
            <p:nvPr/>
          </p:nvPicPr>
          <p:blipFill>
            <a:blip r:embed="rId20"/>
            <a:stretch>
              <a:fillRect/>
            </a:stretch>
          </p:blipFill>
          <p:spPr>
            <a:xfrm>
              <a:off x="1766780" y="3642926"/>
              <a:ext cx="1114425" cy="1162050"/>
            </a:xfrm>
            <a:prstGeom prst="rect">
              <a:avLst/>
            </a:prstGeom>
          </p:spPr>
        </p:pic>
        <p:sp>
          <p:nvSpPr>
            <p:cNvPr id="148" name="Rectangle 147"/>
            <p:cNvSpPr/>
            <p:nvPr/>
          </p:nvSpPr>
          <p:spPr>
            <a:xfrm>
              <a:off x="2582718" y="4671626"/>
              <a:ext cx="298487" cy="13335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/>
            </a:p>
          </p:txBody>
        </p:sp>
      </p:grpSp>
      <p:grpSp>
        <p:nvGrpSpPr>
          <p:cNvPr id="152" name="Group 151"/>
          <p:cNvGrpSpPr/>
          <p:nvPr/>
        </p:nvGrpSpPr>
        <p:grpSpPr>
          <a:xfrm>
            <a:off x="3274976" y="3642926"/>
            <a:ext cx="1095375" cy="1200150"/>
            <a:chOff x="3274976" y="3664934"/>
            <a:chExt cx="1095375" cy="1200150"/>
          </a:xfrm>
        </p:grpSpPr>
        <p:pic>
          <p:nvPicPr>
            <p:cNvPr id="150" name="Picture 149"/>
            <p:cNvPicPr>
              <a:picLocks noChangeAspect="1"/>
            </p:cNvPicPr>
            <p:nvPr/>
          </p:nvPicPr>
          <p:blipFill>
            <a:blip r:embed="rId21"/>
            <a:stretch>
              <a:fillRect/>
            </a:stretch>
          </p:blipFill>
          <p:spPr>
            <a:xfrm>
              <a:off x="3274976" y="3664934"/>
              <a:ext cx="1095375" cy="1200150"/>
            </a:xfrm>
            <a:prstGeom prst="rect">
              <a:avLst/>
            </a:prstGeom>
          </p:spPr>
        </p:pic>
        <p:sp>
          <p:nvSpPr>
            <p:cNvPr id="151" name="Rectangle 150"/>
            <p:cNvSpPr/>
            <p:nvPr/>
          </p:nvSpPr>
          <p:spPr>
            <a:xfrm>
              <a:off x="4071864" y="4731734"/>
              <a:ext cx="298487" cy="13335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/>
            </a:p>
          </p:txBody>
        </p:sp>
      </p:grpSp>
      <p:grpSp>
        <p:nvGrpSpPr>
          <p:cNvPr id="155" name="Group 154"/>
          <p:cNvGrpSpPr/>
          <p:nvPr/>
        </p:nvGrpSpPr>
        <p:grpSpPr>
          <a:xfrm>
            <a:off x="4778412" y="3642926"/>
            <a:ext cx="1085850" cy="1200150"/>
            <a:chOff x="4778412" y="3654756"/>
            <a:chExt cx="1085850" cy="1200150"/>
          </a:xfrm>
        </p:grpSpPr>
        <p:pic>
          <p:nvPicPr>
            <p:cNvPr id="153" name="Picture 152"/>
            <p:cNvPicPr>
              <a:picLocks noChangeAspect="1"/>
            </p:cNvPicPr>
            <p:nvPr/>
          </p:nvPicPr>
          <p:blipFill>
            <a:blip r:embed="rId22"/>
            <a:stretch>
              <a:fillRect/>
            </a:stretch>
          </p:blipFill>
          <p:spPr>
            <a:xfrm>
              <a:off x="4778412" y="3654756"/>
              <a:ext cx="1085850" cy="1200150"/>
            </a:xfrm>
            <a:prstGeom prst="rect">
              <a:avLst/>
            </a:prstGeom>
          </p:spPr>
        </p:pic>
        <p:sp>
          <p:nvSpPr>
            <p:cNvPr id="154" name="Rectangle 153"/>
            <p:cNvSpPr/>
            <p:nvPr/>
          </p:nvSpPr>
          <p:spPr>
            <a:xfrm>
              <a:off x="5565775" y="4721556"/>
              <a:ext cx="298487" cy="13335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/>
            </a:p>
          </p:txBody>
        </p:sp>
      </p:grpSp>
      <p:grpSp>
        <p:nvGrpSpPr>
          <p:cNvPr id="158" name="Group 157"/>
          <p:cNvGrpSpPr/>
          <p:nvPr/>
        </p:nvGrpSpPr>
        <p:grpSpPr>
          <a:xfrm>
            <a:off x="6305659" y="3642926"/>
            <a:ext cx="1028700" cy="1171575"/>
            <a:chOff x="6305659" y="3718289"/>
            <a:chExt cx="1028700" cy="1171575"/>
          </a:xfrm>
        </p:grpSpPr>
        <p:pic>
          <p:nvPicPr>
            <p:cNvPr id="156" name="Picture 155"/>
            <p:cNvPicPr>
              <a:picLocks noChangeAspect="1"/>
            </p:cNvPicPr>
            <p:nvPr/>
          </p:nvPicPr>
          <p:blipFill>
            <a:blip r:embed="rId23"/>
            <a:stretch>
              <a:fillRect/>
            </a:stretch>
          </p:blipFill>
          <p:spPr>
            <a:xfrm>
              <a:off x="6305659" y="3718289"/>
              <a:ext cx="1028700" cy="1171575"/>
            </a:xfrm>
            <a:prstGeom prst="rect">
              <a:avLst/>
            </a:prstGeom>
          </p:spPr>
        </p:pic>
        <p:sp>
          <p:nvSpPr>
            <p:cNvPr id="157" name="Rectangle 156"/>
            <p:cNvSpPr/>
            <p:nvPr/>
          </p:nvSpPr>
          <p:spPr>
            <a:xfrm>
              <a:off x="7035872" y="4756514"/>
              <a:ext cx="298487" cy="13335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/>
            </a:p>
          </p:txBody>
        </p:sp>
      </p:grpSp>
      <p:pic>
        <p:nvPicPr>
          <p:cNvPr id="159" name="Picture 158"/>
          <p:cNvPicPr>
            <a:picLocks noChangeAspect="1"/>
          </p:cNvPicPr>
          <p:nvPr/>
        </p:nvPicPr>
        <p:blipFill rotWithShape="1">
          <a:blip r:embed="rId24"/>
          <a:srcRect r="1655"/>
          <a:stretch/>
        </p:blipFill>
        <p:spPr>
          <a:xfrm>
            <a:off x="7884677" y="3642926"/>
            <a:ext cx="1011673" cy="1190625"/>
          </a:xfrm>
          <a:prstGeom prst="rect">
            <a:avLst/>
          </a:prstGeom>
        </p:spPr>
      </p:pic>
      <p:grpSp>
        <p:nvGrpSpPr>
          <p:cNvPr id="173" name="Group 172"/>
          <p:cNvGrpSpPr/>
          <p:nvPr/>
        </p:nvGrpSpPr>
        <p:grpSpPr>
          <a:xfrm>
            <a:off x="209153" y="452051"/>
            <a:ext cx="1279760" cy="1257300"/>
            <a:chOff x="209153" y="452051"/>
            <a:chExt cx="1279760" cy="1257300"/>
          </a:xfrm>
        </p:grpSpPr>
        <p:pic>
          <p:nvPicPr>
            <p:cNvPr id="114" name="Picture 113"/>
            <p:cNvPicPr>
              <a:picLocks noChangeAspect="1"/>
            </p:cNvPicPr>
            <p:nvPr/>
          </p:nvPicPr>
          <p:blipFill rotWithShape="1">
            <a:blip r:embed="rId25"/>
            <a:srcRect r="2020"/>
            <a:stretch/>
          </p:blipFill>
          <p:spPr>
            <a:xfrm>
              <a:off x="209153" y="452051"/>
              <a:ext cx="1232334" cy="1257300"/>
            </a:xfrm>
            <a:prstGeom prst="rect">
              <a:avLst/>
            </a:prstGeom>
          </p:spPr>
        </p:pic>
        <p:sp>
          <p:nvSpPr>
            <p:cNvPr id="116" name="Rectangle 115"/>
            <p:cNvSpPr/>
            <p:nvPr/>
          </p:nvSpPr>
          <p:spPr>
            <a:xfrm>
              <a:off x="1190426" y="1576001"/>
              <a:ext cx="298487" cy="13335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/>
            </a:p>
          </p:txBody>
        </p:sp>
      </p:grpSp>
      <p:grpSp>
        <p:nvGrpSpPr>
          <p:cNvPr id="163" name="Group 162"/>
          <p:cNvGrpSpPr/>
          <p:nvPr/>
        </p:nvGrpSpPr>
        <p:grpSpPr>
          <a:xfrm>
            <a:off x="3217827" y="2041525"/>
            <a:ext cx="1209675" cy="1200150"/>
            <a:chOff x="3217827" y="2041525"/>
            <a:chExt cx="1209675" cy="1200150"/>
          </a:xfrm>
        </p:grpSpPr>
        <p:pic>
          <p:nvPicPr>
            <p:cNvPr id="160" name="Picture 159"/>
            <p:cNvPicPr>
              <a:picLocks noChangeAspect="1"/>
            </p:cNvPicPr>
            <p:nvPr/>
          </p:nvPicPr>
          <p:blipFill>
            <a:blip r:embed="rId26"/>
            <a:stretch>
              <a:fillRect/>
            </a:stretch>
          </p:blipFill>
          <p:spPr>
            <a:xfrm>
              <a:off x="3217827" y="2041525"/>
              <a:ext cx="1209675" cy="1200150"/>
            </a:xfrm>
            <a:prstGeom prst="rect">
              <a:avLst/>
            </a:prstGeom>
          </p:spPr>
        </p:pic>
        <p:sp>
          <p:nvSpPr>
            <p:cNvPr id="162" name="Rectangle 161"/>
            <p:cNvSpPr/>
            <p:nvPr/>
          </p:nvSpPr>
          <p:spPr>
            <a:xfrm>
              <a:off x="4198144" y="3138101"/>
              <a:ext cx="229358" cy="103574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/>
            </a:p>
          </p:txBody>
        </p:sp>
      </p:grpSp>
      <p:grpSp>
        <p:nvGrpSpPr>
          <p:cNvPr id="166" name="Group 165"/>
          <p:cNvGrpSpPr/>
          <p:nvPr/>
        </p:nvGrpSpPr>
        <p:grpSpPr>
          <a:xfrm>
            <a:off x="4712494" y="2041525"/>
            <a:ext cx="1208882" cy="1209675"/>
            <a:chOff x="4712494" y="2041525"/>
            <a:chExt cx="1208882" cy="1209675"/>
          </a:xfrm>
        </p:grpSpPr>
        <p:pic>
          <p:nvPicPr>
            <p:cNvPr id="164" name="Picture 163"/>
            <p:cNvPicPr>
              <a:picLocks noChangeAspect="1"/>
            </p:cNvPicPr>
            <p:nvPr/>
          </p:nvPicPr>
          <p:blipFill rotWithShape="1">
            <a:blip r:embed="rId27"/>
            <a:srcRect l="1575" r="2275"/>
            <a:stretch/>
          </p:blipFill>
          <p:spPr>
            <a:xfrm>
              <a:off x="4712494" y="2041525"/>
              <a:ext cx="1208882" cy="1209675"/>
            </a:xfrm>
            <a:prstGeom prst="rect">
              <a:avLst/>
            </a:prstGeom>
          </p:spPr>
        </p:pic>
        <p:sp>
          <p:nvSpPr>
            <p:cNvPr id="165" name="Rectangle 164"/>
            <p:cNvSpPr/>
            <p:nvPr/>
          </p:nvSpPr>
          <p:spPr>
            <a:xfrm>
              <a:off x="5622889" y="3117850"/>
              <a:ext cx="298487" cy="13335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/>
            </a:p>
          </p:txBody>
        </p:sp>
      </p:grpSp>
      <p:grpSp>
        <p:nvGrpSpPr>
          <p:cNvPr id="169" name="Group 168"/>
          <p:cNvGrpSpPr/>
          <p:nvPr/>
        </p:nvGrpSpPr>
        <p:grpSpPr>
          <a:xfrm>
            <a:off x="6226969" y="2041525"/>
            <a:ext cx="1207403" cy="1209675"/>
            <a:chOff x="6226969" y="2041525"/>
            <a:chExt cx="1207403" cy="1209675"/>
          </a:xfrm>
        </p:grpSpPr>
        <p:pic>
          <p:nvPicPr>
            <p:cNvPr id="167" name="Picture 166"/>
            <p:cNvPicPr>
              <a:picLocks noChangeAspect="1"/>
            </p:cNvPicPr>
            <p:nvPr/>
          </p:nvPicPr>
          <p:blipFill rotWithShape="1">
            <a:blip r:embed="rId28"/>
            <a:srcRect l="1735"/>
            <a:stretch/>
          </p:blipFill>
          <p:spPr>
            <a:xfrm>
              <a:off x="6226969" y="2041525"/>
              <a:ext cx="1207403" cy="1209675"/>
            </a:xfrm>
            <a:prstGeom prst="rect">
              <a:avLst/>
            </a:prstGeom>
          </p:spPr>
        </p:pic>
        <p:sp>
          <p:nvSpPr>
            <p:cNvPr id="168" name="Rectangle 167"/>
            <p:cNvSpPr/>
            <p:nvPr/>
          </p:nvSpPr>
          <p:spPr>
            <a:xfrm>
              <a:off x="7239000" y="3169852"/>
              <a:ext cx="195372" cy="8134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/>
            </a:p>
          </p:txBody>
        </p:sp>
      </p:grpSp>
      <p:grpSp>
        <p:nvGrpSpPr>
          <p:cNvPr id="170" name="Group 169"/>
          <p:cNvGrpSpPr/>
          <p:nvPr/>
        </p:nvGrpSpPr>
        <p:grpSpPr>
          <a:xfrm>
            <a:off x="7714979" y="2041525"/>
            <a:ext cx="1207403" cy="1209675"/>
            <a:chOff x="6226969" y="2041525"/>
            <a:chExt cx="1207403" cy="1209675"/>
          </a:xfrm>
        </p:grpSpPr>
        <p:pic>
          <p:nvPicPr>
            <p:cNvPr id="171" name="Picture 170"/>
            <p:cNvPicPr>
              <a:picLocks noChangeAspect="1"/>
            </p:cNvPicPr>
            <p:nvPr/>
          </p:nvPicPr>
          <p:blipFill rotWithShape="1">
            <a:blip r:embed="rId28"/>
            <a:srcRect l="1735"/>
            <a:stretch/>
          </p:blipFill>
          <p:spPr>
            <a:xfrm>
              <a:off x="6226969" y="2041525"/>
              <a:ext cx="1207403" cy="1209675"/>
            </a:xfrm>
            <a:prstGeom prst="rect">
              <a:avLst/>
            </a:prstGeom>
          </p:spPr>
        </p:pic>
        <p:sp>
          <p:nvSpPr>
            <p:cNvPr id="172" name="Rectangle 171"/>
            <p:cNvSpPr/>
            <p:nvPr/>
          </p:nvSpPr>
          <p:spPr>
            <a:xfrm>
              <a:off x="7239000" y="3169852"/>
              <a:ext cx="195372" cy="8134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/>
            </a:p>
          </p:txBody>
        </p:sp>
      </p:grpSp>
      <p:sp>
        <p:nvSpPr>
          <p:cNvPr id="174" name="Rectangle 173"/>
          <p:cNvSpPr/>
          <p:nvPr/>
        </p:nvSpPr>
        <p:spPr>
          <a:xfrm>
            <a:off x="6081633" y="381000"/>
            <a:ext cx="1469046" cy="6324600"/>
          </a:xfrm>
          <a:prstGeom prst="rect">
            <a:avLst/>
          </a:prstGeom>
          <a:noFill/>
          <a:ln w="76200">
            <a:solidFill>
              <a:srgbClr val="F6954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</p:spTree>
    <p:extLst>
      <p:ext uri="{BB962C8B-B14F-4D97-AF65-F5344CB8AC3E}">
        <p14:creationId xmlns:p14="http://schemas.microsoft.com/office/powerpoint/2010/main" val="373151277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143926" y="129140"/>
            <a:ext cx="1270537" cy="184666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r>
              <a:rPr lang="en-US" sz="1200" b="1" dirty="0" smtClean="0">
                <a:solidFill>
                  <a:srgbClr val="7F7E7E"/>
                </a:solidFill>
              </a:rPr>
              <a:t>Method name</a:t>
            </a:r>
            <a:endParaRPr lang="en-US" sz="1200" b="1" dirty="0">
              <a:solidFill>
                <a:srgbClr val="7F7E7E"/>
              </a:solidFill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1462475" y="129140"/>
            <a:ext cx="1228466" cy="184666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r>
              <a:rPr lang="en-US" sz="1200" b="1" dirty="0" smtClean="0">
                <a:solidFill>
                  <a:srgbClr val="7F7E7E"/>
                </a:solidFill>
              </a:rPr>
              <a:t>Parameters</a:t>
            </a:r>
            <a:endParaRPr lang="en-US" sz="1200" b="1" dirty="0">
              <a:solidFill>
                <a:srgbClr val="7F7E7E"/>
              </a:solidFill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2738953" y="129140"/>
            <a:ext cx="2114057" cy="184666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r>
              <a:rPr lang="en-US" sz="1200" b="1" dirty="0" smtClean="0">
                <a:solidFill>
                  <a:srgbClr val="7F7E7E"/>
                </a:solidFill>
              </a:rPr>
              <a:t>Scalability</a:t>
            </a:r>
            <a:endParaRPr lang="en-US" sz="1200" b="1" dirty="0">
              <a:solidFill>
                <a:srgbClr val="7F7E7E"/>
              </a:solidFill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4901022" y="129140"/>
            <a:ext cx="2277711" cy="184666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r>
              <a:rPr lang="en-US" sz="1200" b="1" dirty="0" err="1" smtClean="0">
                <a:solidFill>
                  <a:srgbClr val="7F7E7E"/>
                </a:solidFill>
              </a:rPr>
              <a:t>Usecase</a:t>
            </a:r>
            <a:endParaRPr lang="en-US" sz="1200" b="1" dirty="0">
              <a:solidFill>
                <a:srgbClr val="7F7E7E"/>
              </a:solidFill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7226745" y="129140"/>
            <a:ext cx="1596812" cy="184666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r>
              <a:rPr lang="en-US" sz="1200" b="1" dirty="0" smtClean="0">
                <a:solidFill>
                  <a:srgbClr val="7F7E7E"/>
                </a:solidFill>
              </a:rPr>
              <a:t>Geometry (metric used)</a:t>
            </a:r>
            <a:endParaRPr lang="en-US" sz="1200" b="1" dirty="0">
              <a:solidFill>
                <a:srgbClr val="7F7E7E"/>
              </a:solidFill>
            </a:endParaRPr>
          </a:p>
        </p:txBody>
      </p:sp>
      <p:cxnSp>
        <p:nvCxnSpPr>
          <p:cNvPr id="9" name="Straight Connector 8"/>
          <p:cNvCxnSpPr/>
          <p:nvPr/>
        </p:nvCxnSpPr>
        <p:spPr>
          <a:xfrm>
            <a:off x="143926" y="346258"/>
            <a:ext cx="8679631" cy="0"/>
          </a:xfrm>
          <a:prstGeom prst="line">
            <a:avLst/>
          </a:prstGeom>
          <a:ln>
            <a:solidFill>
              <a:srgbClr val="7F7E7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Box 9"/>
          <p:cNvSpPr txBox="1"/>
          <p:nvPr/>
        </p:nvSpPr>
        <p:spPr>
          <a:xfrm>
            <a:off x="143926" y="389791"/>
            <a:ext cx="1270537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i="1" dirty="0" smtClean="0">
                <a:solidFill>
                  <a:srgbClr val="4E81BC"/>
                </a:solidFill>
              </a:rPr>
              <a:t>K-means</a:t>
            </a:r>
            <a:endParaRPr lang="en-US" sz="1200" i="1" dirty="0">
              <a:solidFill>
                <a:srgbClr val="4E81BC"/>
              </a:solidFill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1462475" y="389791"/>
            <a:ext cx="1228466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 smtClean="0">
                <a:solidFill>
                  <a:srgbClr val="7F7E7E"/>
                </a:solidFill>
              </a:rPr>
              <a:t>Number of clusters</a:t>
            </a:r>
            <a:endParaRPr lang="en-US" sz="1200" dirty="0">
              <a:solidFill>
                <a:srgbClr val="7F7E7E"/>
              </a:solidFill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2738953" y="389791"/>
            <a:ext cx="2114057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 smtClean="0">
                <a:solidFill>
                  <a:srgbClr val="7F7E7E"/>
                </a:solidFill>
              </a:rPr>
              <a:t>Very large </a:t>
            </a:r>
            <a:r>
              <a:rPr lang="en-US" sz="1200" i="1" dirty="0" err="1" smtClean="0">
                <a:solidFill>
                  <a:srgbClr val="7F7E7E"/>
                </a:solidFill>
              </a:rPr>
              <a:t>n_sample</a:t>
            </a:r>
            <a:r>
              <a:rPr lang="en-US" sz="1200" dirty="0" err="1" smtClean="0">
                <a:solidFill>
                  <a:srgbClr val="7F7E7E"/>
                </a:solidFill>
              </a:rPr>
              <a:t>s</a:t>
            </a:r>
            <a:r>
              <a:rPr lang="en-US" sz="1200" dirty="0" smtClean="0">
                <a:solidFill>
                  <a:srgbClr val="7F7E7E"/>
                </a:solidFill>
              </a:rPr>
              <a:t> medium </a:t>
            </a:r>
            <a:r>
              <a:rPr lang="en-US" sz="1200" i="1" dirty="0" err="1" smtClean="0">
                <a:solidFill>
                  <a:srgbClr val="7F7E7E"/>
                </a:solidFill>
              </a:rPr>
              <a:t>n_clusters</a:t>
            </a:r>
            <a:r>
              <a:rPr lang="en-US" sz="1200" dirty="0" smtClean="0">
                <a:solidFill>
                  <a:srgbClr val="7F7E7E"/>
                </a:solidFill>
              </a:rPr>
              <a:t> with </a:t>
            </a:r>
            <a:r>
              <a:rPr lang="en-US" sz="1200" i="1" dirty="0" err="1" smtClean="0">
                <a:solidFill>
                  <a:srgbClr val="4E81BC"/>
                </a:solidFill>
              </a:rPr>
              <a:t>MiniBatch</a:t>
            </a:r>
            <a:r>
              <a:rPr lang="en-US" sz="1200" i="1" dirty="0" smtClean="0">
                <a:solidFill>
                  <a:srgbClr val="4E81BC"/>
                </a:solidFill>
              </a:rPr>
              <a:t> code</a:t>
            </a:r>
            <a:endParaRPr lang="en-US" sz="1200" i="1" dirty="0">
              <a:solidFill>
                <a:srgbClr val="4E81BC"/>
              </a:solidFill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4901022" y="389791"/>
            <a:ext cx="2277711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 smtClean="0">
                <a:solidFill>
                  <a:srgbClr val="7F7E7E"/>
                </a:solidFill>
              </a:rPr>
              <a:t>General purpose, even cluster size, flat geometry, not too many clusters</a:t>
            </a:r>
            <a:endParaRPr lang="en-US" sz="1200" dirty="0">
              <a:solidFill>
                <a:srgbClr val="7F7E7E"/>
              </a:solidFill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7226745" y="389791"/>
            <a:ext cx="1596812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 smtClean="0">
                <a:solidFill>
                  <a:srgbClr val="7F7E7E"/>
                </a:solidFill>
              </a:rPr>
              <a:t>Distances between points</a:t>
            </a:r>
            <a:endParaRPr lang="en-US" sz="1200" dirty="0">
              <a:solidFill>
                <a:srgbClr val="7F7E7E"/>
              </a:solidFill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143926" y="858311"/>
            <a:ext cx="1270537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i="1" dirty="0" smtClean="0">
                <a:solidFill>
                  <a:srgbClr val="4E81BC"/>
                </a:solidFill>
              </a:rPr>
              <a:t>Affinity propagation</a:t>
            </a:r>
            <a:endParaRPr lang="en-US" sz="1200" i="1" dirty="0">
              <a:solidFill>
                <a:srgbClr val="4E81BC"/>
              </a:solidFill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1462475" y="858311"/>
            <a:ext cx="1228466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 smtClean="0">
                <a:solidFill>
                  <a:srgbClr val="7F7E7E"/>
                </a:solidFill>
              </a:rPr>
              <a:t>Damping, sample preferences</a:t>
            </a:r>
            <a:endParaRPr lang="en-US" sz="1200" dirty="0">
              <a:solidFill>
                <a:srgbClr val="7F7E7E"/>
              </a:solidFill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2738953" y="858311"/>
            <a:ext cx="2114057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 smtClean="0">
                <a:solidFill>
                  <a:srgbClr val="7F7E7E"/>
                </a:solidFill>
              </a:rPr>
              <a:t>Not scalable with </a:t>
            </a:r>
            <a:r>
              <a:rPr lang="en-US" sz="1200" dirty="0" err="1" smtClean="0">
                <a:solidFill>
                  <a:srgbClr val="7F7E7E"/>
                </a:solidFill>
              </a:rPr>
              <a:t>n_samples</a:t>
            </a:r>
            <a:endParaRPr lang="en-US" sz="1200" i="1" dirty="0">
              <a:solidFill>
                <a:srgbClr val="6094C9"/>
              </a:solidFill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4901022" y="858311"/>
            <a:ext cx="2277711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 smtClean="0">
                <a:solidFill>
                  <a:srgbClr val="7F7E7E"/>
                </a:solidFill>
              </a:rPr>
              <a:t>Many clusters, uneven cluster size, non-flat geometry</a:t>
            </a:r>
            <a:endParaRPr lang="en-US" sz="1200" dirty="0">
              <a:solidFill>
                <a:srgbClr val="7F7E7E"/>
              </a:solidFill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7226745" y="858311"/>
            <a:ext cx="1596812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 smtClean="0">
                <a:solidFill>
                  <a:srgbClr val="7F7E7E"/>
                </a:solidFill>
              </a:rPr>
              <a:t>Graph distance (e.g. nearest-neighbor graph)</a:t>
            </a:r>
            <a:endParaRPr lang="en-US" sz="1200" dirty="0">
              <a:solidFill>
                <a:srgbClr val="7F7E7E"/>
              </a:solidFill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143926" y="1326831"/>
            <a:ext cx="1270537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i="1" dirty="0" smtClean="0">
                <a:solidFill>
                  <a:srgbClr val="4E81BC"/>
                </a:solidFill>
              </a:rPr>
              <a:t>Mean-shift</a:t>
            </a:r>
            <a:endParaRPr lang="en-US" sz="1200" i="1" dirty="0">
              <a:solidFill>
                <a:srgbClr val="4E81BC"/>
              </a:solidFill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1462475" y="1326831"/>
            <a:ext cx="1228466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 smtClean="0">
                <a:solidFill>
                  <a:srgbClr val="7F7E7E"/>
                </a:solidFill>
              </a:rPr>
              <a:t>Bandwidth</a:t>
            </a:r>
            <a:endParaRPr lang="en-US" sz="1200" dirty="0">
              <a:solidFill>
                <a:srgbClr val="7F7E7E"/>
              </a:solidFill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2738953" y="1326831"/>
            <a:ext cx="2114057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 smtClean="0">
                <a:solidFill>
                  <a:srgbClr val="7F7E7E"/>
                </a:solidFill>
              </a:rPr>
              <a:t>Not scalable with </a:t>
            </a:r>
            <a:r>
              <a:rPr lang="en-US" sz="1200" dirty="0" err="1" smtClean="0">
                <a:solidFill>
                  <a:srgbClr val="7F7E7E"/>
                </a:solidFill>
              </a:rPr>
              <a:t>n_samples</a:t>
            </a:r>
            <a:endParaRPr lang="en-US" sz="1200" i="1" dirty="0">
              <a:solidFill>
                <a:srgbClr val="6094C9"/>
              </a:solidFill>
            </a:endParaRPr>
          </a:p>
        </p:txBody>
      </p:sp>
      <p:sp>
        <p:nvSpPr>
          <p:cNvPr id="23" name="TextBox 22"/>
          <p:cNvSpPr txBox="1"/>
          <p:nvPr/>
        </p:nvSpPr>
        <p:spPr>
          <a:xfrm>
            <a:off x="4901022" y="1326831"/>
            <a:ext cx="2277711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 smtClean="0">
                <a:solidFill>
                  <a:srgbClr val="7F7E7E"/>
                </a:solidFill>
              </a:rPr>
              <a:t>Many clusters, uneven cluster size, non-flat geometry</a:t>
            </a:r>
            <a:endParaRPr lang="en-US" sz="1200" dirty="0">
              <a:solidFill>
                <a:srgbClr val="7F7E7E"/>
              </a:solidFill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7226745" y="1326831"/>
            <a:ext cx="1596812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>
                <a:solidFill>
                  <a:srgbClr val="7F7E7E"/>
                </a:solidFill>
              </a:rPr>
              <a:t>Distances between points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143926" y="1795351"/>
            <a:ext cx="1270537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i="1" dirty="0" smtClean="0">
                <a:solidFill>
                  <a:srgbClr val="4E81BC"/>
                </a:solidFill>
              </a:rPr>
              <a:t>Spectral clustering</a:t>
            </a:r>
            <a:endParaRPr lang="en-US" sz="1200" i="1" dirty="0">
              <a:solidFill>
                <a:srgbClr val="4E81BC"/>
              </a:solidFill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1462475" y="1795351"/>
            <a:ext cx="1228466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>
                <a:solidFill>
                  <a:srgbClr val="7F7E7E"/>
                </a:solidFill>
              </a:rPr>
              <a:t>Number of </a:t>
            </a:r>
            <a:r>
              <a:rPr lang="en-US" sz="1200" dirty="0" smtClean="0">
                <a:solidFill>
                  <a:srgbClr val="7F7E7E"/>
                </a:solidFill>
              </a:rPr>
              <a:t>clusters</a:t>
            </a:r>
            <a:endParaRPr lang="en-US" sz="1200" dirty="0">
              <a:solidFill>
                <a:srgbClr val="7F7E7E"/>
              </a:solidFill>
            </a:endParaRPr>
          </a:p>
        </p:txBody>
      </p:sp>
      <p:sp>
        <p:nvSpPr>
          <p:cNvPr id="27" name="TextBox 26"/>
          <p:cNvSpPr txBox="1"/>
          <p:nvPr/>
        </p:nvSpPr>
        <p:spPr>
          <a:xfrm>
            <a:off x="2738953" y="1795351"/>
            <a:ext cx="2114057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 smtClean="0">
                <a:solidFill>
                  <a:srgbClr val="7F7E7E"/>
                </a:solidFill>
              </a:rPr>
              <a:t>Medium </a:t>
            </a:r>
            <a:r>
              <a:rPr lang="en-US" sz="1200" i="1" dirty="0" err="1" smtClean="0">
                <a:solidFill>
                  <a:srgbClr val="7F7E7E"/>
                </a:solidFill>
              </a:rPr>
              <a:t>n_samples</a:t>
            </a:r>
            <a:r>
              <a:rPr lang="en-US" sz="1200" dirty="0" smtClean="0">
                <a:solidFill>
                  <a:srgbClr val="7F7E7E"/>
                </a:solidFill>
              </a:rPr>
              <a:t>, small </a:t>
            </a:r>
            <a:r>
              <a:rPr lang="en-US" sz="1200" i="1" dirty="0" err="1" smtClean="0">
                <a:solidFill>
                  <a:srgbClr val="7F7E7E"/>
                </a:solidFill>
              </a:rPr>
              <a:t>n_clusters</a:t>
            </a:r>
            <a:endParaRPr lang="en-US" sz="1200" i="1" dirty="0">
              <a:solidFill>
                <a:srgbClr val="6094C9"/>
              </a:solidFill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4901022" y="1795351"/>
            <a:ext cx="2277711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 smtClean="0">
                <a:solidFill>
                  <a:srgbClr val="7F7E7E"/>
                </a:solidFill>
              </a:rPr>
              <a:t>Few clusters, even cluster size, non-flat geometry</a:t>
            </a:r>
            <a:endParaRPr lang="en-US" sz="1200" dirty="0">
              <a:solidFill>
                <a:srgbClr val="7F7E7E"/>
              </a:solidFill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7226745" y="1795351"/>
            <a:ext cx="1596812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>
                <a:solidFill>
                  <a:srgbClr val="7F7E7E"/>
                </a:solidFill>
              </a:rPr>
              <a:t>Graph distance (e.g. nearest-neighbor graph)</a:t>
            </a:r>
          </a:p>
        </p:txBody>
      </p:sp>
      <p:cxnSp>
        <p:nvCxnSpPr>
          <p:cNvPr id="30" name="Straight Connector 29"/>
          <p:cNvCxnSpPr/>
          <p:nvPr/>
        </p:nvCxnSpPr>
        <p:spPr>
          <a:xfrm>
            <a:off x="143926" y="808717"/>
            <a:ext cx="8679631" cy="0"/>
          </a:xfrm>
          <a:prstGeom prst="line">
            <a:avLst/>
          </a:prstGeom>
          <a:ln>
            <a:solidFill>
              <a:srgbClr val="7F7E7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0"/>
          <p:cNvCxnSpPr/>
          <p:nvPr/>
        </p:nvCxnSpPr>
        <p:spPr>
          <a:xfrm>
            <a:off x="143926" y="1277237"/>
            <a:ext cx="8679631" cy="0"/>
          </a:xfrm>
          <a:prstGeom prst="line">
            <a:avLst/>
          </a:prstGeom>
          <a:ln>
            <a:solidFill>
              <a:srgbClr val="7F7E7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/>
          <p:cNvCxnSpPr/>
          <p:nvPr/>
        </p:nvCxnSpPr>
        <p:spPr>
          <a:xfrm>
            <a:off x="143926" y="1745757"/>
            <a:ext cx="8679631" cy="0"/>
          </a:xfrm>
          <a:prstGeom prst="line">
            <a:avLst/>
          </a:prstGeom>
          <a:ln>
            <a:solidFill>
              <a:srgbClr val="7F7E7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/>
          <p:cNvCxnSpPr/>
          <p:nvPr/>
        </p:nvCxnSpPr>
        <p:spPr>
          <a:xfrm>
            <a:off x="143926" y="2214277"/>
            <a:ext cx="8679631" cy="0"/>
          </a:xfrm>
          <a:prstGeom prst="line">
            <a:avLst/>
          </a:prstGeom>
          <a:ln>
            <a:solidFill>
              <a:srgbClr val="7F7E7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Box 33"/>
          <p:cNvSpPr txBox="1"/>
          <p:nvPr/>
        </p:nvSpPr>
        <p:spPr>
          <a:xfrm>
            <a:off x="143926" y="2263871"/>
            <a:ext cx="1270537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i="1" dirty="0" smtClean="0">
                <a:solidFill>
                  <a:srgbClr val="4E81BC"/>
                </a:solidFill>
              </a:rPr>
              <a:t>Hierarchical clustering</a:t>
            </a:r>
            <a:endParaRPr lang="en-US" sz="1200" i="1" dirty="0">
              <a:solidFill>
                <a:srgbClr val="4E81BC"/>
              </a:solidFill>
            </a:endParaRPr>
          </a:p>
        </p:txBody>
      </p:sp>
      <p:sp>
        <p:nvSpPr>
          <p:cNvPr id="35" name="TextBox 34"/>
          <p:cNvSpPr txBox="1"/>
          <p:nvPr/>
        </p:nvSpPr>
        <p:spPr>
          <a:xfrm>
            <a:off x="1462475" y="2263871"/>
            <a:ext cx="1228466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>
                <a:solidFill>
                  <a:srgbClr val="7F7E7E"/>
                </a:solidFill>
              </a:rPr>
              <a:t>Number of </a:t>
            </a:r>
            <a:r>
              <a:rPr lang="en-US" sz="1200" dirty="0" smtClean="0">
                <a:solidFill>
                  <a:srgbClr val="7F7E7E"/>
                </a:solidFill>
              </a:rPr>
              <a:t>clusters</a:t>
            </a:r>
            <a:endParaRPr lang="en-US" sz="1200" dirty="0">
              <a:solidFill>
                <a:srgbClr val="7F7E7E"/>
              </a:solidFill>
            </a:endParaRPr>
          </a:p>
        </p:txBody>
      </p:sp>
      <p:sp>
        <p:nvSpPr>
          <p:cNvPr id="36" name="TextBox 35"/>
          <p:cNvSpPr txBox="1"/>
          <p:nvPr/>
        </p:nvSpPr>
        <p:spPr>
          <a:xfrm>
            <a:off x="2738953" y="2263871"/>
            <a:ext cx="2114057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 smtClean="0">
                <a:solidFill>
                  <a:srgbClr val="7F7E7E"/>
                </a:solidFill>
              </a:rPr>
              <a:t>Large </a:t>
            </a:r>
            <a:r>
              <a:rPr lang="en-US" sz="1200" i="1" dirty="0" err="1" smtClean="0">
                <a:solidFill>
                  <a:srgbClr val="7F7E7E"/>
                </a:solidFill>
              </a:rPr>
              <a:t>n_samples</a:t>
            </a:r>
            <a:r>
              <a:rPr lang="en-US" sz="1200" dirty="0">
                <a:solidFill>
                  <a:srgbClr val="7F7E7E"/>
                </a:solidFill>
              </a:rPr>
              <a:t> </a:t>
            </a:r>
            <a:r>
              <a:rPr lang="en-US" sz="1200" dirty="0" smtClean="0">
                <a:solidFill>
                  <a:srgbClr val="7F7E7E"/>
                </a:solidFill>
              </a:rPr>
              <a:t>and </a:t>
            </a:r>
            <a:r>
              <a:rPr lang="en-US" sz="1200" i="1" dirty="0" err="1" smtClean="0">
                <a:solidFill>
                  <a:srgbClr val="7F7E7E"/>
                </a:solidFill>
              </a:rPr>
              <a:t>n_clusters</a:t>
            </a:r>
            <a:endParaRPr lang="en-US" sz="1200" i="1" dirty="0">
              <a:solidFill>
                <a:srgbClr val="6094C9"/>
              </a:solidFill>
            </a:endParaRPr>
          </a:p>
        </p:txBody>
      </p:sp>
      <p:sp>
        <p:nvSpPr>
          <p:cNvPr id="37" name="TextBox 36"/>
          <p:cNvSpPr txBox="1"/>
          <p:nvPr/>
        </p:nvSpPr>
        <p:spPr>
          <a:xfrm>
            <a:off x="4901022" y="2263871"/>
            <a:ext cx="2277711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 smtClean="0">
                <a:solidFill>
                  <a:srgbClr val="7F7E7E"/>
                </a:solidFill>
              </a:rPr>
              <a:t>Many clusters, possibly connectivity constraints</a:t>
            </a:r>
            <a:endParaRPr lang="en-US" sz="1200" dirty="0">
              <a:solidFill>
                <a:srgbClr val="7F7E7E"/>
              </a:solidFill>
            </a:endParaRPr>
          </a:p>
        </p:txBody>
      </p:sp>
      <p:sp>
        <p:nvSpPr>
          <p:cNvPr id="38" name="TextBox 37"/>
          <p:cNvSpPr txBox="1"/>
          <p:nvPr/>
        </p:nvSpPr>
        <p:spPr>
          <a:xfrm>
            <a:off x="7226745" y="2263871"/>
            <a:ext cx="1596812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>
                <a:solidFill>
                  <a:srgbClr val="7F7E7E"/>
                </a:solidFill>
              </a:rPr>
              <a:t>Distances between points</a:t>
            </a:r>
          </a:p>
        </p:txBody>
      </p:sp>
      <p:cxnSp>
        <p:nvCxnSpPr>
          <p:cNvPr id="39" name="Straight Connector 38"/>
          <p:cNvCxnSpPr/>
          <p:nvPr/>
        </p:nvCxnSpPr>
        <p:spPr>
          <a:xfrm>
            <a:off x="143926" y="2682797"/>
            <a:ext cx="8679631" cy="0"/>
          </a:xfrm>
          <a:prstGeom prst="line">
            <a:avLst/>
          </a:prstGeom>
          <a:ln>
            <a:solidFill>
              <a:srgbClr val="7F7E7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TextBox 39"/>
          <p:cNvSpPr txBox="1"/>
          <p:nvPr/>
        </p:nvSpPr>
        <p:spPr>
          <a:xfrm>
            <a:off x="143926" y="2732396"/>
            <a:ext cx="1270537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i="1" dirty="0" smtClean="0">
                <a:solidFill>
                  <a:srgbClr val="4E81BC"/>
                </a:solidFill>
              </a:rPr>
              <a:t>DBSCAN</a:t>
            </a:r>
            <a:endParaRPr lang="en-US" sz="1200" i="1" dirty="0">
              <a:solidFill>
                <a:srgbClr val="4E81BC"/>
              </a:solidFill>
            </a:endParaRPr>
          </a:p>
        </p:txBody>
      </p:sp>
      <p:sp>
        <p:nvSpPr>
          <p:cNvPr id="41" name="TextBox 40"/>
          <p:cNvSpPr txBox="1"/>
          <p:nvPr/>
        </p:nvSpPr>
        <p:spPr>
          <a:xfrm>
            <a:off x="1462475" y="2732396"/>
            <a:ext cx="1228466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 smtClean="0">
                <a:solidFill>
                  <a:srgbClr val="7F7E7E"/>
                </a:solidFill>
              </a:rPr>
              <a:t>Neighborhood size </a:t>
            </a:r>
            <a:endParaRPr lang="en-US" sz="1200" dirty="0">
              <a:solidFill>
                <a:srgbClr val="7F7E7E"/>
              </a:solidFill>
            </a:endParaRPr>
          </a:p>
        </p:txBody>
      </p:sp>
      <p:sp>
        <p:nvSpPr>
          <p:cNvPr id="42" name="TextBox 41"/>
          <p:cNvSpPr txBox="1"/>
          <p:nvPr/>
        </p:nvSpPr>
        <p:spPr>
          <a:xfrm>
            <a:off x="2738953" y="2732396"/>
            <a:ext cx="2114057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 smtClean="0">
                <a:solidFill>
                  <a:srgbClr val="7F7E7E"/>
                </a:solidFill>
              </a:rPr>
              <a:t>Very large </a:t>
            </a:r>
            <a:r>
              <a:rPr lang="en-US" sz="1200" i="1" dirty="0" err="1" smtClean="0">
                <a:solidFill>
                  <a:srgbClr val="7F7E7E"/>
                </a:solidFill>
              </a:rPr>
              <a:t>n_samples</a:t>
            </a:r>
            <a:r>
              <a:rPr lang="en-US" sz="1200" dirty="0" smtClean="0">
                <a:solidFill>
                  <a:srgbClr val="7F7E7E"/>
                </a:solidFill>
              </a:rPr>
              <a:t>, medium </a:t>
            </a:r>
            <a:r>
              <a:rPr lang="en-US" sz="1200" i="1" dirty="0" err="1" smtClean="0">
                <a:solidFill>
                  <a:srgbClr val="7F7E7E"/>
                </a:solidFill>
              </a:rPr>
              <a:t>n_clusters</a:t>
            </a:r>
            <a:endParaRPr lang="en-US" sz="1200" i="1" dirty="0">
              <a:solidFill>
                <a:srgbClr val="6094C9"/>
              </a:solidFill>
            </a:endParaRPr>
          </a:p>
        </p:txBody>
      </p:sp>
      <p:sp>
        <p:nvSpPr>
          <p:cNvPr id="43" name="TextBox 42"/>
          <p:cNvSpPr txBox="1"/>
          <p:nvPr/>
        </p:nvSpPr>
        <p:spPr>
          <a:xfrm>
            <a:off x="4901022" y="2732396"/>
            <a:ext cx="2277711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 smtClean="0">
                <a:solidFill>
                  <a:srgbClr val="7F7E7E"/>
                </a:solidFill>
              </a:rPr>
              <a:t>Non-flat geometry, uneven cluster sizes</a:t>
            </a:r>
            <a:endParaRPr lang="en-US" sz="1200" dirty="0">
              <a:solidFill>
                <a:srgbClr val="7F7E7E"/>
              </a:solidFill>
            </a:endParaRPr>
          </a:p>
        </p:txBody>
      </p:sp>
      <p:sp>
        <p:nvSpPr>
          <p:cNvPr id="44" name="TextBox 43"/>
          <p:cNvSpPr txBox="1"/>
          <p:nvPr/>
        </p:nvSpPr>
        <p:spPr>
          <a:xfrm>
            <a:off x="7226745" y="2732396"/>
            <a:ext cx="1596812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>
                <a:solidFill>
                  <a:srgbClr val="7F7E7E"/>
                </a:solidFill>
              </a:rPr>
              <a:t>Distances between </a:t>
            </a:r>
            <a:r>
              <a:rPr lang="en-US" sz="1200" dirty="0" smtClean="0">
                <a:solidFill>
                  <a:srgbClr val="7F7E7E"/>
                </a:solidFill>
              </a:rPr>
              <a:t>nearest points</a:t>
            </a:r>
            <a:endParaRPr lang="en-US" sz="1200" dirty="0">
              <a:solidFill>
                <a:srgbClr val="7F7E7E"/>
              </a:solidFill>
            </a:endParaRPr>
          </a:p>
        </p:txBody>
      </p:sp>
      <p:sp>
        <p:nvSpPr>
          <p:cNvPr id="45" name="object 5"/>
          <p:cNvSpPr txBox="1"/>
          <p:nvPr/>
        </p:nvSpPr>
        <p:spPr>
          <a:xfrm>
            <a:off x="143926" y="3515232"/>
            <a:ext cx="8679631" cy="2603277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 marR="41909">
              <a:lnSpc>
                <a:spcPts val="3454"/>
              </a:lnSpc>
              <a:spcBef>
                <a:spcPts val="172"/>
              </a:spcBef>
            </a:pPr>
            <a:r>
              <a:rPr lang="en-US" sz="4400" baseline="2560" dirty="0" smtClean="0">
                <a:solidFill>
                  <a:srgbClr val="4E81BC"/>
                </a:solidFill>
                <a:cs typeface="Calibri"/>
              </a:rPr>
              <a:t>DBSCAN</a:t>
            </a:r>
            <a:endParaRPr lang="en-US" sz="4400" baseline="2560" dirty="0">
              <a:solidFill>
                <a:srgbClr val="4E81BC"/>
              </a:solidFill>
              <a:cs typeface="Calibri"/>
            </a:endParaRPr>
          </a:p>
          <a:p>
            <a:pPr marL="12700">
              <a:lnSpc>
                <a:spcPts val="2770"/>
              </a:lnSpc>
            </a:pPr>
            <a:r>
              <a:rPr lang="en-US" sz="4400" baseline="1137" dirty="0">
                <a:solidFill>
                  <a:srgbClr val="7F7E7E"/>
                </a:solidFill>
                <a:cs typeface="Calibri"/>
              </a:rPr>
              <a:t>Density based, on the money with the right parameters.</a:t>
            </a:r>
          </a:p>
          <a:p>
            <a:pPr marL="12700">
              <a:lnSpc>
                <a:spcPts val="2770"/>
              </a:lnSpc>
            </a:pPr>
            <a:r>
              <a:rPr lang="en-US" sz="4400" baseline="1137" dirty="0">
                <a:solidFill>
                  <a:srgbClr val="7F7E7E"/>
                </a:solidFill>
                <a:cs typeface="Calibri"/>
              </a:rPr>
              <a:t>Have to try </a:t>
            </a:r>
            <a:r>
              <a:rPr lang="en-US" sz="4400" i="1" baseline="1137" dirty="0">
                <a:solidFill>
                  <a:srgbClr val="7F7E7E"/>
                </a:solidFill>
                <a:cs typeface="Calibri"/>
              </a:rPr>
              <a:t>epsilon</a:t>
            </a:r>
            <a:r>
              <a:rPr lang="en-US" sz="4400" baseline="1137" dirty="0">
                <a:solidFill>
                  <a:srgbClr val="7F7E7E"/>
                </a:solidFill>
                <a:cs typeface="Calibri"/>
              </a:rPr>
              <a:t> (and </a:t>
            </a:r>
            <a:r>
              <a:rPr lang="en-US" sz="4400" i="1" baseline="1137" dirty="0" err="1">
                <a:solidFill>
                  <a:srgbClr val="7F7E7E"/>
                </a:solidFill>
                <a:cs typeface="Calibri"/>
              </a:rPr>
              <a:t>num_clu</a:t>
            </a:r>
            <a:r>
              <a:rPr lang="en-US" sz="4400" baseline="1137" dirty="0">
                <a:solidFill>
                  <a:srgbClr val="7F7E7E"/>
                </a:solidFill>
                <a:cs typeface="Calibri"/>
              </a:rPr>
              <a:t>) values. </a:t>
            </a:r>
            <a:endParaRPr lang="en-US" sz="4400" baseline="1137" dirty="0" smtClean="0">
              <a:solidFill>
                <a:srgbClr val="7F7E7E"/>
              </a:solidFill>
              <a:cs typeface="Calibri"/>
            </a:endParaRPr>
          </a:p>
          <a:p>
            <a:pPr marL="12700">
              <a:lnSpc>
                <a:spcPts val="2770"/>
              </a:lnSpc>
            </a:pPr>
            <a:r>
              <a:rPr lang="en-US" sz="4400" baseline="1137" dirty="0" smtClean="0">
                <a:solidFill>
                  <a:srgbClr val="7F7E7E"/>
                </a:solidFill>
                <a:cs typeface="Calibri"/>
              </a:rPr>
              <a:t>Can </a:t>
            </a:r>
            <a:r>
              <a:rPr lang="en-US" sz="4400" baseline="1137" dirty="0">
                <a:solidFill>
                  <a:srgbClr val="7F7E7E"/>
                </a:solidFill>
                <a:cs typeface="Calibri"/>
              </a:rPr>
              <a:t>ﬁnd </a:t>
            </a:r>
            <a:r>
              <a:rPr lang="en-US" sz="4400" baseline="1137" dirty="0">
                <a:solidFill>
                  <a:srgbClr val="AAC56C"/>
                </a:solidFill>
                <a:cs typeface="Calibri"/>
              </a:rPr>
              <a:t>uneven cluster sizes.</a:t>
            </a:r>
          </a:p>
          <a:p>
            <a:pPr marL="12700">
              <a:lnSpc>
                <a:spcPts val="2770"/>
              </a:lnSpc>
            </a:pPr>
            <a:r>
              <a:rPr lang="en-US" sz="4400" baseline="1137" dirty="0">
                <a:solidFill>
                  <a:srgbClr val="7F7E7E"/>
                </a:solidFill>
                <a:cs typeface="Calibri"/>
              </a:rPr>
              <a:t>Full </a:t>
            </a:r>
            <a:r>
              <a:rPr lang="en-US" sz="4400" baseline="1137" dirty="0">
                <a:solidFill>
                  <a:srgbClr val="F69545"/>
                </a:solidFill>
                <a:cs typeface="Calibri"/>
              </a:rPr>
              <a:t>distance metric </a:t>
            </a:r>
            <a:r>
              <a:rPr lang="en-US" sz="4400" baseline="1137" dirty="0" smtClean="0">
                <a:solidFill>
                  <a:srgbClr val="F69545"/>
                </a:solidFill>
                <a:cs typeface="Calibri"/>
              </a:rPr>
              <a:t>options</a:t>
            </a:r>
            <a:r>
              <a:rPr lang="en-US" sz="4400" baseline="1137" dirty="0" smtClean="0">
                <a:solidFill>
                  <a:srgbClr val="7F7E7E"/>
                </a:solidFill>
                <a:cs typeface="Calibri"/>
              </a:rPr>
              <a:t>.</a:t>
            </a:r>
            <a:endParaRPr lang="en-US" sz="4400" baseline="1137" dirty="0">
              <a:solidFill>
                <a:srgbClr val="7F7E7E"/>
              </a:solidFill>
              <a:cs typeface="Calibri"/>
            </a:endParaRPr>
          </a:p>
          <a:p>
            <a:pPr marL="12700">
              <a:lnSpc>
                <a:spcPts val="2770"/>
              </a:lnSpc>
            </a:pPr>
            <a:r>
              <a:rPr lang="en-US" sz="4400" baseline="1137" dirty="0">
                <a:solidFill>
                  <a:srgbClr val="7F7E7E"/>
                </a:solidFill>
                <a:cs typeface="Calibri"/>
              </a:rPr>
              <a:t>Can handle tons of data and weird shapes.</a:t>
            </a:r>
          </a:p>
          <a:p>
            <a:pPr marL="12700">
              <a:lnSpc>
                <a:spcPts val="2770"/>
              </a:lnSpc>
            </a:pPr>
            <a:r>
              <a:rPr lang="en-US" sz="4400" baseline="1137" dirty="0">
                <a:solidFill>
                  <a:srgbClr val="7F7E7E"/>
                </a:solidFill>
                <a:cs typeface="Calibri"/>
              </a:rPr>
              <a:t>Too small epsilon (too many clusters) is a bit shaky.</a:t>
            </a:r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1" name="Object 16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3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Rectangle 22"/>
          <p:cNvSpPr/>
          <p:nvPr/>
        </p:nvSpPr>
        <p:spPr>
          <a:xfrm>
            <a:off x="114300" y="381000"/>
            <a:ext cx="1422040" cy="1524000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30" name="TextBox 29"/>
          <p:cNvSpPr txBox="1"/>
          <p:nvPr/>
        </p:nvSpPr>
        <p:spPr>
          <a:xfrm>
            <a:off x="143926" y="1719329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 smtClean="0">
                <a:solidFill>
                  <a:srgbClr val="7F7E7E"/>
                </a:solidFill>
              </a:rPr>
              <a:t>.01s</a:t>
            </a:r>
            <a:endParaRPr lang="en-US" sz="1000" dirty="0">
              <a:solidFill>
                <a:srgbClr val="7F7E7E"/>
              </a:solidFill>
            </a:endParaRPr>
          </a:p>
        </p:txBody>
      </p:sp>
      <p:sp>
        <p:nvSpPr>
          <p:cNvPr id="34" name="Rectangle 33"/>
          <p:cNvSpPr/>
          <p:nvPr/>
        </p:nvSpPr>
        <p:spPr>
          <a:xfrm>
            <a:off x="1612972" y="381000"/>
            <a:ext cx="1422040" cy="1524000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35" name="TextBox 34"/>
          <p:cNvSpPr txBox="1"/>
          <p:nvPr/>
        </p:nvSpPr>
        <p:spPr>
          <a:xfrm>
            <a:off x="1642598" y="1719329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 smtClean="0">
                <a:solidFill>
                  <a:srgbClr val="7F7E7E"/>
                </a:solidFill>
              </a:rPr>
              <a:t>8.17s</a:t>
            </a:r>
            <a:endParaRPr lang="en-US" sz="1000" dirty="0">
              <a:solidFill>
                <a:srgbClr val="7F7E7E"/>
              </a:solidFill>
            </a:endParaRPr>
          </a:p>
        </p:txBody>
      </p:sp>
      <p:sp>
        <p:nvSpPr>
          <p:cNvPr id="37" name="Rectangle 36"/>
          <p:cNvSpPr/>
          <p:nvPr/>
        </p:nvSpPr>
        <p:spPr>
          <a:xfrm>
            <a:off x="3111644" y="381000"/>
            <a:ext cx="1422040" cy="1524000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38" name="TextBox 37"/>
          <p:cNvSpPr txBox="1"/>
          <p:nvPr/>
        </p:nvSpPr>
        <p:spPr>
          <a:xfrm>
            <a:off x="3141270" y="1719329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 smtClean="0">
                <a:solidFill>
                  <a:srgbClr val="7F7E7E"/>
                </a:solidFill>
              </a:rPr>
              <a:t>.02s</a:t>
            </a:r>
            <a:endParaRPr lang="en-US" sz="1000" dirty="0">
              <a:solidFill>
                <a:srgbClr val="7F7E7E"/>
              </a:solidFill>
            </a:endParaRPr>
          </a:p>
        </p:txBody>
      </p:sp>
      <p:sp>
        <p:nvSpPr>
          <p:cNvPr id="40" name="Rectangle 39"/>
          <p:cNvSpPr/>
          <p:nvPr/>
        </p:nvSpPr>
        <p:spPr>
          <a:xfrm>
            <a:off x="4610317" y="381000"/>
            <a:ext cx="1422040" cy="1524000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41" name="TextBox 40"/>
          <p:cNvSpPr txBox="1"/>
          <p:nvPr/>
        </p:nvSpPr>
        <p:spPr>
          <a:xfrm>
            <a:off x="4639943" y="1719329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 smtClean="0">
                <a:solidFill>
                  <a:srgbClr val="7F7E7E"/>
                </a:solidFill>
              </a:rPr>
              <a:t>.31s</a:t>
            </a:r>
            <a:endParaRPr lang="en-US" sz="1000" dirty="0">
              <a:solidFill>
                <a:srgbClr val="7F7E7E"/>
              </a:solidFill>
            </a:endParaRPr>
          </a:p>
        </p:txBody>
      </p:sp>
      <p:sp>
        <p:nvSpPr>
          <p:cNvPr id="43" name="Rectangle 42"/>
          <p:cNvSpPr/>
          <p:nvPr/>
        </p:nvSpPr>
        <p:spPr>
          <a:xfrm>
            <a:off x="6108989" y="381000"/>
            <a:ext cx="1422040" cy="1524000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44" name="TextBox 43"/>
          <p:cNvSpPr txBox="1"/>
          <p:nvPr/>
        </p:nvSpPr>
        <p:spPr>
          <a:xfrm>
            <a:off x="6138615" y="1719329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 smtClean="0">
                <a:solidFill>
                  <a:srgbClr val="7F7E7E"/>
                </a:solidFill>
              </a:rPr>
              <a:t>.21s</a:t>
            </a:r>
            <a:endParaRPr lang="en-US" sz="1000" dirty="0">
              <a:solidFill>
                <a:srgbClr val="7F7E7E"/>
              </a:solidFill>
            </a:endParaRPr>
          </a:p>
        </p:txBody>
      </p:sp>
      <p:sp>
        <p:nvSpPr>
          <p:cNvPr id="46" name="Rectangle 45"/>
          <p:cNvSpPr/>
          <p:nvPr/>
        </p:nvSpPr>
        <p:spPr>
          <a:xfrm>
            <a:off x="7607660" y="381000"/>
            <a:ext cx="1422040" cy="1524000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47" name="TextBox 46"/>
          <p:cNvSpPr txBox="1"/>
          <p:nvPr/>
        </p:nvSpPr>
        <p:spPr>
          <a:xfrm>
            <a:off x="7637286" y="1719329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 smtClean="0">
                <a:solidFill>
                  <a:srgbClr val="7F7E7E"/>
                </a:solidFill>
              </a:rPr>
              <a:t>.10s</a:t>
            </a:r>
            <a:endParaRPr lang="en-US" sz="1000" dirty="0">
              <a:solidFill>
                <a:srgbClr val="7F7E7E"/>
              </a:solidFill>
            </a:endParaRPr>
          </a:p>
        </p:txBody>
      </p:sp>
      <p:sp>
        <p:nvSpPr>
          <p:cNvPr id="67" name="Rectangle 66"/>
          <p:cNvSpPr/>
          <p:nvPr/>
        </p:nvSpPr>
        <p:spPr>
          <a:xfrm>
            <a:off x="114300" y="1981200"/>
            <a:ext cx="1422040" cy="1524000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68" name="TextBox 67"/>
          <p:cNvSpPr txBox="1"/>
          <p:nvPr/>
        </p:nvSpPr>
        <p:spPr>
          <a:xfrm>
            <a:off x="143926" y="3319529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 smtClean="0">
                <a:solidFill>
                  <a:srgbClr val="7F7E7E"/>
                </a:solidFill>
              </a:rPr>
              <a:t>0.1s</a:t>
            </a:r>
            <a:endParaRPr lang="en-US" sz="1000" dirty="0">
              <a:solidFill>
                <a:srgbClr val="7F7E7E"/>
              </a:solidFill>
            </a:endParaRPr>
          </a:p>
        </p:txBody>
      </p:sp>
      <p:sp>
        <p:nvSpPr>
          <p:cNvPr id="65" name="Rectangle 64"/>
          <p:cNvSpPr/>
          <p:nvPr/>
        </p:nvSpPr>
        <p:spPr>
          <a:xfrm>
            <a:off x="1612972" y="1981200"/>
            <a:ext cx="1422040" cy="1524000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66" name="TextBox 65"/>
          <p:cNvSpPr txBox="1"/>
          <p:nvPr/>
        </p:nvSpPr>
        <p:spPr>
          <a:xfrm>
            <a:off x="1642598" y="3319529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 smtClean="0">
                <a:solidFill>
                  <a:srgbClr val="7F7E7E"/>
                </a:solidFill>
              </a:rPr>
              <a:t>8.17s</a:t>
            </a:r>
            <a:endParaRPr lang="en-US" sz="1000" dirty="0">
              <a:solidFill>
                <a:srgbClr val="7F7E7E"/>
              </a:solidFill>
            </a:endParaRPr>
          </a:p>
        </p:txBody>
      </p:sp>
      <p:sp>
        <p:nvSpPr>
          <p:cNvPr id="63" name="Rectangle 62"/>
          <p:cNvSpPr/>
          <p:nvPr/>
        </p:nvSpPr>
        <p:spPr>
          <a:xfrm>
            <a:off x="3111644" y="1981200"/>
            <a:ext cx="1422040" cy="1524000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64" name="TextBox 63"/>
          <p:cNvSpPr txBox="1"/>
          <p:nvPr/>
        </p:nvSpPr>
        <p:spPr>
          <a:xfrm>
            <a:off x="3141270" y="3319529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 smtClean="0">
                <a:solidFill>
                  <a:srgbClr val="7F7E7E"/>
                </a:solidFill>
              </a:rPr>
              <a:t>.03s</a:t>
            </a:r>
            <a:endParaRPr lang="en-US" sz="1000" dirty="0">
              <a:solidFill>
                <a:srgbClr val="7F7E7E"/>
              </a:solidFill>
            </a:endParaRPr>
          </a:p>
        </p:txBody>
      </p:sp>
      <p:sp>
        <p:nvSpPr>
          <p:cNvPr id="61" name="Rectangle 60"/>
          <p:cNvSpPr/>
          <p:nvPr/>
        </p:nvSpPr>
        <p:spPr>
          <a:xfrm>
            <a:off x="4610317" y="1981200"/>
            <a:ext cx="1422040" cy="1524000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62" name="TextBox 61"/>
          <p:cNvSpPr txBox="1"/>
          <p:nvPr/>
        </p:nvSpPr>
        <p:spPr>
          <a:xfrm>
            <a:off x="4639943" y="3319529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 smtClean="0">
                <a:solidFill>
                  <a:srgbClr val="7F7E7E"/>
                </a:solidFill>
              </a:rPr>
              <a:t>.03s</a:t>
            </a:r>
            <a:endParaRPr lang="en-US" sz="1000" dirty="0">
              <a:solidFill>
                <a:srgbClr val="7F7E7E"/>
              </a:solidFill>
            </a:endParaRPr>
          </a:p>
        </p:txBody>
      </p:sp>
      <p:sp>
        <p:nvSpPr>
          <p:cNvPr id="59" name="Rectangle 58"/>
          <p:cNvSpPr/>
          <p:nvPr/>
        </p:nvSpPr>
        <p:spPr>
          <a:xfrm>
            <a:off x="6108989" y="1981200"/>
            <a:ext cx="1422040" cy="1524000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60" name="TextBox 59"/>
          <p:cNvSpPr txBox="1"/>
          <p:nvPr/>
        </p:nvSpPr>
        <p:spPr>
          <a:xfrm>
            <a:off x="6138615" y="3319529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 smtClean="0">
                <a:solidFill>
                  <a:srgbClr val="7F7E7E"/>
                </a:solidFill>
              </a:rPr>
              <a:t>.26s</a:t>
            </a:r>
            <a:endParaRPr lang="en-US" sz="1000" dirty="0">
              <a:solidFill>
                <a:srgbClr val="7F7E7E"/>
              </a:solidFill>
            </a:endParaRPr>
          </a:p>
        </p:txBody>
      </p:sp>
      <p:sp>
        <p:nvSpPr>
          <p:cNvPr id="57" name="Rectangle 56"/>
          <p:cNvSpPr/>
          <p:nvPr/>
        </p:nvSpPr>
        <p:spPr>
          <a:xfrm>
            <a:off x="7607660" y="1981200"/>
            <a:ext cx="1422040" cy="1524000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58" name="TextBox 57"/>
          <p:cNvSpPr txBox="1"/>
          <p:nvPr/>
        </p:nvSpPr>
        <p:spPr>
          <a:xfrm>
            <a:off x="7637286" y="3319529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 smtClean="0">
                <a:solidFill>
                  <a:srgbClr val="7F7E7E"/>
                </a:solidFill>
              </a:rPr>
              <a:t>.10s</a:t>
            </a:r>
            <a:endParaRPr lang="en-US" sz="1000" dirty="0">
              <a:solidFill>
                <a:srgbClr val="7F7E7E"/>
              </a:solidFill>
            </a:endParaRPr>
          </a:p>
        </p:txBody>
      </p:sp>
      <p:sp>
        <p:nvSpPr>
          <p:cNvPr id="86" name="Rectangle 85"/>
          <p:cNvSpPr/>
          <p:nvPr/>
        </p:nvSpPr>
        <p:spPr>
          <a:xfrm>
            <a:off x="114300" y="3581400"/>
            <a:ext cx="1422040" cy="1524000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87" name="TextBox 86"/>
          <p:cNvSpPr txBox="1"/>
          <p:nvPr/>
        </p:nvSpPr>
        <p:spPr>
          <a:xfrm>
            <a:off x="143926" y="4919729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 smtClean="0">
                <a:solidFill>
                  <a:srgbClr val="7F7E7E"/>
                </a:solidFill>
              </a:rPr>
              <a:t>.01s</a:t>
            </a:r>
            <a:endParaRPr lang="en-US" sz="1000" dirty="0">
              <a:solidFill>
                <a:srgbClr val="7F7E7E"/>
              </a:solidFill>
            </a:endParaRPr>
          </a:p>
        </p:txBody>
      </p:sp>
      <p:sp>
        <p:nvSpPr>
          <p:cNvPr id="84" name="Rectangle 83"/>
          <p:cNvSpPr/>
          <p:nvPr/>
        </p:nvSpPr>
        <p:spPr>
          <a:xfrm>
            <a:off x="1612972" y="3581400"/>
            <a:ext cx="1422040" cy="1524000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85" name="TextBox 84"/>
          <p:cNvSpPr txBox="1"/>
          <p:nvPr/>
        </p:nvSpPr>
        <p:spPr>
          <a:xfrm>
            <a:off x="1642598" y="4919729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 smtClean="0">
                <a:solidFill>
                  <a:srgbClr val="7F7E7E"/>
                </a:solidFill>
              </a:rPr>
              <a:t>8.45s</a:t>
            </a:r>
            <a:endParaRPr lang="en-US" sz="1000" dirty="0">
              <a:solidFill>
                <a:srgbClr val="7F7E7E"/>
              </a:solidFill>
            </a:endParaRPr>
          </a:p>
        </p:txBody>
      </p:sp>
      <p:sp>
        <p:nvSpPr>
          <p:cNvPr id="82" name="Rectangle 81"/>
          <p:cNvSpPr/>
          <p:nvPr/>
        </p:nvSpPr>
        <p:spPr>
          <a:xfrm>
            <a:off x="3111644" y="3581400"/>
            <a:ext cx="1422040" cy="1524000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83" name="TextBox 82"/>
          <p:cNvSpPr txBox="1"/>
          <p:nvPr/>
        </p:nvSpPr>
        <p:spPr>
          <a:xfrm>
            <a:off x="3141270" y="4919729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 smtClean="0">
                <a:solidFill>
                  <a:srgbClr val="7F7E7E"/>
                </a:solidFill>
              </a:rPr>
              <a:t>.03s</a:t>
            </a:r>
            <a:endParaRPr lang="en-US" sz="1000" dirty="0">
              <a:solidFill>
                <a:srgbClr val="7F7E7E"/>
              </a:solidFill>
            </a:endParaRPr>
          </a:p>
        </p:txBody>
      </p:sp>
      <p:sp>
        <p:nvSpPr>
          <p:cNvPr id="80" name="Rectangle 79"/>
          <p:cNvSpPr/>
          <p:nvPr/>
        </p:nvSpPr>
        <p:spPr>
          <a:xfrm>
            <a:off x="4610317" y="3581400"/>
            <a:ext cx="1422040" cy="1524000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81" name="TextBox 80"/>
          <p:cNvSpPr txBox="1"/>
          <p:nvPr/>
        </p:nvSpPr>
        <p:spPr>
          <a:xfrm>
            <a:off x="4639943" y="4919729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 smtClean="0">
                <a:solidFill>
                  <a:srgbClr val="7F7E7E"/>
                </a:solidFill>
              </a:rPr>
              <a:t>.04s</a:t>
            </a:r>
            <a:endParaRPr lang="en-US" sz="1000" dirty="0">
              <a:solidFill>
                <a:srgbClr val="7F7E7E"/>
              </a:solidFill>
            </a:endParaRPr>
          </a:p>
        </p:txBody>
      </p:sp>
      <p:sp>
        <p:nvSpPr>
          <p:cNvPr id="78" name="Rectangle 77"/>
          <p:cNvSpPr/>
          <p:nvPr/>
        </p:nvSpPr>
        <p:spPr>
          <a:xfrm>
            <a:off x="6108989" y="3581400"/>
            <a:ext cx="1422040" cy="1524000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79" name="TextBox 78"/>
          <p:cNvSpPr txBox="1"/>
          <p:nvPr/>
        </p:nvSpPr>
        <p:spPr>
          <a:xfrm>
            <a:off x="6138615" y="4919729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 smtClean="0">
                <a:solidFill>
                  <a:srgbClr val="7F7E7E"/>
                </a:solidFill>
              </a:rPr>
              <a:t>.31s</a:t>
            </a:r>
            <a:endParaRPr lang="en-US" sz="1000" dirty="0">
              <a:solidFill>
                <a:srgbClr val="7F7E7E"/>
              </a:solidFill>
            </a:endParaRPr>
          </a:p>
        </p:txBody>
      </p:sp>
      <p:sp>
        <p:nvSpPr>
          <p:cNvPr id="76" name="Rectangle 75"/>
          <p:cNvSpPr/>
          <p:nvPr/>
        </p:nvSpPr>
        <p:spPr>
          <a:xfrm>
            <a:off x="7607660" y="3581400"/>
            <a:ext cx="1422040" cy="1524000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77" name="TextBox 76"/>
          <p:cNvSpPr txBox="1"/>
          <p:nvPr/>
        </p:nvSpPr>
        <p:spPr>
          <a:xfrm>
            <a:off x="7637286" y="4919729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 smtClean="0">
                <a:solidFill>
                  <a:srgbClr val="7F7E7E"/>
                </a:solidFill>
              </a:rPr>
              <a:t>.11s</a:t>
            </a:r>
            <a:endParaRPr lang="en-US" sz="1000" dirty="0">
              <a:solidFill>
                <a:srgbClr val="7F7E7E"/>
              </a:solidFill>
            </a:endParaRPr>
          </a:p>
        </p:txBody>
      </p:sp>
      <p:sp>
        <p:nvSpPr>
          <p:cNvPr id="105" name="Rectangle 104"/>
          <p:cNvSpPr/>
          <p:nvPr/>
        </p:nvSpPr>
        <p:spPr>
          <a:xfrm>
            <a:off x="114300" y="5181600"/>
            <a:ext cx="1422040" cy="1524000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106" name="TextBox 105"/>
          <p:cNvSpPr txBox="1"/>
          <p:nvPr/>
        </p:nvSpPr>
        <p:spPr>
          <a:xfrm>
            <a:off x="143926" y="6519929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 smtClean="0">
                <a:solidFill>
                  <a:srgbClr val="7F7E7E"/>
                </a:solidFill>
              </a:rPr>
              <a:t>.02s</a:t>
            </a:r>
            <a:endParaRPr lang="en-US" sz="1000" dirty="0">
              <a:solidFill>
                <a:srgbClr val="7F7E7E"/>
              </a:solidFill>
            </a:endParaRPr>
          </a:p>
        </p:txBody>
      </p:sp>
      <p:sp>
        <p:nvSpPr>
          <p:cNvPr id="103" name="Rectangle 102"/>
          <p:cNvSpPr/>
          <p:nvPr/>
        </p:nvSpPr>
        <p:spPr>
          <a:xfrm>
            <a:off x="1612972" y="5181600"/>
            <a:ext cx="1422040" cy="1524000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104" name="TextBox 103"/>
          <p:cNvSpPr txBox="1"/>
          <p:nvPr/>
        </p:nvSpPr>
        <p:spPr>
          <a:xfrm>
            <a:off x="1642598" y="6519929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 smtClean="0">
                <a:solidFill>
                  <a:srgbClr val="7F7E7E"/>
                </a:solidFill>
              </a:rPr>
              <a:t>8.53s</a:t>
            </a:r>
            <a:endParaRPr lang="en-US" sz="1000" dirty="0">
              <a:solidFill>
                <a:srgbClr val="7F7E7E"/>
              </a:solidFill>
            </a:endParaRPr>
          </a:p>
        </p:txBody>
      </p:sp>
      <p:sp>
        <p:nvSpPr>
          <p:cNvPr id="101" name="Rectangle 100"/>
          <p:cNvSpPr/>
          <p:nvPr/>
        </p:nvSpPr>
        <p:spPr>
          <a:xfrm>
            <a:off x="3111644" y="5181600"/>
            <a:ext cx="1422040" cy="1524000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102" name="TextBox 101"/>
          <p:cNvSpPr txBox="1"/>
          <p:nvPr/>
        </p:nvSpPr>
        <p:spPr>
          <a:xfrm>
            <a:off x="3141270" y="6519929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 smtClean="0">
                <a:solidFill>
                  <a:srgbClr val="7F7E7E"/>
                </a:solidFill>
              </a:rPr>
              <a:t>.06s</a:t>
            </a:r>
            <a:endParaRPr lang="en-US" sz="1000" dirty="0">
              <a:solidFill>
                <a:srgbClr val="7F7E7E"/>
              </a:solidFill>
            </a:endParaRPr>
          </a:p>
        </p:txBody>
      </p:sp>
      <p:sp>
        <p:nvSpPr>
          <p:cNvPr id="99" name="Rectangle 98"/>
          <p:cNvSpPr/>
          <p:nvPr/>
        </p:nvSpPr>
        <p:spPr>
          <a:xfrm>
            <a:off x="4610317" y="5181600"/>
            <a:ext cx="1422040" cy="1524000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100" name="TextBox 99"/>
          <p:cNvSpPr txBox="1"/>
          <p:nvPr/>
        </p:nvSpPr>
        <p:spPr>
          <a:xfrm>
            <a:off x="4639943" y="6519929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 smtClean="0">
                <a:solidFill>
                  <a:srgbClr val="7F7E7E"/>
                </a:solidFill>
              </a:rPr>
              <a:t>.08s</a:t>
            </a:r>
            <a:endParaRPr lang="en-US" sz="1000" dirty="0">
              <a:solidFill>
                <a:srgbClr val="7F7E7E"/>
              </a:solidFill>
            </a:endParaRPr>
          </a:p>
        </p:txBody>
      </p:sp>
      <p:sp>
        <p:nvSpPr>
          <p:cNvPr id="97" name="Rectangle 96"/>
          <p:cNvSpPr/>
          <p:nvPr/>
        </p:nvSpPr>
        <p:spPr>
          <a:xfrm>
            <a:off x="6108989" y="5181600"/>
            <a:ext cx="1422040" cy="1524000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98" name="TextBox 97"/>
          <p:cNvSpPr txBox="1"/>
          <p:nvPr/>
        </p:nvSpPr>
        <p:spPr>
          <a:xfrm>
            <a:off x="6138615" y="6519929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 smtClean="0">
                <a:solidFill>
                  <a:srgbClr val="7F7E7E"/>
                </a:solidFill>
              </a:rPr>
              <a:t>.21s</a:t>
            </a:r>
            <a:endParaRPr lang="en-US" sz="1000" dirty="0">
              <a:solidFill>
                <a:srgbClr val="7F7E7E"/>
              </a:solidFill>
            </a:endParaRPr>
          </a:p>
        </p:txBody>
      </p:sp>
      <p:sp>
        <p:nvSpPr>
          <p:cNvPr id="95" name="Rectangle 94"/>
          <p:cNvSpPr/>
          <p:nvPr/>
        </p:nvSpPr>
        <p:spPr>
          <a:xfrm>
            <a:off x="7607660" y="5181600"/>
            <a:ext cx="1422040" cy="1524000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96" name="TextBox 95"/>
          <p:cNvSpPr txBox="1"/>
          <p:nvPr/>
        </p:nvSpPr>
        <p:spPr>
          <a:xfrm>
            <a:off x="7637286" y="6519929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 smtClean="0">
                <a:solidFill>
                  <a:srgbClr val="7F7E7E"/>
                </a:solidFill>
              </a:rPr>
              <a:t>.10s</a:t>
            </a:r>
            <a:endParaRPr lang="en-US" sz="1000" dirty="0">
              <a:solidFill>
                <a:srgbClr val="7F7E7E"/>
              </a:solidFill>
            </a:endParaRPr>
          </a:p>
        </p:txBody>
      </p:sp>
      <p:sp>
        <p:nvSpPr>
          <p:cNvPr id="108" name="TextBox 107"/>
          <p:cNvSpPr txBox="1"/>
          <p:nvPr/>
        </p:nvSpPr>
        <p:spPr>
          <a:xfrm>
            <a:off x="143926" y="228600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b="1" dirty="0" err="1" smtClean="0">
                <a:solidFill>
                  <a:srgbClr val="7F7E7E"/>
                </a:solidFill>
              </a:rPr>
              <a:t>MiniBatchKMeans</a:t>
            </a:r>
            <a:endParaRPr lang="en-US" sz="1000" b="1" dirty="0">
              <a:solidFill>
                <a:srgbClr val="7F7E7E"/>
              </a:solidFill>
            </a:endParaRPr>
          </a:p>
        </p:txBody>
      </p:sp>
      <p:sp>
        <p:nvSpPr>
          <p:cNvPr id="109" name="TextBox 108"/>
          <p:cNvSpPr txBox="1"/>
          <p:nvPr/>
        </p:nvSpPr>
        <p:spPr>
          <a:xfrm>
            <a:off x="1642598" y="228600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b="1" dirty="0" err="1" smtClean="0">
                <a:solidFill>
                  <a:srgbClr val="7F7E7E"/>
                </a:solidFill>
              </a:rPr>
              <a:t>AffinityPropagation</a:t>
            </a:r>
            <a:endParaRPr lang="en-US" sz="1000" b="1" dirty="0">
              <a:solidFill>
                <a:srgbClr val="7F7E7E"/>
              </a:solidFill>
            </a:endParaRPr>
          </a:p>
        </p:txBody>
      </p:sp>
      <p:sp>
        <p:nvSpPr>
          <p:cNvPr id="110" name="TextBox 109"/>
          <p:cNvSpPr txBox="1"/>
          <p:nvPr/>
        </p:nvSpPr>
        <p:spPr>
          <a:xfrm>
            <a:off x="3141270" y="228600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b="1" dirty="0" err="1" smtClean="0">
                <a:solidFill>
                  <a:srgbClr val="7F7E7E"/>
                </a:solidFill>
              </a:rPr>
              <a:t>MeanShift</a:t>
            </a:r>
            <a:endParaRPr lang="en-US" sz="1000" b="1" dirty="0">
              <a:solidFill>
                <a:srgbClr val="7F7E7E"/>
              </a:solidFill>
            </a:endParaRPr>
          </a:p>
        </p:txBody>
      </p:sp>
      <p:sp>
        <p:nvSpPr>
          <p:cNvPr id="111" name="TextBox 110"/>
          <p:cNvSpPr txBox="1"/>
          <p:nvPr/>
        </p:nvSpPr>
        <p:spPr>
          <a:xfrm>
            <a:off x="4639943" y="228600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b="1" dirty="0" err="1" smtClean="0">
                <a:solidFill>
                  <a:srgbClr val="7F7E7E"/>
                </a:solidFill>
              </a:rPr>
              <a:t>SpectralClustering</a:t>
            </a:r>
            <a:endParaRPr lang="en-US" sz="1000" b="1" dirty="0">
              <a:solidFill>
                <a:srgbClr val="7F7E7E"/>
              </a:solidFill>
            </a:endParaRPr>
          </a:p>
        </p:txBody>
      </p:sp>
      <p:sp>
        <p:nvSpPr>
          <p:cNvPr id="112" name="TextBox 111"/>
          <p:cNvSpPr txBox="1"/>
          <p:nvPr/>
        </p:nvSpPr>
        <p:spPr>
          <a:xfrm>
            <a:off x="6138615" y="228600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b="1" dirty="0" smtClean="0">
                <a:solidFill>
                  <a:srgbClr val="7F7E7E"/>
                </a:solidFill>
              </a:rPr>
              <a:t>Ward</a:t>
            </a:r>
            <a:endParaRPr lang="en-US" sz="1000" b="1" dirty="0">
              <a:solidFill>
                <a:srgbClr val="7F7E7E"/>
              </a:solidFill>
            </a:endParaRPr>
          </a:p>
        </p:txBody>
      </p:sp>
      <p:sp>
        <p:nvSpPr>
          <p:cNvPr id="113" name="TextBox 112"/>
          <p:cNvSpPr txBox="1"/>
          <p:nvPr/>
        </p:nvSpPr>
        <p:spPr>
          <a:xfrm>
            <a:off x="7637286" y="228600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b="1" dirty="0" smtClean="0">
                <a:solidFill>
                  <a:srgbClr val="7F7E7E"/>
                </a:solidFill>
              </a:rPr>
              <a:t>DBSCAN</a:t>
            </a:r>
            <a:endParaRPr lang="en-US" sz="1000" b="1" dirty="0">
              <a:solidFill>
                <a:srgbClr val="7F7E7E"/>
              </a:solidFill>
            </a:endParaRPr>
          </a:p>
        </p:txBody>
      </p:sp>
      <p:grpSp>
        <p:nvGrpSpPr>
          <p:cNvPr id="118" name="Group 117"/>
          <p:cNvGrpSpPr/>
          <p:nvPr/>
        </p:nvGrpSpPr>
        <p:grpSpPr>
          <a:xfrm>
            <a:off x="1752600" y="457200"/>
            <a:ext cx="1185755" cy="1245801"/>
            <a:chOff x="1752600" y="457200"/>
            <a:chExt cx="1185755" cy="1245801"/>
          </a:xfrm>
        </p:grpSpPr>
        <p:pic>
          <p:nvPicPr>
            <p:cNvPr id="115" name="Picture 114"/>
            <p:cNvPicPr>
              <a:picLocks noChangeAspect="1"/>
            </p:cNvPicPr>
            <p:nvPr/>
          </p:nvPicPr>
          <p:blipFill rotWithShape="1">
            <a:blip r:embed="rId6"/>
            <a:srcRect l="3497"/>
            <a:stretch/>
          </p:blipFill>
          <p:spPr>
            <a:xfrm>
              <a:off x="1752600" y="457200"/>
              <a:ext cx="1185755" cy="1219200"/>
            </a:xfrm>
            <a:prstGeom prst="rect">
              <a:avLst/>
            </a:prstGeom>
          </p:spPr>
        </p:pic>
        <p:sp>
          <p:nvSpPr>
            <p:cNvPr id="117" name="Rectangle 116"/>
            <p:cNvSpPr/>
            <p:nvPr/>
          </p:nvSpPr>
          <p:spPr>
            <a:xfrm>
              <a:off x="2631502" y="1569651"/>
              <a:ext cx="306853" cy="13335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/>
            </a:p>
          </p:txBody>
        </p:sp>
      </p:grpSp>
      <p:grpSp>
        <p:nvGrpSpPr>
          <p:cNvPr id="121" name="Group 120"/>
          <p:cNvGrpSpPr/>
          <p:nvPr/>
        </p:nvGrpSpPr>
        <p:grpSpPr>
          <a:xfrm>
            <a:off x="3212253" y="457200"/>
            <a:ext cx="1220823" cy="1219200"/>
            <a:chOff x="3198777" y="457200"/>
            <a:chExt cx="1220823" cy="1219200"/>
          </a:xfrm>
        </p:grpSpPr>
        <p:pic>
          <p:nvPicPr>
            <p:cNvPr id="119" name="Picture 118"/>
            <p:cNvPicPr>
              <a:picLocks noChangeAspect="1"/>
            </p:cNvPicPr>
            <p:nvPr/>
          </p:nvPicPr>
          <p:blipFill rotWithShape="1">
            <a:blip r:embed="rId7"/>
            <a:srcRect r="2160"/>
            <a:stretch/>
          </p:blipFill>
          <p:spPr>
            <a:xfrm>
              <a:off x="3198777" y="457200"/>
              <a:ext cx="1220823" cy="1219200"/>
            </a:xfrm>
            <a:prstGeom prst="rect">
              <a:avLst/>
            </a:prstGeom>
          </p:spPr>
        </p:pic>
        <p:sp>
          <p:nvSpPr>
            <p:cNvPr id="120" name="Rectangle 119"/>
            <p:cNvSpPr/>
            <p:nvPr/>
          </p:nvSpPr>
          <p:spPr>
            <a:xfrm>
              <a:off x="4121113" y="1543050"/>
              <a:ext cx="298487" cy="13335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/>
            </a:p>
          </p:txBody>
        </p:sp>
      </p:grpSp>
      <p:grpSp>
        <p:nvGrpSpPr>
          <p:cNvPr id="125" name="Group 124"/>
          <p:cNvGrpSpPr/>
          <p:nvPr/>
        </p:nvGrpSpPr>
        <p:grpSpPr>
          <a:xfrm>
            <a:off x="4711737" y="494527"/>
            <a:ext cx="1219200" cy="1219200"/>
            <a:chOff x="4724400" y="494527"/>
            <a:chExt cx="1219200" cy="1219200"/>
          </a:xfrm>
        </p:grpSpPr>
        <p:pic>
          <p:nvPicPr>
            <p:cNvPr id="122" name="Picture 121"/>
            <p:cNvPicPr>
              <a:picLocks noChangeAspect="1"/>
            </p:cNvPicPr>
            <p:nvPr/>
          </p:nvPicPr>
          <p:blipFill rotWithShape="1">
            <a:blip r:embed="rId8"/>
            <a:srcRect l="596" r="943"/>
            <a:stretch/>
          </p:blipFill>
          <p:spPr>
            <a:xfrm>
              <a:off x="4724400" y="494527"/>
              <a:ext cx="1219200" cy="1219200"/>
            </a:xfrm>
            <a:prstGeom prst="rect">
              <a:avLst/>
            </a:prstGeom>
          </p:spPr>
        </p:pic>
        <p:sp>
          <p:nvSpPr>
            <p:cNvPr id="123" name="Rectangle 122"/>
            <p:cNvSpPr/>
            <p:nvPr/>
          </p:nvSpPr>
          <p:spPr>
            <a:xfrm>
              <a:off x="5645113" y="1580377"/>
              <a:ext cx="298487" cy="13335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/>
            </a:p>
          </p:txBody>
        </p:sp>
      </p:grpSp>
      <p:grpSp>
        <p:nvGrpSpPr>
          <p:cNvPr id="128" name="Group 127"/>
          <p:cNvGrpSpPr/>
          <p:nvPr/>
        </p:nvGrpSpPr>
        <p:grpSpPr>
          <a:xfrm>
            <a:off x="6206944" y="509201"/>
            <a:ext cx="1226130" cy="1200150"/>
            <a:chOff x="6206944" y="509201"/>
            <a:chExt cx="1226130" cy="1200150"/>
          </a:xfrm>
        </p:grpSpPr>
        <p:pic>
          <p:nvPicPr>
            <p:cNvPr id="126" name="Picture 125"/>
            <p:cNvPicPr>
              <a:picLocks noChangeAspect="1"/>
            </p:cNvPicPr>
            <p:nvPr/>
          </p:nvPicPr>
          <p:blipFill rotWithShape="1">
            <a:blip r:embed="rId9"/>
            <a:srcRect l="1734" r="-1"/>
            <a:stretch/>
          </p:blipFill>
          <p:spPr>
            <a:xfrm>
              <a:off x="6206944" y="509201"/>
              <a:ext cx="1226130" cy="1200150"/>
            </a:xfrm>
            <a:prstGeom prst="rect">
              <a:avLst/>
            </a:prstGeom>
          </p:spPr>
        </p:pic>
        <p:sp>
          <p:nvSpPr>
            <p:cNvPr id="127" name="Rectangle 126"/>
            <p:cNvSpPr/>
            <p:nvPr/>
          </p:nvSpPr>
          <p:spPr>
            <a:xfrm>
              <a:off x="7134587" y="1576001"/>
              <a:ext cx="298487" cy="13335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/>
            </a:p>
          </p:txBody>
        </p:sp>
      </p:grpSp>
      <p:grpSp>
        <p:nvGrpSpPr>
          <p:cNvPr id="131" name="Group 130"/>
          <p:cNvGrpSpPr/>
          <p:nvPr/>
        </p:nvGrpSpPr>
        <p:grpSpPr>
          <a:xfrm>
            <a:off x="7718605" y="458401"/>
            <a:ext cx="1200150" cy="1219200"/>
            <a:chOff x="7698581" y="452051"/>
            <a:chExt cx="1200150" cy="1219200"/>
          </a:xfrm>
        </p:grpSpPr>
        <p:pic>
          <p:nvPicPr>
            <p:cNvPr id="129" name="Picture 128"/>
            <p:cNvPicPr>
              <a:picLocks noChangeAspect="1"/>
            </p:cNvPicPr>
            <p:nvPr/>
          </p:nvPicPr>
          <p:blipFill rotWithShape="1">
            <a:blip r:embed="rId10"/>
            <a:srcRect l="1563"/>
            <a:stretch/>
          </p:blipFill>
          <p:spPr>
            <a:xfrm>
              <a:off x="7698581" y="452051"/>
              <a:ext cx="1200150" cy="1219200"/>
            </a:xfrm>
            <a:prstGeom prst="rect">
              <a:avLst/>
            </a:prstGeom>
          </p:spPr>
        </p:pic>
        <p:sp>
          <p:nvSpPr>
            <p:cNvPr id="130" name="Rectangle 129"/>
            <p:cNvSpPr/>
            <p:nvPr/>
          </p:nvSpPr>
          <p:spPr>
            <a:xfrm>
              <a:off x="8600244" y="1537901"/>
              <a:ext cx="298487" cy="13335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/>
            </a:p>
          </p:txBody>
        </p:sp>
      </p:grpSp>
      <p:grpSp>
        <p:nvGrpSpPr>
          <p:cNvPr id="134" name="Group 133"/>
          <p:cNvGrpSpPr/>
          <p:nvPr/>
        </p:nvGrpSpPr>
        <p:grpSpPr>
          <a:xfrm>
            <a:off x="215720" y="2061776"/>
            <a:ext cx="1219200" cy="1228725"/>
            <a:chOff x="215720" y="2061776"/>
            <a:chExt cx="1219200" cy="1228725"/>
          </a:xfrm>
        </p:grpSpPr>
        <p:pic>
          <p:nvPicPr>
            <p:cNvPr id="132" name="Picture 131"/>
            <p:cNvPicPr>
              <a:picLocks noChangeAspect="1"/>
            </p:cNvPicPr>
            <p:nvPr/>
          </p:nvPicPr>
          <p:blipFill>
            <a:blip r:embed="rId11"/>
            <a:stretch>
              <a:fillRect/>
            </a:stretch>
          </p:blipFill>
          <p:spPr>
            <a:xfrm>
              <a:off x="215720" y="2061776"/>
              <a:ext cx="1219200" cy="1228725"/>
            </a:xfrm>
            <a:prstGeom prst="rect">
              <a:avLst/>
            </a:prstGeom>
          </p:spPr>
        </p:pic>
        <p:sp>
          <p:nvSpPr>
            <p:cNvPr id="133" name="Rectangle 132"/>
            <p:cNvSpPr/>
            <p:nvPr/>
          </p:nvSpPr>
          <p:spPr>
            <a:xfrm>
              <a:off x="1204913" y="3190875"/>
              <a:ext cx="230007" cy="9962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/>
            </a:p>
          </p:txBody>
        </p:sp>
      </p:grpSp>
      <p:grpSp>
        <p:nvGrpSpPr>
          <p:cNvPr id="137" name="Group 136"/>
          <p:cNvGrpSpPr/>
          <p:nvPr/>
        </p:nvGrpSpPr>
        <p:grpSpPr>
          <a:xfrm>
            <a:off x="1720849" y="2041525"/>
            <a:ext cx="1222267" cy="1231900"/>
            <a:chOff x="1720849" y="2041525"/>
            <a:chExt cx="1222267" cy="1231900"/>
          </a:xfrm>
        </p:grpSpPr>
        <p:pic>
          <p:nvPicPr>
            <p:cNvPr id="135" name="Picture 134"/>
            <p:cNvPicPr>
              <a:picLocks noChangeAspect="1"/>
            </p:cNvPicPr>
            <p:nvPr/>
          </p:nvPicPr>
          <p:blipFill rotWithShape="1">
            <a:blip r:embed="rId12"/>
            <a:srcRect l="1291" t="1272" b="1"/>
            <a:stretch/>
          </p:blipFill>
          <p:spPr>
            <a:xfrm>
              <a:off x="1720849" y="2041525"/>
              <a:ext cx="1222267" cy="1231900"/>
            </a:xfrm>
            <a:prstGeom prst="rect">
              <a:avLst/>
            </a:prstGeom>
          </p:spPr>
        </p:pic>
        <p:sp>
          <p:nvSpPr>
            <p:cNvPr id="136" name="Rectangle 135"/>
            <p:cNvSpPr/>
            <p:nvPr/>
          </p:nvSpPr>
          <p:spPr>
            <a:xfrm>
              <a:off x="2631502" y="3169851"/>
              <a:ext cx="311614" cy="103574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/>
            </a:p>
          </p:txBody>
        </p:sp>
      </p:grpSp>
      <p:grpSp>
        <p:nvGrpSpPr>
          <p:cNvPr id="140" name="Group 139"/>
          <p:cNvGrpSpPr/>
          <p:nvPr/>
        </p:nvGrpSpPr>
        <p:grpSpPr>
          <a:xfrm>
            <a:off x="244295" y="3642926"/>
            <a:ext cx="1190625" cy="1171575"/>
            <a:chOff x="244295" y="3642926"/>
            <a:chExt cx="1190625" cy="1171575"/>
          </a:xfrm>
        </p:grpSpPr>
        <p:pic>
          <p:nvPicPr>
            <p:cNvPr id="138" name="Picture 137"/>
            <p:cNvPicPr>
              <a:picLocks noChangeAspect="1"/>
            </p:cNvPicPr>
            <p:nvPr/>
          </p:nvPicPr>
          <p:blipFill>
            <a:blip r:embed="rId13"/>
            <a:stretch>
              <a:fillRect/>
            </a:stretch>
          </p:blipFill>
          <p:spPr>
            <a:xfrm>
              <a:off x="244295" y="3642926"/>
              <a:ext cx="1190625" cy="1171575"/>
            </a:xfrm>
            <a:prstGeom prst="rect">
              <a:avLst/>
            </a:prstGeom>
          </p:spPr>
        </p:pic>
        <p:sp>
          <p:nvSpPr>
            <p:cNvPr id="139" name="Rectangle 138"/>
            <p:cNvSpPr/>
            <p:nvPr/>
          </p:nvSpPr>
          <p:spPr>
            <a:xfrm>
              <a:off x="1136433" y="4681151"/>
              <a:ext cx="298487" cy="13335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/>
            </a:p>
          </p:txBody>
        </p:sp>
      </p:grpSp>
      <p:pic>
        <p:nvPicPr>
          <p:cNvPr id="141" name="Picture 140"/>
          <p:cNvPicPr>
            <a:picLocks noChangeAspect="1"/>
          </p:cNvPicPr>
          <p:nvPr/>
        </p:nvPicPr>
        <p:blipFill rotWithShape="1">
          <a:blip r:embed="rId14"/>
          <a:srcRect r="4809" b="6589"/>
          <a:stretch/>
        </p:blipFill>
        <p:spPr>
          <a:xfrm>
            <a:off x="111289" y="5232656"/>
            <a:ext cx="1428062" cy="1234566"/>
          </a:xfrm>
          <a:prstGeom prst="rect">
            <a:avLst/>
          </a:prstGeom>
        </p:spPr>
      </p:pic>
      <p:pic>
        <p:nvPicPr>
          <p:cNvPr id="142" name="Picture 141"/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1619696" y="5232475"/>
            <a:ext cx="1408594" cy="1239690"/>
          </a:xfrm>
          <a:prstGeom prst="rect">
            <a:avLst/>
          </a:prstGeom>
        </p:spPr>
      </p:pic>
      <p:pic>
        <p:nvPicPr>
          <p:cNvPr id="143" name="Picture 142"/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3124093" y="5232834"/>
            <a:ext cx="1397142" cy="1229446"/>
          </a:xfrm>
          <a:prstGeom prst="rect">
            <a:avLst/>
          </a:prstGeom>
        </p:spPr>
      </p:pic>
      <p:pic>
        <p:nvPicPr>
          <p:cNvPr id="144" name="Picture 143"/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4639945" y="5232114"/>
            <a:ext cx="1362786" cy="1249936"/>
          </a:xfrm>
          <a:prstGeom prst="rect">
            <a:avLst/>
          </a:prstGeom>
        </p:spPr>
      </p:pic>
      <p:pic>
        <p:nvPicPr>
          <p:cNvPr id="145" name="Picture 144"/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>
            <a:off x="6121438" y="5233196"/>
            <a:ext cx="1397142" cy="1219198"/>
          </a:xfrm>
          <a:prstGeom prst="rect">
            <a:avLst/>
          </a:prstGeom>
        </p:spPr>
      </p:pic>
      <p:pic>
        <p:nvPicPr>
          <p:cNvPr id="146" name="Picture 145"/>
          <p:cNvPicPr>
            <a:picLocks noChangeAspect="1"/>
          </p:cNvPicPr>
          <p:nvPr/>
        </p:nvPicPr>
        <p:blipFill>
          <a:blip r:embed="rId19"/>
          <a:stretch>
            <a:fillRect/>
          </a:stretch>
        </p:blipFill>
        <p:spPr>
          <a:xfrm>
            <a:off x="7625836" y="5233196"/>
            <a:ext cx="1385690" cy="1219198"/>
          </a:xfrm>
          <a:prstGeom prst="rect">
            <a:avLst/>
          </a:prstGeom>
        </p:spPr>
      </p:pic>
      <p:grpSp>
        <p:nvGrpSpPr>
          <p:cNvPr id="149" name="Group 148"/>
          <p:cNvGrpSpPr/>
          <p:nvPr/>
        </p:nvGrpSpPr>
        <p:grpSpPr>
          <a:xfrm>
            <a:off x="1766780" y="3642926"/>
            <a:ext cx="1114425" cy="1162050"/>
            <a:chOff x="1766780" y="3642926"/>
            <a:chExt cx="1114425" cy="1162050"/>
          </a:xfrm>
        </p:grpSpPr>
        <p:pic>
          <p:nvPicPr>
            <p:cNvPr id="147" name="Picture 146"/>
            <p:cNvPicPr>
              <a:picLocks noChangeAspect="1"/>
            </p:cNvPicPr>
            <p:nvPr/>
          </p:nvPicPr>
          <p:blipFill>
            <a:blip r:embed="rId20"/>
            <a:stretch>
              <a:fillRect/>
            </a:stretch>
          </p:blipFill>
          <p:spPr>
            <a:xfrm>
              <a:off x="1766780" y="3642926"/>
              <a:ext cx="1114425" cy="1162050"/>
            </a:xfrm>
            <a:prstGeom prst="rect">
              <a:avLst/>
            </a:prstGeom>
          </p:spPr>
        </p:pic>
        <p:sp>
          <p:nvSpPr>
            <p:cNvPr id="148" name="Rectangle 147"/>
            <p:cNvSpPr/>
            <p:nvPr/>
          </p:nvSpPr>
          <p:spPr>
            <a:xfrm>
              <a:off x="2582718" y="4671626"/>
              <a:ext cx="298487" cy="13335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/>
            </a:p>
          </p:txBody>
        </p:sp>
      </p:grpSp>
      <p:grpSp>
        <p:nvGrpSpPr>
          <p:cNvPr id="152" name="Group 151"/>
          <p:cNvGrpSpPr/>
          <p:nvPr/>
        </p:nvGrpSpPr>
        <p:grpSpPr>
          <a:xfrm>
            <a:off x="3274976" y="3642926"/>
            <a:ext cx="1095375" cy="1200150"/>
            <a:chOff x="3274976" y="3664934"/>
            <a:chExt cx="1095375" cy="1200150"/>
          </a:xfrm>
        </p:grpSpPr>
        <p:pic>
          <p:nvPicPr>
            <p:cNvPr id="150" name="Picture 149"/>
            <p:cNvPicPr>
              <a:picLocks noChangeAspect="1"/>
            </p:cNvPicPr>
            <p:nvPr/>
          </p:nvPicPr>
          <p:blipFill>
            <a:blip r:embed="rId21"/>
            <a:stretch>
              <a:fillRect/>
            </a:stretch>
          </p:blipFill>
          <p:spPr>
            <a:xfrm>
              <a:off x="3274976" y="3664934"/>
              <a:ext cx="1095375" cy="1200150"/>
            </a:xfrm>
            <a:prstGeom prst="rect">
              <a:avLst/>
            </a:prstGeom>
          </p:spPr>
        </p:pic>
        <p:sp>
          <p:nvSpPr>
            <p:cNvPr id="151" name="Rectangle 150"/>
            <p:cNvSpPr/>
            <p:nvPr/>
          </p:nvSpPr>
          <p:spPr>
            <a:xfrm>
              <a:off x="4071864" y="4731734"/>
              <a:ext cx="298487" cy="13335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/>
            </a:p>
          </p:txBody>
        </p:sp>
      </p:grpSp>
      <p:grpSp>
        <p:nvGrpSpPr>
          <p:cNvPr id="155" name="Group 154"/>
          <p:cNvGrpSpPr/>
          <p:nvPr/>
        </p:nvGrpSpPr>
        <p:grpSpPr>
          <a:xfrm>
            <a:off x="4778412" y="3642926"/>
            <a:ext cx="1085850" cy="1200150"/>
            <a:chOff x="4778412" y="3654756"/>
            <a:chExt cx="1085850" cy="1200150"/>
          </a:xfrm>
        </p:grpSpPr>
        <p:pic>
          <p:nvPicPr>
            <p:cNvPr id="153" name="Picture 152"/>
            <p:cNvPicPr>
              <a:picLocks noChangeAspect="1"/>
            </p:cNvPicPr>
            <p:nvPr/>
          </p:nvPicPr>
          <p:blipFill>
            <a:blip r:embed="rId22"/>
            <a:stretch>
              <a:fillRect/>
            </a:stretch>
          </p:blipFill>
          <p:spPr>
            <a:xfrm>
              <a:off x="4778412" y="3654756"/>
              <a:ext cx="1085850" cy="1200150"/>
            </a:xfrm>
            <a:prstGeom prst="rect">
              <a:avLst/>
            </a:prstGeom>
          </p:spPr>
        </p:pic>
        <p:sp>
          <p:nvSpPr>
            <p:cNvPr id="154" name="Rectangle 153"/>
            <p:cNvSpPr/>
            <p:nvPr/>
          </p:nvSpPr>
          <p:spPr>
            <a:xfrm>
              <a:off x="5565775" y="4721556"/>
              <a:ext cx="298487" cy="13335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/>
            </a:p>
          </p:txBody>
        </p:sp>
      </p:grpSp>
      <p:grpSp>
        <p:nvGrpSpPr>
          <p:cNvPr id="158" name="Group 157"/>
          <p:cNvGrpSpPr/>
          <p:nvPr/>
        </p:nvGrpSpPr>
        <p:grpSpPr>
          <a:xfrm>
            <a:off x="6305659" y="3642926"/>
            <a:ext cx="1028700" cy="1171575"/>
            <a:chOff x="6305659" y="3718289"/>
            <a:chExt cx="1028700" cy="1171575"/>
          </a:xfrm>
        </p:grpSpPr>
        <p:pic>
          <p:nvPicPr>
            <p:cNvPr id="156" name="Picture 155"/>
            <p:cNvPicPr>
              <a:picLocks noChangeAspect="1"/>
            </p:cNvPicPr>
            <p:nvPr/>
          </p:nvPicPr>
          <p:blipFill>
            <a:blip r:embed="rId23"/>
            <a:stretch>
              <a:fillRect/>
            </a:stretch>
          </p:blipFill>
          <p:spPr>
            <a:xfrm>
              <a:off x="6305659" y="3718289"/>
              <a:ext cx="1028700" cy="1171575"/>
            </a:xfrm>
            <a:prstGeom prst="rect">
              <a:avLst/>
            </a:prstGeom>
          </p:spPr>
        </p:pic>
        <p:sp>
          <p:nvSpPr>
            <p:cNvPr id="157" name="Rectangle 156"/>
            <p:cNvSpPr/>
            <p:nvPr/>
          </p:nvSpPr>
          <p:spPr>
            <a:xfrm>
              <a:off x="7035872" y="4756514"/>
              <a:ext cx="298487" cy="13335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/>
            </a:p>
          </p:txBody>
        </p:sp>
      </p:grpSp>
      <p:pic>
        <p:nvPicPr>
          <p:cNvPr id="159" name="Picture 158"/>
          <p:cNvPicPr>
            <a:picLocks noChangeAspect="1"/>
          </p:cNvPicPr>
          <p:nvPr/>
        </p:nvPicPr>
        <p:blipFill rotWithShape="1">
          <a:blip r:embed="rId24"/>
          <a:srcRect r="1655"/>
          <a:stretch/>
        </p:blipFill>
        <p:spPr>
          <a:xfrm>
            <a:off x="7884677" y="3642926"/>
            <a:ext cx="1011673" cy="1190625"/>
          </a:xfrm>
          <a:prstGeom prst="rect">
            <a:avLst/>
          </a:prstGeom>
        </p:spPr>
      </p:pic>
      <p:grpSp>
        <p:nvGrpSpPr>
          <p:cNvPr id="173" name="Group 172"/>
          <p:cNvGrpSpPr/>
          <p:nvPr/>
        </p:nvGrpSpPr>
        <p:grpSpPr>
          <a:xfrm>
            <a:off x="209153" y="452051"/>
            <a:ext cx="1279760" cy="1257300"/>
            <a:chOff x="209153" y="452051"/>
            <a:chExt cx="1279760" cy="1257300"/>
          </a:xfrm>
        </p:grpSpPr>
        <p:pic>
          <p:nvPicPr>
            <p:cNvPr id="114" name="Picture 113"/>
            <p:cNvPicPr>
              <a:picLocks noChangeAspect="1"/>
            </p:cNvPicPr>
            <p:nvPr/>
          </p:nvPicPr>
          <p:blipFill rotWithShape="1">
            <a:blip r:embed="rId25"/>
            <a:srcRect r="2020"/>
            <a:stretch/>
          </p:blipFill>
          <p:spPr>
            <a:xfrm>
              <a:off x="209153" y="452051"/>
              <a:ext cx="1232334" cy="1257300"/>
            </a:xfrm>
            <a:prstGeom prst="rect">
              <a:avLst/>
            </a:prstGeom>
          </p:spPr>
        </p:pic>
        <p:sp>
          <p:nvSpPr>
            <p:cNvPr id="116" name="Rectangle 115"/>
            <p:cNvSpPr/>
            <p:nvPr/>
          </p:nvSpPr>
          <p:spPr>
            <a:xfrm>
              <a:off x="1190426" y="1576001"/>
              <a:ext cx="298487" cy="13335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/>
            </a:p>
          </p:txBody>
        </p:sp>
      </p:grpSp>
      <p:grpSp>
        <p:nvGrpSpPr>
          <p:cNvPr id="163" name="Group 162"/>
          <p:cNvGrpSpPr/>
          <p:nvPr/>
        </p:nvGrpSpPr>
        <p:grpSpPr>
          <a:xfrm>
            <a:off x="3217827" y="2041525"/>
            <a:ext cx="1209675" cy="1200150"/>
            <a:chOff x="3217827" y="2041525"/>
            <a:chExt cx="1209675" cy="1200150"/>
          </a:xfrm>
        </p:grpSpPr>
        <p:pic>
          <p:nvPicPr>
            <p:cNvPr id="160" name="Picture 159"/>
            <p:cNvPicPr>
              <a:picLocks noChangeAspect="1"/>
            </p:cNvPicPr>
            <p:nvPr/>
          </p:nvPicPr>
          <p:blipFill>
            <a:blip r:embed="rId26"/>
            <a:stretch>
              <a:fillRect/>
            </a:stretch>
          </p:blipFill>
          <p:spPr>
            <a:xfrm>
              <a:off x="3217827" y="2041525"/>
              <a:ext cx="1209675" cy="1200150"/>
            </a:xfrm>
            <a:prstGeom prst="rect">
              <a:avLst/>
            </a:prstGeom>
          </p:spPr>
        </p:pic>
        <p:sp>
          <p:nvSpPr>
            <p:cNvPr id="162" name="Rectangle 161"/>
            <p:cNvSpPr/>
            <p:nvPr/>
          </p:nvSpPr>
          <p:spPr>
            <a:xfrm>
              <a:off x="4198144" y="3138101"/>
              <a:ext cx="229358" cy="103574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/>
            </a:p>
          </p:txBody>
        </p:sp>
      </p:grpSp>
      <p:grpSp>
        <p:nvGrpSpPr>
          <p:cNvPr id="166" name="Group 165"/>
          <p:cNvGrpSpPr/>
          <p:nvPr/>
        </p:nvGrpSpPr>
        <p:grpSpPr>
          <a:xfrm>
            <a:off x="4712494" y="2041525"/>
            <a:ext cx="1208882" cy="1209675"/>
            <a:chOff x="4712494" y="2041525"/>
            <a:chExt cx="1208882" cy="1209675"/>
          </a:xfrm>
        </p:grpSpPr>
        <p:pic>
          <p:nvPicPr>
            <p:cNvPr id="164" name="Picture 163"/>
            <p:cNvPicPr>
              <a:picLocks noChangeAspect="1"/>
            </p:cNvPicPr>
            <p:nvPr/>
          </p:nvPicPr>
          <p:blipFill rotWithShape="1">
            <a:blip r:embed="rId27"/>
            <a:srcRect l="1575" r="2275"/>
            <a:stretch/>
          </p:blipFill>
          <p:spPr>
            <a:xfrm>
              <a:off x="4712494" y="2041525"/>
              <a:ext cx="1208882" cy="1209675"/>
            </a:xfrm>
            <a:prstGeom prst="rect">
              <a:avLst/>
            </a:prstGeom>
          </p:spPr>
        </p:pic>
        <p:sp>
          <p:nvSpPr>
            <p:cNvPr id="165" name="Rectangle 164"/>
            <p:cNvSpPr/>
            <p:nvPr/>
          </p:nvSpPr>
          <p:spPr>
            <a:xfrm>
              <a:off x="5622889" y="3117850"/>
              <a:ext cx="298487" cy="13335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/>
            </a:p>
          </p:txBody>
        </p:sp>
      </p:grpSp>
      <p:grpSp>
        <p:nvGrpSpPr>
          <p:cNvPr id="169" name="Group 168"/>
          <p:cNvGrpSpPr/>
          <p:nvPr/>
        </p:nvGrpSpPr>
        <p:grpSpPr>
          <a:xfrm>
            <a:off x="6226969" y="2041525"/>
            <a:ext cx="1207403" cy="1209675"/>
            <a:chOff x="6226969" y="2041525"/>
            <a:chExt cx="1207403" cy="1209675"/>
          </a:xfrm>
        </p:grpSpPr>
        <p:pic>
          <p:nvPicPr>
            <p:cNvPr id="167" name="Picture 166"/>
            <p:cNvPicPr>
              <a:picLocks noChangeAspect="1"/>
            </p:cNvPicPr>
            <p:nvPr/>
          </p:nvPicPr>
          <p:blipFill rotWithShape="1">
            <a:blip r:embed="rId28"/>
            <a:srcRect l="1735"/>
            <a:stretch/>
          </p:blipFill>
          <p:spPr>
            <a:xfrm>
              <a:off x="6226969" y="2041525"/>
              <a:ext cx="1207403" cy="1209675"/>
            </a:xfrm>
            <a:prstGeom prst="rect">
              <a:avLst/>
            </a:prstGeom>
          </p:spPr>
        </p:pic>
        <p:sp>
          <p:nvSpPr>
            <p:cNvPr id="168" name="Rectangle 167"/>
            <p:cNvSpPr/>
            <p:nvPr/>
          </p:nvSpPr>
          <p:spPr>
            <a:xfrm>
              <a:off x="7239000" y="3169852"/>
              <a:ext cx="195372" cy="8134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/>
            </a:p>
          </p:txBody>
        </p:sp>
      </p:grpSp>
      <p:grpSp>
        <p:nvGrpSpPr>
          <p:cNvPr id="170" name="Group 169"/>
          <p:cNvGrpSpPr/>
          <p:nvPr/>
        </p:nvGrpSpPr>
        <p:grpSpPr>
          <a:xfrm>
            <a:off x="7714979" y="2041525"/>
            <a:ext cx="1207403" cy="1209675"/>
            <a:chOff x="6226969" y="2041525"/>
            <a:chExt cx="1207403" cy="1209675"/>
          </a:xfrm>
        </p:grpSpPr>
        <p:pic>
          <p:nvPicPr>
            <p:cNvPr id="171" name="Picture 170"/>
            <p:cNvPicPr>
              <a:picLocks noChangeAspect="1"/>
            </p:cNvPicPr>
            <p:nvPr/>
          </p:nvPicPr>
          <p:blipFill rotWithShape="1">
            <a:blip r:embed="rId28"/>
            <a:srcRect l="1735"/>
            <a:stretch/>
          </p:blipFill>
          <p:spPr>
            <a:xfrm>
              <a:off x="6226969" y="2041525"/>
              <a:ext cx="1207403" cy="1209675"/>
            </a:xfrm>
            <a:prstGeom prst="rect">
              <a:avLst/>
            </a:prstGeom>
          </p:spPr>
        </p:pic>
        <p:sp>
          <p:nvSpPr>
            <p:cNvPr id="172" name="Rectangle 171"/>
            <p:cNvSpPr/>
            <p:nvPr/>
          </p:nvSpPr>
          <p:spPr>
            <a:xfrm>
              <a:off x="7239000" y="3169852"/>
              <a:ext cx="195372" cy="8134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/>
            </a:p>
          </p:txBody>
        </p:sp>
      </p:grpSp>
      <p:sp>
        <p:nvSpPr>
          <p:cNvPr id="174" name="Rectangle 173"/>
          <p:cNvSpPr/>
          <p:nvPr/>
        </p:nvSpPr>
        <p:spPr>
          <a:xfrm>
            <a:off x="7578557" y="381000"/>
            <a:ext cx="1469046" cy="6324600"/>
          </a:xfrm>
          <a:prstGeom prst="rect">
            <a:avLst/>
          </a:prstGeom>
          <a:noFill/>
          <a:ln w="76200">
            <a:solidFill>
              <a:srgbClr val="F6954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</p:spTree>
    <p:extLst>
      <p:ext uri="{BB962C8B-B14F-4D97-AF65-F5344CB8AC3E}">
        <p14:creationId xmlns:p14="http://schemas.microsoft.com/office/powerpoint/2010/main" val="1471445709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143926" y="129140"/>
            <a:ext cx="1270537" cy="184666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r>
              <a:rPr lang="en-US" sz="1200" b="1" dirty="0" smtClean="0">
                <a:solidFill>
                  <a:srgbClr val="7F7E7E"/>
                </a:solidFill>
              </a:rPr>
              <a:t>Method name</a:t>
            </a:r>
            <a:endParaRPr lang="en-US" sz="1200" b="1" dirty="0">
              <a:solidFill>
                <a:srgbClr val="7F7E7E"/>
              </a:solidFill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1462475" y="129140"/>
            <a:ext cx="1228466" cy="184666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r>
              <a:rPr lang="en-US" sz="1200" b="1" dirty="0" smtClean="0">
                <a:solidFill>
                  <a:srgbClr val="7F7E7E"/>
                </a:solidFill>
              </a:rPr>
              <a:t>Parameters</a:t>
            </a:r>
            <a:endParaRPr lang="en-US" sz="1200" b="1" dirty="0">
              <a:solidFill>
                <a:srgbClr val="7F7E7E"/>
              </a:solidFill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2738953" y="129140"/>
            <a:ext cx="2114057" cy="184666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r>
              <a:rPr lang="en-US" sz="1200" b="1" dirty="0" smtClean="0">
                <a:solidFill>
                  <a:srgbClr val="7F7E7E"/>
                </a:solidFill>
              </a:rPr>
              <a:t>Scalability</a:t>
            </a:r>
            <a:endParaRPr lang="en-US" sz="1200" b="1" dirty="0">
              <a:solidFill>
                <a:srgbClr val="7F7E7E"/>
              </a:solidFill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4901022" y="129140"/>
            <a:ext cx="2277711" cy="184666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r>
              <a:rPr lang="en-US" sz="1200" b="1" dirty="0" err="1" smtClean="0">
                <a:solidFill>
                  <a:srgbClr val="7F7E7E"/>
                </a:solidFill>
              </a:rPr>
              <a:t>Usecase</a:t>
            </a:r>
            <a:endParaRPr lang="en-US" sz="1200" b="1" dirty="0">
              <a:solidFill>
                <a:srgbClr val="7F7E7E"/>
              </a:solidFill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7226745" y="129140"/>
            <a:ext cx="1596812" cy="184666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r>
              <a:rPr lang="en-US" sz="1200" b="1" dirty="0" smtClean="0">
                <a:solidFill>
                  <a:srgbClr val="7F7E7E"/>
                </a:solidFill>
              </a:rPr>
              <a:t>Geometry (metric used)</a:t>
            </a:r>
            <a:endParaRPr lang="en-US" sz="1200" b="1" dirty="0">
              <a:solidFill>
                <a:srgbClr val="7F7E7E"/>
              </a:solidFill>
            </a:endParaRPr>
          </a:p>
        </p:txBody>
      </p:sp>
      <p:cxnSp>
        <p:nvCxnSpPr>
          <p:cNvPr id="9" name="Straight Connector 8"/>
          <p:cNvCxnSpPr/>
          <p:nvPr/>
        </p:nvCxnSpPr>
        <p:spPr>
          <a:xfrm>
            <a:off x="143926" y="346258"/>
            <a:ext cx="8679631" cy="0"/>
          </a:xfrm>
          <a:prstGeom prst="line">
            <a:avLst/>
          </a:prstGeom>
          <a:ln>
            <a:solidFill>
              <a:srgbClr val="7F7E7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Box 9"/>
          <p:cNvSpPr txBox="1"/>
          <p:nvPr/>
        </p:nvSpPr>
        <p:spPr>
          <a:xfrm>
            <a:off x="143926" y="389791"/>
            <a:ext cx="1270537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i="1" dirty="0" smtClean="0">
                <a:solidFill>
                  <a:srgbClr val="4E81BC"/>
                </a:solidFill>
              </a:rPr>
              <a:t>K-means</a:t>
            </a:r>
            <a:endParaRPr lang="en-US" sz="1200" i="1" dirty="0">
              <a:solidFill>
                <a:srgbClr val="4E81BC"/>
              </a:solidFill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1462475" y="389791"/>
            <a:ext cx="1228466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 smtClean="0">
                <a:solidFill>
                  <a:srgbClr val="7F7E7E"/>
                </a:solidFill>
              </a:rPr>
              <a:t>Number of clusters</a:t>
            </a:r>
            <a:endParaRPr lang="en-US" sz="1200" dirty="0">
              <a:solidFill>
                <a:srgbClr val="7F7E7E"/>
              </a:solidFill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2738953" y="389791"/>
            <a:ext cx="2114057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 smtClean="0">
                <a:solidFill>
                  <a:srgbClr val="7F7E7E"/>
                </a:solidFill>
              </a:rPr>
              <a:t>Very large </a:t>
            </a:r>
            <a:r>
              <a:rPr lang="en-US" sz="1200" i="1" dirty="0" err="1" smtClean="0">
                <a:solidFill>
                  <a:srgbClr val="7F7E7E"/>
                </a:solidFill>
              </a:rPr>
              <a:t>n_sample</a:t>
            </a:r>
            <a:r>
              <a:rPr lang="en-US" sz="1200" dirty="0" err="1" smtClean="0">
                <a:solidFill>
                  <a:srgbClr val="7F7E7E"/>
                </a:solidFill>
              </a:rPr>
              <a:t>s</a:t>
            </a:r>
            <a:r>
              <a:rPr lang="en-US" sz="1200" dirty="0" smtClean="0">
                <a:solidFill>
                  <a:srgbClr val="7F7E7E"/>
                </a:solidFill>
              </a:rPr>
              <a:t> medium </a:t>
            </a:r>
            <a:r>
              <a:rPr lang="en-US" sz="1200" i="1" dirty="0" err="1" smtClean="0">
                <a:solidFill>
                  <a:srgbClr val="7F7E7E"/>
                </a:solidFill>
              </a:rPr>
              <a:t>n_clusters</a:t>
            </a:r>
            <a:r>
              <a:rPr lang="en-US" sz="1200" dirty="0" smtClean="0">
                <a:solidFill>
                  <a:srgbClr val="7F7E7E"/>
                </a:solidFill>
              </a:rPr>
              <a:t> with </a:t>
            </a:r>
            <a:r>
              <a:rPr lang="en-US" sz="1200" i="1" dirty="0" err="1" smtClean="0">
                <a:solidFill>
                  <a:srgbClr val="4E81BC"/>
                </a:solidFill>
              </a:rPr>
              <a:t>MiniBatch</a:t>
            </a:r>
            <a:r>
              <a:rPr lang="en-US" sz="1200" i="1" dirty="0" smtClean="0">
                <a:solidFill>
                  <a:srgbClr val="4E81BC"/>
                </a:solidFill>
              </a:rPr>
              <a:t> code</a:t>
            </a:r>
            <a:endParaRPr lang="en-US" sz="1200" i="1" dirty="0">
              <a:solidFill>
                <a:srgbClr val="4E81BC"/>
              </a:solidFill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4901022" y="389791"/>
            <a:ext cx="2277711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 smtClean="0">
                <a:solidFill>
                  <a:srgbClr val="7F7E7E"/>
                </a:solidFill>
              </a:rPr>
              <a:t>General purpose, even cluster size, flat geometry, not too many clusters</a:t>
            </a:r>
            <a:endParaRPr lang="en-US" sz="1200" dirty="0">
              <a:solidFill>
                <a:srgbClr val="7F7E7E"/>
              </a:solidFill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7226745" y="389791"/>
            <a:ext cx="1596812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 smtClean="0">
                <a:solidFill>
                  <a:srgbClr val="7F7E7E"/>
                </a:solidFill>
              </a:rPr>
              <a:t>Distances between points</a:t>
            </a:r>
            <a:endParaRPr lang="en-US" sz="1200" dirty="0">
              <a:solidFill>
                <a:srgbClr val="7F7E7E"/>
              </a:solidFill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143926" y="858311"/>
            <a:ext cx="1270537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i="1" dirty="0" smtClean="0">
                <a:solidFill>
                  <a:srgbClr val="4E81BC"/>
                </a:solidFill>
              </a:rPr>
              <a:t>Affinity propagation</a:t>
            </a:r>
            <a:endParaRPr lang="en-US" sz="1200" i="1" dirty="0">
              <a:solidFill>
                <a:srgbClr val="4E81BC"/>
              </a:solidFill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1462475" y="858311"/>
            <a:ext cx="1228466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 smtClean="0">
                <a:solidFill>
                  <a:srgbClr val="7F7E7E"/>
                </a:solidFill>
              </a:rPr>
              <a:t>Damping, sample preferences</a:t>
            </a:r>
            <a:endParaRPr lang="en-US" sz="1200" dirty="0">
              <a:solidFill>
                <a:srgbClr val="7F7E7E"/>
              </a:solidFill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2738953" y="858311"/>
            <a:ext cx="2114057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 smtClean="0">
                <a:solidFill>
                  <a:srgbClr val="7F7E7E"/>
                </a:solidFill>
              </a:rPr>
              <a:t>Not scalable with </a:t>
            </a:r>
            <a:r>
              <a:rPr lang="en-US" sz="1200" dirty="0" err="1" smtClean="0">
                <a:solidFill>
                  <a:srgbClr val="7F7E7E"/>
                </a:solidFill>
              </a:rPr>
              <a:t>n_samples</a:t>
            </a:r>
            <a:endParaRPr lang="en-US" sz="1200" i="1" dirty="0">
              <a:solidFill>
                <a:srgbClr val="6094C9"/>
              </a:solidFill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4901022" y="858311"/>
            <a:ext cx="2277711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 smtClean="0">
                <a:solidFill>
                  <a:srgbClr val="7F7E7E"/>
                </a:solidFill>
              </a:rPr>
              <a:t>Many clusters, uneven cluster size, non-flat geometry</a:t>
            </a:r>
            <a:endParaRPr lang="en-US" sz="1200" dirty="0">
              <a:solidFill>
                <a:srgbClr val="7F7E7E"/>
              </a:solidFill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7226745" y="858311"/>
            <a:ext cx="1596812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 smtClean="0">
                <a:solidFill>
                  <a:srgbClr val="7F7E7E"/>
                </a:solidFill>
              </a:rPr>
              <a:t>Graph distance (e.g. nearest-neighbor graph)</a:t>
            </a:r>
            <a:endParaRPr lang="en-US" sz="1200" dirty="0">
              <a:solidFill>
                <a:srgbClr val="7F7E7E"/>
              </a:solidFill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143926" y="1326831"/>
            <a:ext cx="1270537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i="1" dirty="0" smtClean="0">
                <a:solidFill>
                  <a:srgbClr val="4E81BC"/>
                </a:solidFill>
              </a:rPr>
              <a:t>Mean-shift</a:t>
            </a:r>
            <a:endParaRPr lang="en-US" sz="1200" i="1" dirty="0">
              <a:solidFill>
                <a:srgbClr val="4E81BC"/>
              </a:solidFill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1462475" y="1326831"/>
            <a:ext cx="1228466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 smtClean="0">
                <a:solidFill>
                  <a:srgbClr val="7F7E7E"/>
                </a:solidFill>
              </a:rPr>
              <a:t>Bandwidth</a:t>
            </a:r>
            <a:endParaRPr lang="en-US" sz="1200" dirty="0">
              <a:solidFill>
                <a:srgbClr val="7F7E7E"/>
              </a:solidFill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2738953" y="1326831"/>
            <a:ext cx="2114057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 smtClean="0">
                <a:solidFill>
                  <a:srgbClr val="7F7E7E"/>
                </a:solidFill>
              </a:rPr>
              <a:t>Not scalable with </a:t>
            </a:r>
            <a:r>
              <a:rPr lang="en-US" sz="1200" dirty="0" err="1" smtClean="0">
                <a:solidFill>
                  <a:srgbClr val="7F7E7E"/>
                </a:solidFill>
              </a:rPr>
              <a:t>n_samples</a:t>
            </a:r>
            <a:endParaRPr lang="en-US" sz="1200" i="1" dirty="0">
              <a:solidFill>
                <a:srgbClr val="6094C9"/>
              </a:solidFill>
            </a:endParaRPr>
          </a:p>
        </p:txBody>
      </p:sp>
      <p:sp>
        <p:nvSpPr>
          <p:cNvPr id="23" name="TextBox 22"/>
          <p:cNvSpPr txBox="1"/>
          <p:nvPr/>
        </p:nvSpPr>
        <p:spPr>
          <a:xfrm>
            <a:off x="4901022" y="1326831"/>
            <a:ext cx="2277711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 smtClean="0">
                <a:solidFill>
                  <a:srgbClr val="7F7E7E"/>
                </a:solidFill>
              </a:rPr>
              <a:t>Many clusters, uneven cluster size, non-flat geometry</a:t>
            </a:r>
            <a:endParaRPr lang="en-US" sz="1200" dirty="0">
              <a:solidFill>
                <a:srgbClr val="7F7E7E"/>
              </a:solidFill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7226745" y="1326831"/>
            <a:ext cx="1596812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>
                <a:solidFill>
                  <a:srgbClr val="7F7E7E"/>
                </a:solidFill>
              </a:rPr>
              <a:t>Distances between points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143926" y="1795351"/>
            <a:ext cx="1270537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i="1" dirty="0" smtClean="0">
                <a:solidFill>
                  <a:srgbClr val="4E81BC"/>
                </a:solidFill>
              </a:rPr>
              <a:t>Spectral clustering</a:t>
            </a:r>
            <a:endParaRPr lang="en-US" sz="1200" i="1" dirty="0">
              <a:solidFill>
                <a:srgbClr val="4E81BC"/>
              </a:solidFill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1462475" y="1795351"/>
            <a:ext cx="1228466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>
                <a:solidFill>
                  <a:srgbClr val="7F7E7E"/>
                </a:solidFill>
              </a:rPr>
              <a:t>Number of </a:t>
            </a:r>
            <a:r>
              <a:rPr lang="en-US" sz="1200" dirty="0" smtClean="0">
                <a:solidFill>
                  <a:srgbClr val="7F7E7E"/>
                </a:solidFill>
              </a:rPr>
              <a:t>clusters</a:t>
            </a:r>
            <a:endParaRPr lang="en-US" sz="1200" dirty="0">
              <a:solidFill>
                <a:srgbClr val="7F7E7E"/>
              </a:solidFill>
            </a:endParaRPr>
          </a:p>
        </p:txBody>
      </p:sp>
      <p:sp>
        <p:nvSpPr>
          <p:cNvPr id="27" name="TextBox 26"/>
          <p:cNvSpPr txBox="1"/>
          <p:nvPr/>
        </p:nvSpPr>
        <p:spPr>
          <a:xfrm>
            <a:off x="2738953" y="1795351"/>
            <a:ext cx="2114057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 smtClean="0">
                <a:solidFill>
                  <a:srgbClr val="7F7E7E"/>
                </a:solidFill>
              </a:rPr>
              <a:t>Medium </a:t>
            </a:r>
            <a:r>
              <a:rPr lang="en-US" sz="1200" i="1" dirty="0" err="1" smtClean="0">
                <a:solidFill>
                  <a:srgbClr val="7F7E7E"/>
                </a:solidFill>
              </a:rPr>
              <a:t>n_samples</a:t>
            </a:r>
            <a:r>
              <a:rPr lang="en-US" sz="1200" dirty="0" smtClean="0">
                <a:solidFill>
                  <a:srgbClr val="7F7E7E"/>
                </a:solidFill>
              </a:rPr>
              <a:t>, small </a:t>
            </a:r>
            <a:r>
              <a:rPr lang="en-US" sz="1200" i="1" dirty="0" err="1" smtClean="0">
                <a:solidFill>
                  <a:srgbClr val="7F7E7E"/>
                </a:solidFill>
              </a:rPr>
              <a:t>n_clusters</a:t>
            </a:r>
            <a:endParaRPr lang="en-US" sz="1200" i="1" dirty="0">
              <a:solidFill>
                <a:srgbClr val="6094C9"/>
              </a:solidFill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4901022" y="1795351"/>
            <a:ext cx="2277711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 smtClean="0">
                <a:solidFill>
                  <a:srgbClr val="7F7E7E"/>
                </a:solidFill>
              </a:rPr>
              <a:t>Few clusters, even cluster size, non-flat geometry</a:t>
            </a:r>
            <a:endParaRPr lang="en-US" sz="1200" dirty="0">
              <a:solidFill>
                <a:srgbClr val="7F7E7E"/>
              </a:solidFill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7226745" y="1795351"/>
            <a:ext cx="1596812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>
                <a:solidFill>
                  <a:srgbClr val="7F7E7E"/>
                </a:solidFill>
              </a:rPr>
              <a:t>Graph distance (e.g. nearest-neighbor graph)</a:t>
            </a:r>
          </a:p>
        </p:txBody>
      </p:sp>
      <p:cxnSp>
        <p:nvCxnSpPr>
          <p:cNvPr id="30" name="Straight Connector 29"/>
          <p:cNvCxnSpPr/>
          <p:nvPr/>
        </p:nvCxnSpPr>
        <p:spPr>
          <a:xfrm>
            <a:off x="143926" y="808717"/>
            <a:ext cx="8679631" cy="0"/>
          </a:xfrm>
          <a:prstGeom prst="line">
            <a:avLst/>
          </a:prstGeom>
          <a:ln>
            <a:solidFill>
              <a:srgbClr val="7F7E7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0"/>
          <p:cNvCxnSpPr/>
          <p:nvPr/>
        </p:nvCxnSpPr>
        <p:spPr>
          <a:xfrm>
            <a:off x="143926" y="1277237"/>
            <a:ext cx="8679631" cy="0"/>
          </a:xfrm>
          <a:prstGeom prst="line">
            <a:avLst/>
          </a:prstGeom>
          <a:ln>
            <a:solidFill>
              <a:srgbClr val="7F7E7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/>
          <p:cNvCxnSpPr/>
          <p:nvPr/>
        </p:nvCxnSpPr>
        <p:spPr>
          <a:xfrm>
            <a:off x="143926" y="1745757"/>
            <a:ext cx="8679631" cy="0"/>
          </a:xfrm>
          <a:prstGeom prst="line">
            <a:avLst/>
          </a:prstGeom>
          <a:ln>
            <a:solidFill>
              <a:srgbClr val="7F7E7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/>
          <p:cNvCxnSpPr/>
          <p:nvPr/>
        </p:nvCxnSpPr>
        <p:spPr>
          <a:xfrm>
            <a:off x="143926" y="2214277"/>
            <a:ext cx="8679631" cy="0"/>
          </a:xfrm>
          <a:prstGeom prst="line">
            <a:avLst/>
          </a:prstGeom>
          <a:ln>
            <a:solidFill>
              <a:srgbClr val="7F7E7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Box 33"/>
          <p:cNvSpPr txBox="1"/>
          <p:nvPr/>
        </p:nvSpPr>
        <p:spPr>
          <a:xfrm>
            <a:off x="143926" y="2263871"/>
            <a:ext cx="1270537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i="1" dirty="0" smtClean="0">
                <a:solidFill>
                  <a:srgbClr val="4E81BC"/>
                </a:solidFill>
              </a:rPr>
              <a:t>Hierarchical clustering</a:t>
            </a:r>
            <a:endParaRPr lang="en-US" sz="1200" i="1" dirty="0">
              <a:solidFill>
                <a:srgbClr val="4E81BC"/>
              </a:solidFill>
            </a:endParaRPr>
          </a:p>
        </p:txBody>
      </p:sp>
      <p:sp>
        <p:nvSpPr>
          <p:cNvPr id="35" name="TextBox 34"/>
          <p:cNvSpPr txBox="1"/>
          <p:nvPr/>
        </p:nvSpPr>
        <p:spPr>
          <a:xfrm>
            <a:off x="1462475" y="2263871"/>
            <a:ext cx="1228466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>
                <a:solidFill>
                  <a:srgbClr val="7F7E7E"/>
                </a:solidFill>
              </a:rPr>
              <a:t>Number of </a:t>
            </a:r>
            <a:r>
              <a:rPr lang="en-US" sz="1200" dirty="0" smtClean="0">
                <a:solidFill>
                  <a:srgbClr val="7F7E7E"/>
                </a:solidFill>
              </a:rPr>
              <a:t>clusters</a:t>
            </a:r>
            <a:endParaRPr lang="en-US" sz="1200" dirty="0">
              <a:solidFill>
                <a:srgbClr val="7F7E7E"/>
              </a:solidFill>
            </a:endParaRPr>
          </a:p>
        </p:txBody>
      </p:sp>
      <p:sp>
        <p:nvSpPr>
          <p:cNvPr id="36" name="TextBox 35"/>
          <p:cNvSpPr txBox="1"/>
          <p:nvPr/>
        </p:nvSpPr>
        <p:spPr>
          <a:xfrm>
            <a:off x="2738953" y="2263871"/>
            <a:ext cx="2114057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 smtClean="0">
                <a:solidFill>
                  <a:srgbClr val="7F7E7E"/>
                </a:solidFill>
              </a:rPr>
              <a:t>Large </a:t>
            </a:r>
            <a:r>
              <a:rPr lang="en-US" sz="1200" i="1" dirty="0" err="1" smtClean="0">
                <a:solidFill>
                  <a:srgbClr val="7F7E7E"/>
                </a:solidFill>
              </a:rPr>
              <a:t>n_samples</a:t>
            </a:r>
            <a:r>
              <a:rPr lang="en-US" sz="1200" dirty="0">
                <a:solidFill>
                  <a:srgbClr val="7F7E7E"/>
                </a:solidFill>
              </a:rPr>
              <a:t> </a:t>
            </a:r>
            <a:r>
              <a:rPr lang="en-US" sz="1200" dirty="0" smtClean="0">
                <a:solidFill>
                  <a:srgbClr val="7F7E7E"/>
                </a:solidFill>
              </a:rPr>
              <a:t>and </a:t>
            </a:r>
            <a:r>
              <a:rPr lang="en-US" sz="1200" i="1" dirty="0" err="1" smtClean="0">
                <a:solidFill>
                  <a:srgbClr val="7F7E7E"/>
                </a:solidFill>
              </a:rPr>
              <a:t>n_clusters</a:t>
            </a:r>
            <a:endParaRPr lang="en-US" sz="1200" i="1" dirty="0">
              <a:solidFill>
                <a:srgbClr val="6094C9"/>
              </a:solidFill>
            </a:endParaRPr>
          </a:p>
        </p:txBody>
      </p:sp>
      <p:sp>
        <p:nvSpPr>
          <p:cNvPr id="37" name="TextBox 36"/>
          <p:cNvSpPr txBox="1"/>
          <p:nvPr/>
        </p:nvSpPr>
        <p:spPr>
          <a:xfrm>
            <a:off x="4901022" y="2263871"/>
            <a:ext cx="2277711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 smtClean="0">
                <a:solidFill>
                  <a:srgbClr val="7F7E7E"/>
                </a:solidFill>
              </a:rPr>
              <a:t>Many clusters, possibly connectivity constraints</a:t>
            </a:r>
            <a:endParaRPr lang="en-US" sz="1200" dirty="0">
              <a:solidFill>
                <a:srgbClr val="7F7E7E"/>
              </a:solidFill>
            </a:endParaRPr>
          </a:p>
        </p:txBody>
      </p:sp>
      <p:sp>
        <p:nvSpPr>
          <p:cNvPr id="38" name="TextBox 37"/>
          <p:cNvSpPr txBox="1"/>
          <p:nvPr/>
        </p:nvSpPr>
        <p:spPr>
          <a:xfrm>
            <a:off x="7226745" y="2263871"/>
            <a:ext cx="1596812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>
                <a:solidFill>
                  <a:srgbClr val="7F7E7E"/>
                </a:solidFill>
              </a:rPr>
              <a:t>Distances between points</a:t>
            </a:r>
          </a:p>
        </p:txBody>
      </p:sp>
      <p:cxnSp>
        <p:nvCxnSpPr>
          <p:cNvPr id="39" name="Straight Connector 38"/>
          <p:cNvCxnSpPr/>
          <p:nvPr/>
        </p:nvCxnSpPr>
        <p:spPr>
          <a:xfrm>
            <a:off x="143926" y="2682797"/>
            <a:ext cx="8679631" cy="0"/>
          </a:xfrm>
          <a:prstGeom prst="line">
            <a:avLst/>
          </a:prstGeom>
          <a:ln>
            <a:solidFill>
              <a:srgbClr val="7F7E7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TextBox 39"/>
          <p:cNvSpPr txBox="1"/>
          <p:nvPr/>
        </p:nvSpPr>
        <p:spPr>
          <a:xfrm>
            <a:off x="143926" y="2732396"/>
            <a:ext cx="1270537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i="1" dirty="0" smtClean="0">
                <a:solidFill>
                  <a:srgbClr val="4E81BC"/>
                </a:solidFill>
              </a:rPr>
              <a:t>DBSCAN</a:t>
            </a:r>
            <a:endParaRPr lang="en-US" sz="1200" i="1" dirty="0">
              <a:solidFill>
                <a:srgbClr val="4E81BC"/>
              </a:solidFill>
            </a:endParaRPr>
          </a:p>
        </p:txBody>
      </p:sp>
      <p:sp>
        <p:nvSpPr>
          <p:cNvPr id="41" name="TextBox 40"/>
          <p:cNvSpPr txBox="1"/>
          <p:nvPr/>
        </p:nvSpPr>
        <p:spPr>
          <a:xfrm>
            <a:off x="1462475" y="2732396"/>
            <a:ext cx="1228466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 smtClean="0">
                <a:solidFill>
                  <a:srgbClr val="7F7E7E"/>
                </a:solidFill>
              </a:rPr>
              <a:t>Neighborhood size </a:t>
            </a:r>
            <a:endParaRPr lang="en-US" sz="1200" dirty="0">
              <a:solidFill>
                <a:srgbClr val="7F7E7E"/>
              </a:solidFill>
            </a:endParaRPr>
          </a:p>
        </p:txBody>
      </p:sp>
      <p:sp>
        <p:nvSpPr>
          <p:cNvPr id="42" name="TextBox 41"/>
          <p:cNvSpPr txBox="1"/>
          <p:nvPr/>
        </p:nvSpPr>
        <p:spPr>
          <a:xfrm>
            <a:off x="2738953" y="2732396"/>
            <a:ext cx="2114057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 smtClean="0">
                <a:solidFill>
                  <a:srgbClr val="7F7E7E"/>
                </a:solidFill>
              </a:rPr>
              <a:t>Very large </a:t>
            </a:r>
            <a:r>
              <a:rPr lang="en-US" sz="1200" i="1" dirty="0" err="1" smtClean="0">
                <a:solidFill>
                  <a:srgbClr val="7F7E7E"/>
                </a:solidFill>
              </a:rPr>
              <a:t>n_samples</a:t>
            </a:r>
            <a:r>
              <a:rPr lang="en-US" sz="1200" dirty="0" smtClean="0">
                <a:solidFill>
                  <a:srgbClr val="7F7E7E"/>
                </a:solidFill>
              </a:rPr>
              <a:t>, medium </a:t>
            </a:r>
            <a:r>
              <a:rPr lang="en-US" sz="1200" i="1" dirty="0" err="1" smtClean="0">
                <a:solidFill>
                  <a:srgbClr val="7F7E7E"/>
                </a:solidFill>
              </a:rPr>
              <a:t>n_clusters</a:t>
            </a:r>
            <a:endParaRPr lang="en-US" sz="1200" i="1" dirty="0">
              <a:solidFill>
                <a:srgbClr val="6094C9"/>
              </a:solidFill>
            </a:endParaRPr>
          </a:p>
        </p:txBody>
      </p:sp>
      <p:sp>
        <p:nvSpPr>
          <p:cNvPr id="43" name="TextBox 42"/>
          <p:cNvSpPr txBox="1"/>
          <p:nvPr/>
        </p:nvSpPr>
        <p:spPr>
          <a:xfrm>
            <a:off x="4901022" y="2732396"/>
            <a:ext cx="2277711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 smtClean="0">
                <a:solidFill>
                  <a:srgbClr val="7F7E7E"/>
                </a:solidFill>
              </a:rPr>
              <a:t>Non-flat geometry, uneven cluster sizes</a:t>
            </a:r>
            <a:endParaRPr lang="en-US" sz="1200" dirty="0">
              <a:solidFill>
                <a:srgbClr val="7F7E7E"/>
              </a:solidFill>
            </a:endParaRPr>
          </a:p>
        </p:txBody>
      </p:sp>
      <p:sp>
        <p:nvSpPr>
          <p:cNvPr id="44" name="TextBox 43"/>
          <p:cNvSpPr txBox="1"/>
          <p:nvPr/>
        </p:nvSpPr>
        <p:spPr>
          <a:xfrm>
            <a:off x="7226745" y="2732396"/>
            <a:ext cx="1596812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>
                <a:solidFill>
                  <a:srgbClr val="7F7E7E"/>
                </a:solidFill>
              </a:rPr>
              <a:t>Distances between </a:t>
            </a:r>
            <a:r>
              <a:rPr lang="en-US" sz="1200" dirty="0" smtClean="0">
                <a:solidFill>
                  <a:srgbClr val="7F7E7E"/>
                </a:solidFill>
              </a:rPr>
              <a:t>nearest points</a:t>
            </a:r>
            <a:endParaRPr lang="en-US" sz="1200" dirty="0">
              <a:solidFill>
                <a:srgbClr val="7F7E7E"/>
              </a:solidFill>
            </a:endParaRPr>
          </a:p>
        </p:txBody>
      </p:sp>
      <p:sp>
        <p:nvSpPr>
          <p:cNvPr id="45" name="object 5"/>
          <p:cNvSpPr txBox="1"/>
          <p:nvPr/>
        </p:nvSpPr>
        <p:spPr>
          <a:xfrm>
            <a:off x="143926" y="3515232"/>
            <a:ext cx="8679631" cy="2603277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 marR="41909">
              <a:lnSpc>
                <a:spcPts val="3454"/>
              </a:lnSpc>
              <a:spcBef>
                <a:spcPts val="172"/>
              </a:spcBef>
            </a:pPr>
            <a:r>
              <a:rPr lang="en-US" sz="4400" baseline="2560" dirty="0" smtClean="0">
                <a:solidFill>
                  <a:srgbClr val="4E81BC"/>
                </a:solidFill>
                <a:cs typeface="Calibri"/>
              </a:rPr>
              <a:t>Mean‐shift</a:t>
            </a:r>
            <a:endParaRPr lang="en-US" sz="4400" baseline="2560" dirty="0">
              <a:solidFill>
                <a:srgbClr val="4E81BC"/>
              </a:solidFill>
              <a:cs typeface="Calibri"/>
            </a:endParaRPr>
          </a:p>
          <a:p>
            <a:pPr marL="12700">
              <a:lnSpc>
                <a:spcPts val="2770"/>
              </a:lnSpc>
            </a:pPr>
            <a:r>
              <a:rPr lang="en-US" sz="4400" baseline="1137" dirty="0">
                <a:solidFill>
                  <a:srgbClr val="7F7E7E"/>
                </a:solidFill>
                <a:cs typeface="Calibri"/>
              </a:rPr>
              <a:t>Slow.</a:t>
            </a:r>
          </a:p>
          <a:p>
            <a:pPr marL="12700">
              <a:lnSpc>
                <a:spcPts val="2770"/>
              </a:lnSpc>
            </a:pPr>
            <a:r>
              <a:rPr lang="en-US" sz="4400" baseline="1137" dirty="0">
                <a:solidFill>
                  <a:srgbClr val="7F7E7E"/>
                </a:solidFill>
                <a:cs typeface="Calibri"/>
              </a:rPr>
              <a:t>You </a:t>
            </a:r>
            <a:r>
              <a:rPr lang="en-US" sz="4400" baseline="1137" dirty="0">
                <a:solidFill>
                  <a:srgbClr val="F69545"/>
                </a:solidFill>
                <a:cs typeface="Calibri"/>
              </a:rPr>
              <a:t>DON’T have to guess k </a:t>
            </a:r>
            <a:r>
              <a:rPr lang="en-US" sz="4400" baseline="1137" dirty="0">
                <a:solidFill>
                  <a:srgbClr val="7F7E7E"/>
                </a:solidFill>
                <a:cs typeface="Calibri"/>
              </a:rPr>
              <a:t>or anything. Fire &amp; forget. </a:t>
            </a:r>
            <a:endParaRPr lang="en-US" sz="4400" baseline="1137" dirty="0" smtClean="0">
              <a:solidFill>
                <a:srgbClr val="7F7E7E"/>
              </a:solidFill>
              <a:cs typeface="Calibri"/>
            </a:endParaRPr>
          </a:p>
          <a:p>
            <a:pPr marL="12700">
              <a:lnSpc>
                <a:spcPts val="2770"/>
              </a:lnSpc>
            </a:pPr>
            <a:r>
              <a:rPr lang="en-US" sz="4400" baseline="1137" dirty="0" smtClean="0">
                <a:solidFill>
                  <a:srgbClr val="7F7E7E"/>
                </a:solidFill>
                <a:cs typeface="Calibri"/>
              </a:rPr>
              <a:t>Can </a:t>
            </a:r>
            <a:r>
              <a:rPr lang="en-US" sz="4400" baseline="1137" dirty="0">
                <a:solidFill>
                  <a:srgbClr val="7F7E7E"/>
                </a:solidFill>
                <a:cs typeface="Calibri"/>
              </a:rPr>
              <a:t>ﬁnd </a:t>
            </a:r>
            <a:r>
              <a:rPr lang="en-US" sz="4400" baseline="1137" dirty="0">
                <a:solidFill>
                  <a:srgbClr val="AAC56C"/>
                </a:solidFill>
                <a:cs typeface="Calibri"/>
              </a:rPr>
              <a:t>uneven cluster sizes</a:t>
            </a:r>
            <a:r>
              <a:rPr lang="en-US" sz="4400" baseline="1137" dirty="0">
                <a:solidFill>
                  <a:srgbClr val="7F7E7E"/>
                </a:solidFill>
                <a:cs typeface="Calibri"/>
              </a:rPr>
              <a:t>.</a:t>
            </a:r>
          </a:p>
          <a:p>
            <a:pPr marL="12700">
              <a:lnSpc>
                <a:spcPts val="2770"/>
              </a:lnSpc>
            </a:pPr>
            <a:r>
              <a:rPr lang="en-US" sz="4400" baseline="1137" dirty="0">
                <a:solidFill>
                  <a:srgbClr val="7F7E7E"/>
                </a:solidFill>
                <a:cs typeface="Calibri"/>
              </a:rPr>
              <a:t>Slow with a lot of data, but lots of clusters no problem</a:t>
            </a:r>
          </a:p>
          <a:p>
            <a:pPr marL="12700">
              <a:lnSpc>
                <a:spcPts val="2770"/>
              </a:lnSpc>
            </a:pPr>
            <a:r>
              <a:rPr lang="en-US" sz="4400" baseline="1137" dirty="0">
                <a:solidFill>
                  <a:srgbClr val="7F7E7E"/>
                </a:solidFill>
                <a:cs typeface="Calibri"/>
              </a:rPr>
              <a:t>Doesn’t handle weird shapes well.</a:t>
            </a:r>
          </a:p>
          <a:p>
            <a:pPr marL="12700">
              <a:lnSpc>
                <a:spcPts val="2770"/>
              </a:lnSpc>
            </a:pPr>
            <a:r>
              <a:rPr lang="en-US" sz="4400" baseline="1137" dirty="0">
                <a:solidFill>
                  <a:srgbClr val="7030A0"/>
                </a:solidFill>
                <a:cs typeface="Calibri"/>
              </a:rPr>
              <a:t>Euclidean distance only</a:t>
            </a:r>
            <a:r>
              <a:rPr lang="en-US" sz="4400" baseline="1137" dirty="0" smtClean="0">
                <a:solidFill>
                  <a:srgbClr val="7030A0"/>
                </a:solidFill>
                <a:cs typeface="Calibri"/>
              </a:rPr>
              <a:t>.</a:t>
            </a:r>
            <a:endParaRPr lang="en-US" sz="4400" baseline="1137" dirty="0">
              <a:solidFill>
                <a:srgbClr val="7030A0"/>
              </a:solidFill>
              <a:cs typeface="Calibri"/>
            </a:endParaRPr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1" name="Object 160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9261175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6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Rectangle 22"/>
          <p:cNvSpPr/>
          <p:nvPr/>
        </p:nvSpPr>
        <p:spPr>
          <a:xfrm>
            <a:off x="114300" y="381000"/>
            <a:ext cx="1422040" cy="1524000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30" name="TextBox 29"/>
          <p:cNvSpPr txBox="1"/>
          <p:nvPr/>
        </p:nvSpPr>
        <p:spPr>
          <a:xfrm>
            <a:off x="143926" y="1719329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 smtClean="0">
                <a:solidFill>
                  <a:srgbClr val="7F7E7E"/>
                </a:solidFill>
              </a:rPr>
              <a:t>.01s</a:t>
            </a:r>
            <a:endParaRPr lang="en-US" sz="1000" dirty="0">
              <a:solidFill>
                <a:srgbClr val="7F7E7E"/>
              </a:solidFill>
            </a:endParaRPr>
          </a:p>
        </p:txBody>
      </p:sp>
      <p:sp>
        <p:nvSpPr>
          <p:cNvPr id="34" name="Rectangle 33"/>
          <p:cNvSpPr/>
          <p:nvPr/>
        </p:nvSpPr>
        <p:spPr>
          <a:xfrm>
            <a:off x="1612972" y="381000"/>
            <a:ext cx="1422040" cy="1524000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35" name="TextBox 34"/>
          <p:cNvSpPr txBox="1"/>
          <p:nvPr/>
        </p:nvSpPr>
        <p:spPr>
          <a:xfrm>
            <a:off x="1642598" y="1719329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 smtClean="0">
                <a:solidFill>
                  <a:srgbClr val="7F7E7E"/>
                </a:solidFill>
              </a:rPr>
              <a:t>8.17s</a:t>
            </a:r>
            <a:endParaRPr lang="en-US" sz="1000" dirty="0">
              <a:solidFill>
                <a:srgbClr val="7F7E7E"/>
              </a:solidFill>
            </a:endParaRPr>
          </a:p>
        </p:txBody>
      </p:sp>
      <p:sp>
        <p:nvSpPr>
          <p:cNvPr id="37" name="Rectangle 36"/>
          <p:cNvSpPr/>
          <p:nvPr/>
        </p:nvSpPr>
        <p:spPr>
          <a:xfrm>
            <a:off x="3111644" y="381000"/>
            <a:ext cx="1422040" cy="1524000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38" name="TextBox 37"/>
          <p:cNvSpPr txBox="1"/>
          <p:nvPr/>
        </p:nvSpPr>
        <p:spPr>
          <a:xfrm>
            <a:off x="3141270" y="1719329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 smtClean="0">
                <a:solidFill>
                  <a:srgbClr val="7F7E7E"/>
                </a:solidFill>
              </a:rPr>
              <a:t>.02s</a:t>
            </a:r>
            <a:endParaRPr lang="en-US" sz="1000" dirty="0">
              <a:solidFill>
                <a:srgbClr val="7F7E7E"/>
              </a:solidFill>
            </a:endParaRPr>
          </a:p>
        </p:txBody>
      </p:sp>
      <p:sp>
        <p:nvSpPr>
          <p:cNvPr id="40" name="Rectangle 39"/>
          <p:cNvSpPr/>
          <p:nvPr/>
        </p:nvSpPr>
        <p:spPr>
          <a:xfrm>
            <a:off x="4610317" y="381000"/>
            <a:ext cx="1422040" cy="1524000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41" name="TextBox 40"/>
          <p:cNvSpPr txBox="1"/>
          <p:nvPr/>
        </p:nvSpPr>
        <p:spPr>
          <a:xfrm>
            <a:off x="4639943" y="1719329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 smtClean="0">
                <a:solidFill>
                  <a:srgbClr val="7F7E7E"/>
                </a:solidFill>
              </a:rPr>
              <a:t>.31s</a:t>
            </a:r>
            <a:endParaRPr lang="en-US" sz="1000" dirty="0">
              <a:solidFill>
                <a:srgbClr val="7F7E7E"/>
              </a:solidFill>
            </a:endParaRPr>
          </a:p>
        </p:txBody>
      </p:sp>
      <p:sp>
        <p:nvSpPr>
          <p:cNvPr id="43" name="Rectangle 42"/>
          <p:cNvSpPr/>
          <p:nvPr/>
        </p:nvSpPr>
        <p:spPr>
          <a:xfrm>
            <a:off x="6108989" y="381000"/>
            <a:ext cx="1422040" cy="1524000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44" name="TextBox 43"/>
          <p:cNvSpPr txBox="1"/>
          <p:nvPr/>
        </p:nvSpPr>
        <p:spPr>
          <a:xfrm>
            <a:off x="6138615" y="1719329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 smtClean="0">
                <a:solidFill>
                  <a:srgbClr val="7F7E7E"/>
                </a:solidFill>
              </a:rPr>
              <a:t>.21s</a:t>
            </a:r>
            <a:endParaRPr lang="en-US" sz="1000" dirty="0">
              <a:solidFill>
                <a:srgbClr val="7F7E7E"/>
              </a:solidFill>
            </a:endParaRPr>
          </a:p>
        </p:txBody>
      </p:sp>
      <p:sp>
        <p:nvSpPr>
          <p:cNvPr id="46" name="Rectangle 45"/>
          <p:cNvSpPr/>
          <p:nvPr/>
        </p:nvSpPr>
        <p:spPr>
          <a:xfrm>
            <a:off x="7607660" y="381000"/>
            <a:ext cx="1422040" cy="1524000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47" name="TextBox 46"/>
          <p:cNvSpPr txBox="1"/>
          <p:nvPr/>
        </p:nvSpPr>
        <p:spPr>
          <a:xfrm>
            <a:off x="7637286" y="1719329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 smtClean="0">
                <a:solidFill>
                  <a:srgbClr val="7F7E7E"/>
                </a:solidFill>
              </a:rPr>
              <a:t>.10s</a:t>
            </a:r>
            <a:endParaRPr lang="en-US" sz="1000" dirty="0">
              <a:solidFill>
                <a:srgbClr val="7F7E7E"/>
              </a:solidFill>
            </a:endParaRPr>
          </a:p>
        </p:txBody>
      </p:sp>
      <p:sp>
        <p:nvSpPr>
          <p:cNvPr id="67" name="Rectangle 66"/>
          <p:cNvSpPr/>
          <p:nvPr/>
        </p:nvSpPr>
        <p:spPr>
          <a:xfrm>
            <a:off x="114300" y="1981200"/>
            <a:ext cx="1422040" cy="1524000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68" name="TextBox 67"/>
          <p:cNvSpPr txBox="1"/>
          <p:nvPr/>
        </p:nvSpPr>
        <p:spPr>
          <a:xfrm>
            <a:off x="143926" y="3319529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 smtClean="0">
                <a:solidFill>
                  <a:srgbClr val="7F7E7E"/>
                </a:solidFill>
              </a:rPr>
              <a:t>0.1s</a:t>
            </a:r>
            <a:endParaRPr lang="en-US" sz="1000" dirty="0">
              <a:solidFill>
                <a:srgbClr val="7F7E7E"/>
              </a:solidFill>
            </a:endParaRPr>
          </a:p>
        </p:txBody>
      </p:sp>
      <p:sp>
        <p:nvSpPr>
          <p:cNvPr id="65" name="Rectangle 64"/>
          <p:cNvSpPr/>
          <p:nvPr/>
        </p:nvSpPr>
        <p:spPr>
          <a:xfrm>
            <a:off x="1612972" y="1981200"/>
            <a:ext cx="1422040" cy="1524000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66" name="TextBox 65"/>
          <p:cNvSpPr txBox="1"/>
          <p:nvPr/>
        </p:nvSpPr>
        <p:spPr>
          <a:xfrm>
            <a:off x="1642598" y="3319529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 smtClean="0">
                <a:solidFill>
                  <a:srgbClr val="7F7E7E"/>
                </a:solidFill>
              </a:rPr>
              <a:t>8.17s</a:t>
            </a:r>
            <a:endParaRPr lang="en-US" sz="1000" dirty="0">
              <a:solidFill>
                <a:srgbClr val="7F7E7E"/>
              </a:solidFill>
            </a:endParaRPr>
          </a:p>
        </p:txBody>
      </p:sp>
      <p:sp>
        <p:nvSpPr>
          <p:cNvPr id="63" name="Rectangle 62"/>
          <p:cNvSpPr/>
          <p:nvPr/>
        </p:nvSpPr>
        <p:spPr>
          <a:xfrm>
            <a:off x="3111644" y="1981200"/>
            <a:ext cx="1422040" cy="1524000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64" name="TextBox 63"/>
          <p:cNvSpPr txBox="1"/>
          <p:nvPr/>
        </p:nvSpPr>
        <p:spPr>
          <a:xfrm>
            <a:off x="3141270" y="3319529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 smtClean="0">
                <a:solidFill>
                  <a:srgbClr val="7F7E7E"/>
                </a:solidFill>
              </a:rPr>
              <a:t>.03s</a:t>
            </a:r>
            <a:endParaRPr lang="en-US" sz="1000" dirty="0">
              <a:solidFill>
                <a:srgbClr val="7F7E7E"/>
              </a:solidFill>
            </a:endParaRPr>
          </a:p>
        </p:txBody>
      </p:sp>
      <p:sp>
        <p:nvSpPr>
          <p:cNvPr id="61" name="Rectangle 60"/>
          <p:cNvSpPr/>
          <p:nvPr/>
        </p:nvSpPr>
        <p:spPr>
          <a:xfrm>
            <a:off x="4610317" y="1981200"/>
            <a:ext cx="1422040" cy="1524000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62" name="TextBox 61"/>
          <p:cNvSpPr txBox="1"/>
          <p:nvPr/>
        </p:nvSpPr>
        <p:spPr>
          <a:xfrm>
            <a:off x="4639943" y="3319529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 smtClean="0">
                <a:solidFill>
                  <a:srgbClr val="7F7E7E"/>
                </a:solidFill>
              </a:rPr>
              <a:t>.03s</a:t>
            </a:r>
            <a:endParaRPr lang="en-US" sz="1000" dirty="0">
              <a:solidFill>
                <a:srgbClr val="7F7E7E"/>
              </a:solidFill>
            </a:endParaRPr>
          </a:p>
        </p:txBody>
      </p:sp>
      <p:sp>
        <p:nvSpPr>
          <p:cNvPr id="59" name="Rectangle 58"/>
          <p:cNvSpPr/>
          <p:nvPr/>
        </p:nvSpPr>
        <p:spPr>
          <a:xfrm>
            <a:off x="6108989" y="1981200"/>
            <a:ext cx="1422040" cy="1524000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60" name="TextBox 59"/>
          <p:cNvSpPr txBox="1"/>
          <p:nvPr/>
        </p:nvSpPr>
        <p:spPr>
          <a:xfrm>
            <a:off x="6138615" y="3319529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 smtClean="0">
                <a:solidFill>
                  <a:srgbClr val="7F7E7E"/>
                </a:solidFill>
              </a:rPr>
              <a:t>.26s</a:t>
            </a:r>
            <a:endParaRPr lang="en-US" sz="1000" dirty="0">
              <a:solidFill>
                <a:srgbClr val="7F7E7E"/>
              </a:solidFill>
            </a:endParaRPr>
          </a:p>
        </p:txBody>
      </p:sp>
      <p:sp>
        <p:nvSpPr>
          <p:cNvPr id="57" name="Rectangle 56"/>
          <p:cNvSpPr/>
          <p:nvPr/>
        </p:nvSpPr>
        <p:spPr>
          <a:xfrm>
            <a:off x="7607660" y="1981200"/>
            <a:ext cx="1422040" cy="1524000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58" name="TextBox 57"/>
          <p:cNvSpPr txBox="1"/>
          <p:nvPr/>
        </p:nvSpPr>
        <p:spPr>
          <a:xfrm>
            <a:off x="7637286" y="3319529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 smtClean="0">
                <a:solidFill>
                  <a:srgbClr val="7F7E7E"/>
                </a:solidFill>
              </a:rPr>
              <a:t>.10s</a:t>
            </a:r>
            <a:endParaRPr lang="en-US" sz="1000" dirty="0">
              <a:solidFill>
                <a:srgbClr val="7F7E7E"/>
              </a:solidFill>
            </a:endParaRPr>
          </a:p>
        </p:txBody>
      </p:sp>
      <p:sp>
        <p:nvSpPr>
          <p:cNvPr id="86" name="Rectangle 85"/>
          <p:cNvSpPr/>
          <p:nvPr/>
        </p:nvSpPr>
        <p:spPr>
          <a:xfrm>
            <a:off x="114300" y="3581400"/>
            <a:ext cx="1422040" cy="1524000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87" name="TextBox 86"/>
          <p:cNvSpPr txBox="1"/>
          <p:nvPr/>
        </p:nvSpPr>
        <p:spPr>
          <a:xfrm>
            <a:off x="143926" y="4919729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 smtClean="0">
                <a:solidFill>
                  <a:srgbClr val="7F7E7E"/>
                </a:solidFill>
              </a:rPr>
              <a:t>.01s</a:t>
            </a:r>
            <a:endParaRPr lang="en-US" sz="1000" dirty="0">
              <a:solidFill>
                <a:srgbClr val="7F7E7E"/>
              </a:solidFill>
            </a:endParaRPr>
          </a:p>
        </p:txBody>
      </p:sp>
      <p:sp>
        <p:nvSpPr>
          <p:cNvPr id="84" name="Rectangle 83"/>
          <p:cNvSpPr/>
          <p:nvPr/>
        </p:nvSpPr>
        <p:spPr>
          <a:xfrm>
            <a:off x="1612972" y="3581400"/>
            <a:ext cx="1422040" cy="1524000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85" name="TextBox 84"/>
          <p:cNvSpPr txBox="1"/>
          <p:nvPr/>
        </p:nvSpPr>
        <p:spPr>
          <a:xfrm>
            <a:off x="1642598" y="4919729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 smtClean="0">
                <a:solidFill>
                  <a:srgbClr val="7F7E7E"/>
                </a:solidFill>
              </a:rPr>
              <a:t>8.45s</a:t>
            </a:r>
            <a:endParaRPr lang="en-US" sz="1000" dirty="0">
              <a:solidFill>
                <a:srgbClr val="7F7E7E"/>
              </a:solidFill>
            </a:endParaRPr>
          </a:p>
        </p:txBody>
      </p:sp>
      <p:sp>
        <p:nvSpPr>
          <p:cNvPr id="82" name="Rectangle 81"/>
          <p:cNvSpPr/>
          <p:nvPr/>
        </p:nvSpPr>
        <p:spPr>
          <a:xfrm>
            <a:off x="3111644" y="3581400"/>
            <a:ext cx="1422040" cy="1524000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83" name="TextBox 82"/>
          <p:cNvSpPr txBox="1"/>
          <p:nvPr/>
        </p:nvSpPr>
        <p:spPr>
          <a:xfrm>
            <a:off x="3141270" y="4919729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 smtClean="0">
                <a:solidFill>
                  <a:srgbClr val="7F7E7E"/>
                </a:solidFill>
              </a:rPr>
              <a:t>.03s</a:t>
            </a:r>
            <a:endParaRPr lang="en-US" sz="1000" dirty="0">
              <a:solidFill>
                <a:srgbClr val="7F7E7E"/>
              </a:solidFill>
            </a:endParaRPr>
          </a:p>
        </p:txBody>
      </p:sp>
      <p:sp>
        <p:nvSpPr>
          <p:cNvPr id="80" name="Rectangle 79"/>
          <p:cNvSpPr/>
          <p:nvPr/>
        </p:nvSpPr>
        <p:spPr>
          <a:xfrm>
            <a:off x="4610317" y="3581400"/>
            <a:ext cx="1422040" cy="1524000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81" name="TextBox 80"/>
          <p:cNvSpPr txBox="1"/>
          <p:nvPr/>
        </p:nvSpPr>
        <p:spPr>
          <a:xfrm>
            <a:off x="4639943" y="4919729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 smtClean="0">
                <a:solidFill>
                  <a:srgbClr val="7F7E7E"/>
                </a:solidFill>
              </a:rPr>
              <a:t>.04s</a:t>
            </a:r>
            <a:endParaRPr lang="en-US" sz="1000" dirty="0">
              <a:solidFill>
                <a:srgbClr val="7F7E7E"/>
              </a:solidFill>
            </a:endParaRPr>
          </a:p>
        </p:txBody>
      </p:sp>
      <p:sp>
        <p:nvSpPr>
          <p:cNvPr id="78" name="Rectangle 77"/>
          <p:cNvSpPr/>
          <p:nvPr/>
        </p:nvSpPr>
        <p:spPr>
          <a:xfrm>
            <a:off x="6108989" y="3581400"/>
            <a:ext cx="1422040" cy="1524000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79" name="TextBox 78"/>
          <p:cNvSpPr txBox="1"/>
          <p:nvPr/>
        </p:nvSpPr>
        <p:spPr>
          <a:xfrm>
            <a:off x="6138615" y="4919729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 smtClean="0">
                <a:solidFill>
                  <a:srgbClr val="7F7E7E"/>
                </a:solidFill>
              </a:rPr>
              <a:t>.31s</a:t>
            </a:r>
            <a:endParaRPr lang="en-US" sz="1000" dirty="0">
              <a:solidFill>
                <a:srgbClr val="7F7E7E"/>
              </a:solidFill>
            </a:endParaRPr>
          </a:p>
        </p:txBody>
      </p:sp>
      <p:sp>
        <p:nvSpPr>
          <p:cNvPr id="76" name="Rectangle 75"/>
          <p:cNvSpPr/>
          <p:nvPr/>
        </p:nvSpPr>
        <p:spPr>
          <a:xfrm>
            <a:off x="7607660" y="3581400"/>
            <a:ext cx="1422040" cy="1524000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77" name="TextBox 76"/>
          <p:cNvSpPr txBox="1"/>
          <p:nvPr/>
        </p:nvSpPr>
        <p:spPr>
          <a:xfrm>
            <a:off x="7637286" y="4919729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 smtClean="0">
                <a:solidFill>
                  <a:srgbClr val="7F7E7E"/>
                </a:solidFill>
              </a:rPr>
              <a:t>.11s</a:t>
            </a:r>
            <a:endParaRPr lang="en-US" sz="1000" dirty="0">
              <a:solidFill>
                <a:srgbClr val="7F7E7E"/>
              </a:solidFill>
            </a:endParaRPr>
          </a:p>
        </p:txBody>
      </p:sp>
      <p:sp>
        <p:nvSpPr>
          <p:cNvPr id="105" name="Rectangle 104"/>
          <p:cNvSpPr/>
          <p:nvPr/>
        </p:nvSpPr>
        <p:spPr>
          <a:xfrm>
            <a:off x="114300" y="5181600"/>
            <a:ext cx="1422040" cy="1524000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106" name="TextBox 105"/>
          <p:cNvSpPr txBox="1"/>
          <p:nvPr/>
        </p:nvSpPr>
        <p:spPr>
          <a:xfrm>
            <a:off x="143926" y="6519929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 smtClean="0">
                <a:solidFill>
                  <a:srgbClr val="7F7E7E"/>
                </a:solidFill>
              </a:rPr>
              <a:t>.02s</a:t>
            </a:r>
            <a:endParaRPr lang="en-US" sz="1000" dirty="0">
              <a:solidFill>
                <a:srgbClr val="7F7E7E"/>
              </a:solidFill>
            </a:endParaRPr>
          </a:p>
        </p:txBody>
      </p:sp>
      <p:sp>
        <p:nvSpPr>
          <p:cNvPr id="103" name="Rectangle 102"/>
          <p:cNvSpPr/>
          <p:nvPr/>
        </p:nvSpPr>
        <p:spPr>
          <a:xfrm>
            <a:off x="1612972" y="5181600"/>
            <a:ext cx="1422040" cy="1524000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104" name="TextBox 103"/>
          <p:cNvSpPr txBox="1"/>
          <p:nvPr/>
        </p:nvSpPr>
        <p:spPr>
          <a:xfrm>
            <a:off x="1642598" y="6519929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 smtClean="0">
                <a:solidFill>
                  <a:srgbClr val="7F7E7E"/>
                </a:solidFill>
              </a:rPr>
              <a:t>8.53s</a:t>
            </a:r>
            <a:endParaRPr lang="en-US" sz="1000" dirty="0">
              <a:solidFill>
                <a:srgbClr val="7F7E7E"/>
              </a:solidFill>
            </a:endParaRPr>
          </a:p>
        </p:txBody>
      </p:sp>
      <p:sp>
        <p:nvSpPr>
          <p:cNvPr id="101" name="Rectangle 100"/>
          <p:cNvSpPr/>
          <p:nvPr/>
        </p:nvSpPr>
        <p:spPr>
          <a:xfrm>
            <a:off x="3111644" y="5181600"/>
            <a:ext cx="1422040" cy="1524000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102" name="TextBox 101"/>
          <p:cNvSpPr txBox="1"/>
          <p:nvPr/>
        </p:nvSpPr>
        <p:spPr>
          <a:xfrm>
            <a:off x="3141270" y="6519929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 smtClean="0">
                <a:solidFill>
                  <a:srgbClr val="7F7E7E"/>
                </a:solidFill>
              </a:rPr>
              <a:t>.06s</a:t>
            </a:r>
            <a:endParaRPr lang="en-US" sz="1000" dirty="0">
              <a:solidFill>
                <a:srgbClr val="7F7E7E"/>
              </a:solidFill>
            </a:endParaRPr>
          </a:p>
        </p:txBody>
      </p:sp>
      <p:sp>
        <p:nvSpPr>
          <p:cNvPr id="99" name="Rectangle 98"/>
          <p:cNvSpPr/>
          <p:nvPr/>
        </p:nvSpPr>
        <p:spPr>
          <a:xfrm>
            <a:off x="4610317" y="5181600"/>
            <a:ext cx="1422040" cy="1524000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100" name="TextBox 99"/>
          <p:cNvSpPr txBox="1"/>
          <p:nvPr/>
        </p:nvSpPr>
        <p:spPr>
          <a:xfrm>
            <a:off x="4639943" y="6519929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 smtClean="0">
                <a:solidFill>
                  <a:srgbClr val="7F7E7E"/>
                </a:solidFill>
              </a:rPr>
              <a:t>.08s</a:t>
            </a:r>
            <a:endParaRPr lang="en-US" sz="1000" dirty="0">
              <a:solidFill>
                <a:srgbClr val="7F7E7E"/>
              </a:solidFill>
            </a:endParaRPr>
          </a:p>
        </p:txBody>
      </p:sp>
      <p:sp>
        <p:nvSpPr>
          <p:cNvPr id="97" name="Rectangle 96"/>
          <p:cNvSpPr/>
          <p:nvPr/>
        </p:nvSpPr>
        <p:spPr>
          <a:xfrm>
            <a:off x="6108989" y="5181600"/>
            <a:ext cx="1422040" cy="1524000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98" name="TextBox 97"/>
          <p:cNvSpPr txBox="1"/>
          <p:nvPr/>
        </p:nvSpPr>
        <p:spPr>
          <a:xfrm>
            <a:off x="6138615" y="6519929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 smtClean="0">
                <a:solidFill>
                  <a:srgbClr val="7F7E7E"/>
                </a:solidFill>
              </a:rPr>
              <a:t>.21s</a:t>
            </a:r>
            <a:endParaRPr lang="en-US" sz="1000" dirty="0">
              <a:solidFill>
                <a:srgbClr val="7F7E7E"/>
              </a:solidFill>
            </a:endParaRPr>
          </a:p>
        </p:txBody>
      </p:sp>
      <p:sp>
        <p:nvSpPr>
          <p:cNvPr id="95" name="Rectangle 94"/>
          <p:cNvSpPr/>
          <p:nvPr/>
        </p:nvSpPr>
        <p:spPr>
          <a:xfrm>
            <a:off x="7607660" y="5181600"/>
            <a:ext cx="1422040" cy="1524000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96" name="TextBox 95"/>
          <p:cNvSpPr txBox="1"/>
          <p:nvPr/>
        </p:nvSpPr>
        <p:spPr>
          <a:xfrm>
            <a:off x="7637286" y="6519929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 smtClean="0">
                <a:solidFill>
                  <a:srgbClr val="7F7E7E"/>
                </a:solidFill>
              </a:rPr>
              <a:t>.10s</a:t>
            </a:r>
            <a:endParaRPr lang="en-US" sz="1000" dirty="0">
              <a:solidFill>
                <a:srgbClr val="7F7E7E"/>
              </a:solidFill>
            </a:endParaRPr>
          </a:p>
        </p:txBody>
      </p:sp>
      <p:sp>
        <p:nvSpPr>
          <p:cNvPr id="108" name="TextBox 107"/>
          <p:cNvSpPr txBox="1"/>
          <p:nvPr/>
        </p:nvSpPr>
        <p:spPr>
          <a:xfrm>
            <a:off x="143926" y="228600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b="1" dirty="0" err="1" smtClean="0">
                <a:solidFill>
                  <a:srgbClr val="7F7E7E"/>
                </a:solidFill>
              </a:rPr>
              <a:t>MiniBatchKMeans</a:t>
            </a:r>
            <a:endParaRPr lang="en-US" sz="1000" b="1" dirty="0">
              <a:solidFill>
                <a:srgbClr val="7F7E7E"/>
              </a:solidFill>
            </a:endParaRPr>
          </a:p>
        </p:txBody>
      </p:sp>
      <p:sp>
        <p:nvSpPr>
          <p:cNvPr id="109" name="TextBox 108"/>
          <p:cNvSpPr txBox="1"/>
          <p:nvPr/>
        </p:nvSpPr>
        <p:spPr>
          <a:xfrm>
            <a:off x="1642598" y="228600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b="1" dirty="0" err="1" smtClean="0">
                <a:solidFill>
                  <a:srgbClr val="7F7E7E"/>
                </a:solidFill>
              </a:rPr>
              <a:t>AffinityPropagation</a:t>
            </a:r>
            <a:endParaRPr lang="en-US" sz="1000" b="1" dirty="0">
              <a:solidFill>
                <a:srgbClr val="7F7E7E"/>
              </a:solidFill>
            </a:endParaRPr>
          </a:p>
        </p:txBody>
      </p:sp>
      <p:sp>
        <p:nvSpPr>
          <p:cNvPr id="110" name="TextBox 109"/>
          <p:cNvSpPr txBox="1"/>
          <p:nvPr/>
        </p:nvSpPr>
        <p:spPr>
          <a:xfrm>
            <a:off x="3141270" y="228600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b="1" dirty="0" err="1" smtClean="0">
                <a:solidFill>
                  <a:srgbClr val="7F7E7E"/>
                </a:solidFill>
              </a:rPr>
              <a:t>MeanShift</a:t>
            </a:r>
            <a:endParaRPr lang="en-US" sz="1000" b="1" dirty="0">
              <a:solidFill>
                <a:srgbClr val="7F7E7E"/>
              </a:solidFill>
            </a:endParaRPr>
          </a:p>
        </p:txBody>
      </p:sp>
      <p:sp>
        <p:nvSpPr>
          <p:cNvPr id="111" name="TextBox 110"/>
          <p:cNvSpPr txBox="1"/>
          <p:nvPr/>
        </p:nvSpPr>
        <p:spPr>
          <a:xfrm>
            <a:off x="4639943" y="228600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b="1" dirty="0" err="1" smtClean="0">
                <a:solidFill>
                  <a:srgbClr val="7F7E7E"/>
                </a:solidFill>
              </a:rPr>
              <a:t>SpectralClustering</a:t>
            </a:r>
            <a:endParaRPr lang="en-US" sz="1000" b="1" dirty="0">
              <a:solidFill>
                <a:srgbClr val="7F7E7E"/>
              </a:solidFill>
            </a:endParaRPr>
          </a:p>
        </p:txBody>
      </p:sp>
      <p:sp>
        <p:nvSpPr>
          <p:cNvPr id="112" name="TextBox 111"/>
          <p:cNvSpPr txBox="1"/>
          <p:nvPr/>
        </p:nvSpPr>
        <p:spPr>
          <a:xfrm>
            <a:off x="6138615" y="228600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b="1" dirty="0" smtClean="0">
                <a:solidFill>
                  <a:srgbClr val="7F7E7E"/>
                </a:solidFill>
              </a:rPr>
              <a:t>Ward</a:t>
            </a:r>
            <a:endParaRPr lang="en-US" sz="1000" b="1" dirty="0">
              <a:solidFill>
                <a:srgbClr val="7F7E7E"/>
              </a:solidFill>
            </a:endParaRPr>
          </a:p>
        </p:txBody>
      </p:sp>
      <p:sp>
        <p:nvSpPr>
          <p:cNvPr id="113" name="TextBox 112"/>
          <p:cNvSpPr txBox="1"/>
          <p:nvPr/>
        </p:nvSpPr>
        <p:spPr>
          <a:xfrm>
            <a:off x="7637286" y="228600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b="1" dirty="0" smtClean="0">
                <a:solidFill>
                  <a:srgbClr val="7F7E7E"/>
                </a:solidFill>
              </a:rPr>
              <a:t>DBSCAN</a:t>
            </a:r>
            <a:endParaRPr lang="en-US" sz="1000" b="1" dirty="0">
              <a:solidFill>
                <a:srgbClr val="7F7E7E"/>
              </a:solidFill>
            </a:endParaRPr>
          </a:p>
        </p:txBody>
      </p:sp>
      <p:grpSp>
        <p:nvGrpSpPr>
          <p:cNvPr id="118" name="Group 117"/>
          <p:cNvGrpSpPr/>
          <p:nvPr/>
        </p:nvGrpSpPr>
        <p:grpSpPr>
          <a:xfrm>
            <a:off x="1752600" y="457200"/>
            <a:ext cx="1185755" cy="1245801"/>
            <a:chOff x="1752600" y="457200"/>
            <a:chExt cx="1185755" cy="1245801"/>
          </a:xfrm>
        </p:grpSpPr>
        <p:pic>
          <p:nvPicPr>
            <p:cNvPr id="115" name="Picture 114"/>
            <p:cNvPicPr>
              <a:picLocks noChangeAspect="1"/>
            </p:cNvPicPr>
            <p:nvPr/>
          </p:nvPicPr>
          <p:blipFill rotWithShape="1">
            <a:blip r:embed="rId6"/>
            <a:srcRect l="3497"/>
            <a:stretch/>
          </p:blipFill>
          <p:spPr>
            <a:xfrm>
              <a:off x="1752600" y="457200"/>
              <a:ext cx="1185755" cy="1219200"/>
            </a:xfrm>
            <a:prstGeom prst="rect">
              <a:avLst/>
            </a:prstGeom>
          </p:spPr>
        </p:pic>
        <p:sp>
          <p:nvSpPr>
            <p:cNvPr id="117" name="Rectangle 116"/>
            <p:cNvSpPr/>
            <p:nvPr/>
          </p:nvSpPr>
          <p:spPr>
            <a:xfrm>
              <a:off x="2631502" y="1569651"/>
              <a:ext cx="306853" cy="13335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/>
            </a:p>
          </p:txBody>
        </p:sp>
      </p:grpSp>
      <p:grpSp>
        <p:nvGrpSpPr>
          <p:cNvPr id="121" name="Group 120"/>
          <p:cNvGrpSpPr/>
          <p:nvPr/>
        </p:nvGrpSpPr>
        <p:grpSpPr>
          <a:xfrm>
            <a:off x="3212253" y="457200"/>
            <a:ext cx="1220823" cy="1219200"/>
            <a:chOff x="3198777" y="457200"/>
            <a:chExt cx="1220823" cy="1219200"/>
          </a:xfrm>
        </p:grpSpPr>
        <p:pic>
          <p:nvPicPr>
            <p:cNvPr id="119" name="Picture 118"/>
            <p:cNvPicPr>
              <a:picLocks noChangeAspect="1"/>
            </p:cNvPicPr>
            <p:nvPr/>
          </p:nvPicPr>
          <p:blipFill rotWithShape="1">
            <a:blip r:embed="rId7"/>
            <a:srcRect r="2160"/>
            <a:stretch/>
          </p:blipFill>
          <p:spPr>
            <a:xfrm>
              <a:off x="3198777" y="457200"/>
              <a:ext cx="1220823" cy="1219200"/>
            </a:xfrm>
            <a:prstGeom prst="rect">
              <a:avLst/>
            </a:prstGeom>
          </p:spPr>
        </p:pic>
        <p:sp>
          <p:nvSpPr>
            <p:cNvPr id="120" name="Rectangle 119"/>
            <p:cNvSpPr/>
            <p:nvPr/>
          </p:nvSpPr>
          <p:spPr>
            <a:xfrm>
              <a:off x="4121113" y="1543050"/>
              <a:ext cx="298487" cy="13335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/>
            </a:p>
          </p:txBody>
        </p:sp>
      </p:grpSp>
      <p:grpSp>
        <p:nvGrpSpPr>
          <p:cNvPr id="125" name="Group 124"/>
          <p:cNvGrpSpPr/>
          <p:nvPr/>
        </p:nvGrpSpPr>
        <p:grpSpPr>
          <a:xfrm>
            <a:off x="4711737" y="494527"/>
            <a:ext cx="1219200" cy="1219200"/>
            <a:chOff x="4724400" y="494527"/>
            <a:chExt cx="1219200" cy="1219200"/>
          </a:xfrm>
        </p:grpSpPr>
        <p:pic>
          <p:nvPicPr>
            <p:cNvPr id="122" name="Picture 121"/>
            <p:cNvPicPr>
              <a:picLocks noChangeAspect="1"/>
            </p:cNvPicPr>
            <p:nvPr/>
          </p:nvPicPr>
          <p:blipFill rotWithShape="1">
            <a:blip r:embed="rId8"/>
            <a:srcRect l="596" r="943"/>
            <a:stretch/>
          </p:blipFill>
          <p:spPr>
            <a:xfrm>
              <a:off x="4724400" y="494527"/>
              <a:ext cx="1219200" cy="1219200"/>
            </a:xfrm>
            <a:prstGeom prst="rect">
              <a:avLst/>
            </a:prstGeom>
          </p:spPr>
        </p:pic>
        <p:sp>
          <p:nvSpPr>
            <p:cNvPr id="123" name="Rectangle 122"/>
            <p:cNvSpPr/>
            <p:nvPr/>
          </p:nvSpPr>
          <p:spPr>
            <a:xfrm>
              <a:off x="5645113" y="1580377"/>
              <a:ext cx="298487" cy="13335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/>
            </a:p>
          </p:txBody>
        </p:sp>
      </p:grpSp>
      <p:grpSp>
        <p:nvGrpSpPr>
          <p:cNvPr id="128" name="Group 127"/>
          <p:cNvGrpSpPr/>
          <p:nvPr/>
        </p:nvGrpSpPr>
        <p:grpSpPr>
          <a:xfrm>
            <a:off x="6206944" y="509201"/>
            <a:ext cx="1226130" cy="1200150"/>
            <a:chOff x="6206944" y="509201"/>
            <a:chExt cx="1226130" cy="1200150"/>
          </a:xfrm>
        </p:grpSpPr>
        <p:pic>
          <p:nvPicPr>
            <p:cNvPr id="126" name="Picture 125"/>
            <p:cNvPicPr>
              <a:picLocks noChangeAspect="1"/>
            </p:cNvPicPr>
            <p:nvPr/>
          </p:nvPicPr>
          <p:blipFill rotWithShape="1">
            <a:blip r:embed="rId9"/>
            <a:srcRect l="1734" r="-1"/>
            <a:stretch/>
          </p:blipFill>
          <p:spPr>
            <a:xfrm>
              <a:off x="6206944" y="509201"/>
              <a:ext cx="1226130" cy="1200150"/>
            </a:xfrm>
            <a:prstGeom prst="rect">
              <a:avLst/>
            </a:prstGeom>
          </p:spPr>
        </p:pic>
        <p:sp>
          <p:nvSpPr>
            <p:cNvPr id="127" name="Rectangle 126"/>
            <p:cNvSpPr/>
            <p:nvPr/>
          </p:nvSpPr>
          <p:spPr>
            <a:xfrm>
              <a:off x="7134587" y="1576001"/>
              <a:ext cx="298487" cy="13335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/>
            </a:p>
          </p:txBody>
        </p:sp>
      </p:grpSp>
      <p:grpSp>
        <p:nvGrpSpPr>
          <p:cNvPr id="131" name="Group 130"/>
          <p:cNvGrpSpPr/>
          <p:nvPr/>
        </p:nvGrpSpPr>
        <p:grpSpPr>
          <a:xfrm>
            <a:off x="7718605" y="458401"/>
            <a:ext cx="1200150" cy="1219200"/>
            <a:chOff x="7698581" y="452051"/>
            <a:chExt cx="1200150" cy="1219200"/>
          </a:xfrm>
        </p:grpSpPr>
        <p:pic>
          <p:nvPicPr>
            <p:cNvPr id="129" name="Picture 128"/>
            <p:cNvPicPr>
              <a:picLocks noChangeAspect="1"/>
            </p:cNvPicPr>
            <p:nvPr/>
          </p:nvPicPr>
          <p:blipFill rotWithShape="1">
            <a:blip r:embed="rId10"/>
            <a:srcRect l="1563"/>
            <a:stretch/>
          </p:blipFill>
          <p:spPr>
            <a:xfrm>
              <a:off x="7698581" y="452051"/>
              <a:ext cx="1200150" cy="1219200"/>
            </a:xfrm>
            <a:prstGeom prst="rect">
              <a:avLst/>
            </a:prstGeom>
          </p:spPr>
        </p:pic>
        <p:sp>
          <p:nvSpPr>
            <p:cNvPr id="130" name="Rectangle 129"/>
            <p:cNvSpPr/>
            <p:nvPr/>
          </p:nvSpPr>
          <p:spPr>
            <a:xfrm>
              <a:off x="8600244" y="1537901"/>
              <a:ext cx="298487" cy="13335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/>
            </a:p>
          </p:txBody>
        </p:sp>
      </p:grpSp>
      <p:grpSp>
        <p:nvGrpSpPr>
          <p:cNvPr id="134" name="Group 133"/>
          <p:cNvGrpSpPr/>
          <p:nvPr/>
        </p:nvGrpSpPr>
        <p:grpSpPr>
          <a:xfrm>
            <a:off x="215720" y="2061776"/>
            <a:ext cx="1219200" cy="1228725"/>
            <a:chOff x="215720" y="2061776"/>
            <a:chExt cx="1219200" cy="1228725"/>
          </a:xfrm>
        </p:grpSpPr>
        <p:pic>
          <p:nvPicPr>
            <p:cNvPr id="132" name="Picture 131"/>
            <p:cNvPicPr>
              <a:picLocks noChangeAspect="1"/>
            </p:cNvPicPr>
            <p:nvPr/>
          </p:nvPicPr>
          <p:blipFill>
            <a:blip r:embed="rId11"/>
            <a:stretch>
              <a:fillRect/>
            </a:stretch>
          </p:blipFill>
          <p:spPr>
            <a:xfrm>
              <a:off x="215720" y="2061776"/>
              <a:ext cx="1219200" cy="1228725"/>
            </a:xfrm>
            <a:prstGeom prst="rect">
              <a:avLst/>
            </a:prstGeom>
          </p:spPr>
        </p:pic>
        <p:sp>
          <p:nvSpPr>
            <p:cNvPr id="133" name="Rectangle 132"/>
            <p:cNvSpPr/>
            <p:nvPr/>
          </p:nvSpPr>
          <p:spPr>
            <a:xfrm>
              <a:off x="1204913" y="3190875"/>
              <a:ext cx="230007" cy="9962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/>
            </a:p>
          </p:txBody>
        </p:sp>
      </p:grpSp>
      <p:grpSp>
        <p:nvGrpSpPr>
          <p:cNvPr id="137" name="Group 136"/>
          <p:cNvGrpSpPr/>
          <p:nvPr/>
        </p:nvGrpSpPr>
        <p:grpSpPr>
          <a:xfrm>
            <a:off x="1720849" y="2041525"/>
            <a:ext cx="1222267" cy="1231900"/>
            <a:chOff x="1720849" y="2041525"/>
            <a:chExt cx="1222267" cy="1231900"/>
          </a:xfrm>
        </p:grpSpPr>
        <p:pic>
          <p:nvPicPr>
            <p:cNvPr id="135" name="Picture 134"/>
            <p:cNvPicPr>
              <a:picLocks noChangeAspect="1"/>
            </p:cNvPicPr>
            <p:nvPr/>
          </p:nvPicPr>
          <p:blipFill rotWithShape="1">
            <a:blip r:embed="rId12"/>
            <a:srcRect l="1291" t="1272" b="1"/>
            <a:stretch/>
          </p:blipFill>
          <p:spPr>
            <a:xfrm>
              <a:off x="1720849" y="2041525"/>
              <a:ext cx="1222267" cy="1231900"/>
            </a:xfrm>
            <a:prstGeom prst="rect">
              <a:avLst/>
            </a:prstGeom>
          </p:spPr>
        </p:pic>
        <p:sp>
          <p:nvSpPr>
            <p:cNvPr id="136" name="Rectangle 135"/>
            <p:cNvSpPr/>
            <p:nvPr/>
          </p:nvSpPr>
          <p:spPr>
            <a:xfrm>
              <a:off x="2631502" y="3169851"/>
              <a:ext cx="311614" cy="103574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/>
            </a:p>
          </p:txBody>
        </p:sp>
      </p:grpSp>
      <p:grpSp>
        <p:nvGrpSpPr>
          <p:cNvPr id="140" name="Group 139"/>
          <p:cNvGrpSpPr/>
          <p:nvPr/>
        </p:nvGrpSpPr>
        <p:grpSpPr>
          <a:xfrm>
            <a:off x="244295" y="3642926"/>
            <a:ext cx="1190625" cy="1171575"/>
            <a:chOff x="244295" y="3642926"/>
            <a:chExt cx="1190625" cy="1171575"/>
          </a:xfrm>
        </p:grpSpPr>
        <p:pic>
          <p:nvPicPr>
            <p:cNvPr id="138" name="Picture 137"/>
            <p:cNvPicPr>
              <a:picLocks noChangeAspect="1"/>
            </p:cNvPicPr>
            <p:nvPr/>
          </p:nvPicPr>
          <p:blipFill>
            <a:blip r:embed="rId13"/>
            <a:stretch>
              <a:fillRect/>
            </a:stretch>
          </p:blipFill>
          <p:spPr>
            <a:xfrm>
              <a:off x="244295" y="3642926"/>
              <a:ext cx="1190625" cy="1171575"/>
            </a:xfrm>
            <a:prstGeom prst="rect">
              <a:avLst/>
            </a:prstGeom>
          </p:spPr>
        </p:pic>
        <p:sp>
          <p:nvSpPr>
            <p:cNvPr id="139" name="Rectangle 138"/>
            <p:cNvSpPr/>
            <p:nvPr/>
          </p:nvSpPr>
          <p:spPr>
            <a:xfrm>
              <a:off x="1136433" y="4681151"/>
              <a:ext cx="298487" cy="13335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/>
            </a:p>
          </p:txBody>
        </p:sp>
      </p:grpSp>
      <p:pic>
        <p:nvPicPr>
          <p:cNvPr id="141" name="Picture 140"/>
          <p:cNvPicPr>
            <a:picLocks noChangeAspect="1"/>
          </p:cNvPicPr>
          <p:nvPr/>
        </p:nvPicPr>
        <p:blipFill rotWithShape="1">
          <a:blip r:embed="rId14"/>
          <a:srcRect r="4809" b="6589"/>
          <a:stretch/>
        </p:blipFill>
        <p:spPr>
          <a:xfrm>
            <a:off x="111289" y="5232656"/>
            <a:ext cx="1428062" cy="1234566"/>
          </a:xfrm>
          <a:prstGeom prst="rect">
            <a:avLst/>
          </a:prstGeom>
        </p:spPr>
      </p:pic>
      <p:pic>
        <p:nvPicPr>
          <p:cNvPr id="142" name="Picture 141"/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1619696" y="5232475"/>
            <a:ext cx="1408594" cy="1239690"/>
          </a:xfrm>
          <a:prstGeom prst="rect">
            <a:avLst/>
          </a:prstGeom>
        </p:spPr>
      </p:pic>
      <p:pic>
        <p:nvPicPr>
          <p:cNvPr id="143" name="Picture 142"/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3124093" y="5232834"/>
            <a:ext cx="1397142" cy="1229446"/>
          </a:xfrm>
          <a:prstGeom prst="rect">
            <a:avLst/>
          </a:prstGeom>
        </p:spPr>
      </p:pic>
      <p:pic>
        <p:nvPicPr>
          <p:cNvPr id="144" name="Picture 143"/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4639945" y="5232114"/>
            <a:ext cx="1362786" cy="1249936"/>
          </a:xfrm>
          <a:prstGeom prst="rect">
            <a:avLst/>
          </a:prstGeom>
        </p:spPr>
      </p:pic>
      <p:pic>
        <p:nvPicPr>
          <p:cNvPr id="145" name="Picture 144"/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>
            <a:off x="6121438" y="5233196"/>
            <a:ext cx="1397142" cy="1219198"/>
          </a:xfrm>
          <a:prstGeom prst="rect">
            <a:avLst/>
          </a:prstGeom>
        </p:spPr>
      </p:pic>
      <p:pic>
        <p:nvPicPr>
          <p:cNvPr id="146" name="Picture 145"/>
          <p:cNvPicPr>
            <a:picLocks noChangeAspect="1"/>
          </p:cNvPicPr>
          <p:nvPr/>
        </p:nvPicPr>
        <p:blipFill>
          <a:blip r:embed="rId19"/>
          <a:stretch>
            <a:fillRect/>
          </a:stretch>
        </p:blipFill>
        <p:spPr>
          <a:xfrm>
            <a:off x="7625836" y="5233196"/>
            <a:ext cx="1385690" cy="1219198"/>
          </a:xfrm>
          <a:prstGeom prst="rect">
            <a:avLst/>
          </a:prstGeom>
        </p:spPr>
      </p:pic>
      <p:grpSp>
        <p:nvGrpSpPr>
          <p:cNvPr id="149" name="Group 148"/>
          <p:cNvGrpSpPr/>
          <p:nvPr/>
        </p:nvGrpSpPr>
        <p:grpSpPr>
          <a:xfrm>
            <a:off x="1766780" y="3642926"/>
            <a:ext cx="1114425" cy="1162050"/>
            <a:chOff x="1766780" y="3642926"/>
            <a:chExt cx="1114425" cy="1162050"/>
          </a:xfrm>
        </p:grpSpPr>
        <p:pic>
          <p:nvPicPr>
            <p:cNvPr id="147" name="Picture 146"/>
            <p:cNvPicPr>
              <a:picLocks noChangeAspect="1"/>
            </p:cNvPicPr>
            <p:nvPr/>
          </p:nvPicPr>
          <p:blipFill>
            <a:blip r:embed="rId20"/>
            <a:stretch>
              <a:fillRect/>
            </a:stretch>
          </p:blipFill>
          <p:spPr>
            <a:xfrm>
              <a:off x="1766780" y="3642926"/>
              <a:ext cx="1114425" cy="1162050"/>
            </a:xfrm>
            <a:prstGeom prst="rect">
              <a:avLst/>
            </a:prstGeom>
          </p:spPr>
        </p:pic>
        <p:sp>
          <p:nvSpPr>
            <p:cNvPr id="148" name="Rectangle 147"/>
            <p:cNvSpPr/>
            <p:nvPr/>
          </p:nvSpPr>
          <p:spPr>
            <a:xfrm>
              <a:off x="2582718" y="4671626"/>
              <a:ext cx="298487" cy="13335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/>
            </a:p>
          </p:txBody>
        </p:sp>
      </p:grpSp>
      <p:grpSp>
        <p:nvGrpSpPr>
          <p:cNvPr id="152" name="Group 151"/>
          <p:cNvGrpSpPr/>
          <p:nvPr/>
        </p:nvGrpSpPr>
        <p:grpSpPr>
          <a:xfrm>
            <a:off x="3274976" y="3642926"/>
            <a:ext cx="1095375" cy="1200150"/>
            <a:chOff x="3274976" y="3664934"/>
            <a:chExt cx="1095375" cy="1200150"/>
          </a:xfrm>
        </p:grpSpPr>
        <p:pic>
          <p:nvPicPr>
            <p:cNvPr id="150" name="Picture 149"/>
            <p:cNvPicPr>
              <a:picLocks noChangeAspect="1"/>
            </p:cNvPicPr>
            <p:nvPr/>
          </p:nvPicPr>
          <p:blipFill>
            <a:blip r:embed="rId21"/>
            <a:stretch>
              <a:fillRect/>
            </a:stretch>
          </p:blipFill>
          <p:spPr>
            <a:xfrm>
              <a:off x="3274976" y="3664934"/>
              <a:ext cx="1095375" cy="1200150"/>
            </a:xfrm>
            <a:prstGeom prst="rect">
              <a:avLst/>
            </a:prstGeom>
          </p:spPr>
        </p:pic>
        <p:sp>
          <p:nvSpPr>
            <p:cNvPr id="151" name="Rectangle 150"/>
            <p:cNvSpPr/>
            <p:nvPr/>
          </p:nvSpPr>
          <p:spPr>
            <a:xfrm>
              <a:off x="4071864" y="4731734"/>
              <a:ext cx="298487" cy="13335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/>
            </a:p>
          </p:txBody>
        </p:sp>
      </p:grpSp>
      <p:grpSp>
        <p:nvGrpSpPr>
          <p:cNvPr id="155" name="Group 154"/>
          <p:cNvGrpSpPr/>
          <p:nvPr/>
        </p:nvGrpSpPr>
        <p:grpSpPr>
          <a:xfrm>
            <a:off x="4778412" y="3642926"/>
            <a:ext cx="1085850" cy="1200150"/>
            <a:chOff x="4778412" y="3654756"/>
            <a:chExt cx="1085850" cy="1200150"/>
          </a:xfrm>
        </p:grpSpPr>
        <p:pic>
          <p:nvPicPr>
            <p:cNvPr id="153" name="Picture 152"/>
            <p:cNvPicPr>
              <a:picLocks noChangeAspect="1"/>
            </p:cNvPicPr>
            <p:nvPr/>
          </p:nvPicPr>
          <p:blipFill>
            <a:blip r:embed="rId22"/>
            <a:stretch>
              <a:fillRect/>
            </a:stretch>
          </p:blipFill>
          <p:spPr>
            <a:xfrm>
              <a:off x="4778412" y="3654756"/>
              <a:ext cx="1085850" cy="1200150"/>
            </a:xfrm>
            <a:prstGeom prst="rect">
              <a:avLst/>
            </a:prstGeom>
          </p:spPr>
        </p:pic>
        <p:sp>
          <p:nvSpPr>
            <p:cNvPr id="154" name="Rectangle 153"/>
            <p:cNvSpPr/>
            <p:nvPr/>
          </p:nvSpPr>
          <p:spPr>
            <a:xfrm>
              <a:off x="5565775" y="4721556"/>
              <a:ext cx="298487" cy="13335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/>
            </a:p>
          </p:txBody>
        </p:sp>
      </p:grpSp>
      <p:grpSp>
        <p:nvGrpSpPr>
          <p:cNvPr id="158" name="Group 157"/>
          <p:cNvGrpSpPr/>
          <p:nvPr/>
        </p:nvGrpSpPr>
        <p:grpSpPr>
          <a:xfrm>
            <a:off x="6305659" y="3642926"/>
            <a:ext cx="1028700" cy="1171575"/>
            <a:chOff x="6305659" y="3718289"/>
            <a:chExt cx="1028700" cy="1171575"/>
          </a:xfrm>
        </p:grpSpPr>
        <p:pic>
          <p:nvPicPr>
            <p:cNvPr id="156" name="Picture 155"/>
            <p:cNvPicPr>
              <a:picLocks noChangeAspect="1"/>
            </p:cNvPicPr>
            <p:nvPr/>
          </p:nvPicPr>
          <p:blipFill>
            <a:blip r:embed="rId23"/>
            <a:stretch>
              <a:fillRect/>
            </a:stretch>
          </p:blipFill>
          <p:spPr>
            <a:xfrm>
              <a:off x="6305659" y="3718289"/>
              <a:ext cx="1028700" cy="1171575"/>
            </a:xfrm>
            <a:prstGeom prst="rect">
              <a:avLst/>
            </a:prstGeom>
          </p:spPr>
        </p:pic>
        <p:sp>
          <p:nvSpPr>
            <p:cNvPr id="157" name="Rectangle 156"/>
            <p:cNvSpPr/>
            <p:nvPr/>
          </p:nvSpPr>
          <p:spPr>
            <a:xfrm>
              <a:off x="7035872" y="4756514"/>
              <a:ext cx="298487" cy="13335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/>
            </a:p>
          </p:txBody>
        </p:sp>
      </p:grpSp>
      <p:pic>
        <p:nvPicPr>
          <p:cNvPr id="159" name="Picture 158"/>
          <p:cNvPicPr>
            <a:picLocks noChangeAspect="1"/>
          </p:cNvPicPr>
          <p:nvPr/>
        </p:nvPicPr>
        <p:blipFill rotWithShape="1">
          <a:blip r:embed="rId24"/>
          <a:srcRect r="1655"/>
          <a:stretch/>
        </p:blipFill>
        <p:spPr>
          <a:xfrm>
            <a:off x="7884677" y="3642926"/>
            <a:ext cx="1011673" cy="1190625"/>
          </a:xfrm>
          <a:prstGeom prst="rect">
            <a:avLst/>
          </a:prstGeom>
        </p:spPr>
      </p:pic>
      <p:grpSp>
        <p:nvGrpSpPr>
          <p:cNvPr id="173" name="Group 172"/>
          <p:cNvGrpSpPr/>
          <p:nvPr/>
        </p:nvGrpSpPr>
        <p:grpSpPr>
          <a:xfrm>
            <a:off x="209153" y="452051"/>
            <a:ext cx="1279760" cy="1257300"/>
            <a:chOff x="209153" y="452051"/>
            <a:chExt cx="1279760" cy="1257300"/>
          </a:xfrm>
        </p:grpSpPr>
        <p:pic>
          <p:nvPicPr>
            <p:cNvPr id="114" name="Picture 113"/>
            <p:cNvPicPr>
              <a:picLocks noChangeAspect="1"/>
            </p:cNvPicPr>
            <p:nvPr/>
          </p:nvPicPr>
          <p:blipFill rotWithShape="1">
            <a:blip r:embed="rId25"/>
            <a:srcRect r="2020"/>
            <a:stretch/>
          </p:blipFill>
          <p:spPr>
            <a:xfrm>
              <a:off x="209153" y="452051"/>
              <a:ext cx="1232334" cy="1257300"/>
            </a:xfrm>
            <a:prstGeom prst="rect">
              <a:avLst/>
            </a:prstGeom>
          </p:spPr>
        </p:pic>
        <p:sp>
          <p:nvSpPr>
            <p:cNvPr id="116" name="Rectangle 115"/>
            <p:cNvSpPr/>
            <p:nvPr/>
          </p:nvSpPr>
          <p:spPr>
            <a:xfrm>
              <a:off x="1190426" y="1576001"/>
              <a:ext cx="298487" cy="13335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/>
            </a:p>
          </p:txBody>
        </p:sp>
      </p:grpSp>
      <p:grpSp>
        <p:nvGrpSpPr>
          <p:cNvPr id="163" name="Group 162"/>
          <p:cNvGrpSpPr/>
          <p:nvPr/>
        </p:nvGrpSpPr>
        <p:grpSpPr>
          <a:xfrm>
            <a:off x="3217827" y="2041525"/>
            <a:ext cx="1209675" cy="1200150"/>
            <a:chOff x="3217827" y="2041525"/>
            <a:chExt cx="1209675" cy="1200150"/>
          </a:xfrm>
        </p:grpSpPr>
        <p:pic>
          <p:nvPicPr>
            <p:cNvPr id="160" name="Picture 159"/>
            <p:cNvPicPr>
              <a:picLocks noChangeAspect="1"/>
            </p:cNvPicPr>
            <p:nvPr/>
          </p:nvPicPr>
          <p:blipFill>
            <a:blip r:embed="rId26"/>
            <a:stretch>
              <a:fillRect/>
            </a:stretch>
          </p:blipFill>
          <p:spPr>
            <a:xfrm>
              <a:off x="3217827" y="2041525"/>
              <a:ext cx="1209675" cy="1200150"/>
            </a:xfrm>
            <a:prstGeom prst="rect">
              <a:avLst/>
            </a:prstGeom>
          </p:spPr>
        </p:pic>
        <p:sp>
          <p:nvSpPr>
            <p:cNvPr id="162" name="Rectangle 161"/>
            <p:cNvSpPr/>
            <p:nvPr/>
          </p:nvSpPr>
          <p:spPr>
            <a:xfrm>
              <a:off x="4198144" y="3138101"/>
              <a:ext cx="229358" cy="103574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/>
            </a:p>
          </p:txBody>
        </p:sp>
      </p:grpSp>
      <p:grpSp>
        <p:nvGrpSpPr>
          <p:cNvPr id="166" name="Group 165"/>
          <p:cNvGrpSpPr/>
          <p:nvPr/>
        </p:nvGrpSpPr>
        <p:grpSpPr>
          <a:xfrm>
            <a:off x="4712494" y="2041525"/>
            <a:ext cx="1208882" cy="1209675"/>
            <a:chOff x="4712494" y="2041525"/>
            <a:chExt cx="1208882" cy="1209675"/>
          </a:xfrm>
        </p:grpSpPr>
        <p:pic>
          <p:nvPicPr>
            <p:cNvPr id="164" name="Picture 163"/>
            <p:cNvPicPr>
              <a:picLocks noChangeAspect="1"/>
            </p:cNvPicPr>
            <p:nvPr/>
          </p:nvPicPr>
          <p:blipFill rotWithShape="1">
            <a:blip r:embed="rId27"/>
            <a:srcRect l="1575" r="2275"/>
            <a:stretch/>
          </p:blipFill>
          <p:spPr>
            <a:xfrm>
              <a:off x="4712494" y="2041525"/>
              <a:ext cx="1208882" cy="1209675"/>
            </a:xfrm>
            <a:prstGeom prst="rect">
              <a:avLst/>
            </a:prstGeom>
          </p:spPr>
        </p:pic>
        <p:sp>
          <p:nvSpPr>
            <p:cNvPr id="165" name="Rectangle 164"/>
            <p:cNvSpPr/>
            <p:nvPr/>
          </p:nvSpPr>
          <p:spPr>
            <a:xfrm>
              <a:off x="5622889" y="3117850"/>
              <a:ext cx="298487" cy="13335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/>
            </a:p>
          </p:txBody>
        </p:sp>
      </p:grpSp>
      <p:grpSp>
        <p:nvGrpSpPr>
          <p:cNvPr id="169" name="Group 168"/>
          <p:cNvGrpSpPr/>
          <p:nvPr/>
        </p:nvGrpSpPr>
        <p:grpSpPr>
          <a:xfrm>
            <a:off x="6226969" y="2041525"/>
            <a:ext cx="1207403" cy="1209675"/>
            <a:chOff x="6226969" y="2041525"/>
            <a:chExt cx="1207403" cy="1209675"/>
          </a:xfrm>
        </p:grpSpPr>
        <p:pic>
          <p:nvPicPr>
            <p:cNvPr id="167" name="Picture 166"/>
            <p:cNvPicPr>
              <a:picLocks noChangeAspect="1"/>
            </p:cNvPicPr>
            <p:nvPr/>
          </p:nvPicPr>
          <p:blipFill rotWithShape="1">
            <a:blip r:embed="rId28"/>
            <a:srcRect l="1735"/>
            <a:stretch/>
          </p:blipFill>
          <p:spPr>
            <a:xfrm>
              <a:off x="6226969" y="2041525"/>
              <a:ext cx="1207403" cy="1209675"/>
            </a:xfrm>
            <a:prstGeom prst="rect">
              <a:avLst/>
            </a:prstGeom>
          </p:spPr>
        </p:pic>
        <p:sp>
          <p:nvSpPr>
            <p:cNvPr id="168" name="Rectangle 167"/>
            <p:cNvSpPr/>
            <p:nvPr/>
          </p:nvSpPr>
          <p:spPr>
            <a:xfrm>
              <a:off x="7239000" y="3169852"/>
              <a:ext cx="195372" cy="8134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/>
            </a:p>
          </p:txBody>
        </p:sp>
      </p:grpSp>
      <p:grpSp>
        <p:nvGrpSpPr>
          <p:cNvPr id="170" name="Group 169"/>
          <p:cNvGrpSpPr/>
          <p:nvPr/>
        </p:nvGrpSpPr>
        <p:grpSpPr>
          <a:xfrm>
            <a:off x="7714979" y="2041525"/>
            <a:ext cx="1207403" cy="1209675"/>
            <a:chOff x="6226969" y="2041525"/>
            <a:chExt cx="1207403" cy="1209675"/>
          </a:xfrm>
        </p:grpSpPr>
        <p:pic>
          <p:nvPicPr>
            <p:cNvPr id="171" name="Picture 170"/>
            <p:cNvPicPr>
              <a:picLocks noChangeAspect="1"/>
            </p:cNvPicPr>
            <p:nvPr/>
          </p:nvPicPr>
          <p:blipFill rotWithShape="1">
            <a:blip r:embed="rId28"/>
            <a:srcRect l="1735"/>
            <a:stretch/>
          </p:blipFill>
          <p:spPr>
            <a:xfrm>
              <a:off x="6226969" y="2041525"/>
              <a:ext cx="1207403" cy="1209675"/>
            </a:xfrm>
            <a:prstGeom prst="rect">
              <a:avLst/>
            </a:prstGeom>
          </p:spPr>
        </p:pic>
        <p:sp>
          <p:nvSpPr>
            <p:cNvPr id="172" name="Rectangle 171"/>
            <p:cNvSpPr/>
            <p:nvPr/>
          </p:nvSpPr>
          <p:spPr>
            <a:xfrm>
              <a:off x="7239000" y="3169852"/>
              <a:ext cx="195372" cy="8134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/>
            </a:p>
          </p:txBody>
        </p:sp>
      </p:grpSp>
      <p:sp>
        <p:nvSpPr>
          <p:cNvPr id="174" name="Rectangle 173"/>
          <p:cNvSpPr/>
          <p:nvPr/>
        </p:nvSpPr>
        <p:spPr>
          <a:xfrm>
            <a:off x="3084273" y="381000"/>
            <a:ext cx="1469046" cy="6324600"/>
          </a:xfrm>
          <a:prstGeom prst="rect">
            <a:avLst/>
          </a:prstGeom>
          <a:noFill/>
          <a:ln w="76200">
            <a:solidFill>
              <a:srgbClr val="F6954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</p:spTree>
    <p:extLst>
      <p:ext uri="{BB962C8B-B14F-4D97-AF65-F5344CB8AC3E}">
        <p14:creationId xmlns:p14="http://schemas.microsoft.com/office/powerpoint/2010/main" val="2457846024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143926" y="129140"/>
            <a:ext cx="1270537" cy="184666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r>
              <a:rPr lang="en-US" sz="1200" b="1" dirty="0" smtClean="0">
                <a:solidFill>
                  <a:srgbClr val="7F7E7E"/>
                </a:solidFill>
              </a:rPr>
              <a:t>Method name</a:t>
            </a:r>
            <a:endParaRPr lang="en-US" sz="1200" b="1" dirty="0">
              <a:solidFill>
                <a:srgbClr val="7F7E7E"/>
              </a:solidFill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1462475" y="129140"/>
            <a:ext cx="1228466" cy="184666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r>
              <a:rPr lang="en-US" sz="1200" b="1" dirty="0" smtClean="0">
                <a:solidFill>
                  <a:srgbClr val="7F7E7E"/>
                </a:solidFill>
              </a:rPr>
              <a:t>Parameters</a:t>
            </a:r>
            <a:endParaRPr lang="en-US" sz="1200" b="1" dirty="0">
              <a:solidFill>
                <a:srgbClr val="7F7E7E"/>
              </a:solidFill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2738953" y="129140"/>
            <a:ext cx="2114057" cy="184666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r>
              <a:rPr lang="en-US" sz="1200" b="1" dirty="0" smtClean="0">
                <a:solidFill>
                  <a:srgbClr val="7F7E7E"/>
                </a:solidFill>
              </a:rPr>
              <a:t>Scalability</a:t>
            </a:r>
            <a:endParaRPr lang="en-US" sz="1200" b="1" dirty="0">
              <a:solidFill>
                <a:srgbClr val="7F7E7E"/>
              </a:solidFill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4901022" y="129140"/>
            <a:ext cx="2277711" cy="184666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r>
              <a:rPr lang="en-US" sz="1200" b="1" dirty="0" err="1" smtClean="0">
                <a:solidFill>
                  <a:srgbClr val="7F7E7E"/>
                </a:solidFill>
              </a:rPr>
              <a:t>Usecase</a:t>
            </a:r>
            <a:endParaRPr lang="en-US" sz="1200" b="1" dirty="0">
              <a:solidFill>
                <a:srgbClr val="7F7E7E"/>
              </a:solidFill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7226745" y="129140"/>
            <a:ext cx="1596812" cy="184666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r>
              <a:rPr lang="en-US" sz="1200" b="1" dirty="0" smtClean="0">
                <a:solidFill>
                  <a:srgbClr val="7F7E7E"/>
                </a:solidFill>
              </a:rPr>
              <a:t>Geometry (metric used)</a:t>
            </a:r>
            <a:endParaRPr lang="en-US" sz="1200" b="1" dirty="0">
              <a:solidFill>
                <a:srgbClr val="7F7E7E"/>
              </a:solidFill>
            </a:endParaRPr>
          </a:p>
        </p:txBody>
      </p:sp>
      <p:cxnSp>
        <p:nvCxnSpPr>
          <p:cNvPr id="9" name="Straight Connector 8"/>
          <p:cNvCxnSpPr/>
          <p:nvPr/>
        </p:nvCxnSpPr>
        <p:spPr>
          <a:xfrm>
            <a:off x="143926" y="346258"/>
            <a:ext cx="8679631" cy="0"/>
          </a:xfrm>
          <a:prstGeom prst="line">
            <a:avLst/>
          </a:prstGeom>
          <a:ln>
            <a:solidFill>
              <a:srgbClr val="7F7E7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Box 9"/>
          <p:cNvSpPr txBox="1"/>
          <p:nvPr/>
        </p:nvSpPr>
        <p:spPr>
          <a:xfrm>
            <a:off x="143926" y="389791"/>
            <a:ext cx="1270537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i="1" dirty="0" smtClean="0">
                <a:solidFill>
                  <a:srgbClr val="4E81BC"/>
                </a:solidFill>
              </a:rPr>
              <a:t>K-means</a:t>
            </a:r>
            <a:endParaRPr lang="en-US" sz="1200" i="1" dirty="0">
              <a:solidFill>
                <a:srgbClr val="4E81BC"/>
              </a:solidFill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1462475" y="389791"/>
            <a:ext cx="1228466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 smtClean="0">
                <a:solidFill>
                  <a:srgbClr val="7F7E7E"/>
                </a:solidFill>
              </a:rPr>
              <a:t>Number of clusters</a:t>
            </a:r>
            <a:endParaRPr lang="en-US" sz="1200" dirty="0">
              <a:solidFill>
                <a:srgbClr val="7F7E7E"/>
              </a:solidFill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2738953" y="389791"/>
            <a:ext cx="2114057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 smtClean="0">
                <a:solidFill>
                  <a:srgbClr val="7F7E7E"/>
                </a:solidFill>
              </a:rPr>
              <a:t>Very large </a:t>
            </a:r>
            <a:r>
              <a:rPr lang="en-US" sz="1200" i="1" dirty="0" err="1" smtClean="0">
                <a:solidFill>
                  <a:srgbClr val="7F7E7E"/>
                </a:solidFill>
              </a:rPr>
              <a:t>n_sample</a:t>
            </a:r>
            <a:r>
              <a:rPr lang="en-US" sz="1200" dirty="0" err="1" smtClean="0">
                <a:solidFill>
                  <a:srgbClr val="7F7E7E"/>
                </a:solidFill>
              </a:rPr>
              <a:t>s</a:t>
            </a:r>
            <a:r>
              <a:rPr lang="en-US" sz="1200" dirty="0" smtClean="0">
                <a:solidFill>
                  <a:srgbClr val="7F7E7E"/>
                </a:solidFill>
              </a:rPr>
              <a:t> medium </a:t>
            </a:r>
            <a:r>
              <a:rPr lang="en-US" sz="1200" i="1" dirty="0" err="1" smtClean="0">
                <a:solidFill>
                  <a:srgbClr val="7F7E7E"/>
                </a:solidFill>
              </a:rPr>
              <a:t>n_clusters</a:t>
            </a:r>
            <a:r>
              <a:rPr lang="en-US" sz="1200" dirty="0" smtClean="0">
                <a:solidFill>
                  <a:srgbClr val="7F7E7E"/>
                </a:solidFill>
              </a:rPr>
              <a:t> with </a:t>
            </a:r>
            <a:r>
              <a:rPr lang="en-US" sz="1200" i="1" dirty="0" err="1" smtClean="0">
                <a:solidFill>
                  <a:srgbClr val="4E81BC"/>
                </a:solidFill>
              </a:rPr>
              <a:t>MiniBatch</a:t>
            </a:r>
            <a:r>
              <a:rPr lang="en-US" sz="1200" i="1" dirty="0" smtClean="0">
                <a:solidFill>
                  <a:srgbClr val="4E81BC"/>
                </a:solidFill>
              </a:rPr>
              <a:t> code</a:t>
            </a:r>
            <a:endParaRPr lang="en-US" sz="1200" i="1" dirty="0">
              <a:solidFill>
                <a:srgbClr val="4E81BC"/>
              </a:solidFill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4901022" y="389791"/>
            <a:ext cx="2277711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 smtClean="0">
                <a:solidFill>
                  <a:srgbClr val="7F7E7E"/>
                </a:solidFill>
              </a:rPr>
              <a:t>General purpose, even cluster size, flat geometry, not too many clusters</a:t>
            </a:r>
            <a:endParaRPr lang="en-US" sz="1200" dirty="0">
              <a:solidFill>
                <a:srgbClr val="7F7E7E"/>
              </a:solidFill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7226745" y="389791"/>
            <a:ext cx="1596812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 smtClean="0">
                <a:solidFill>
                  <a:srgbClr val="7F7E7E"/>
                </a:solidFill>
              </a:rPr>
              <a:t>Distances between points</a:t>
            </a:r>
            <a:endParaRPr lang="en-US" sz="1200" dirty="0">
              <a:solidFill>
                <a:srgbClr val="7F7E7E"/>
              </a:solidFill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143926" y="858311"/>
            <a:ext cx="1270537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i="1" dirty="0" smtClean="0">
                <a:solidFill>
                  <a:srgbClr val="4E81BC"/>
                </a:solidFill>
              </a:rPr>
              <a:t>Affinity propagation</a:t>
            </a:r>
            <a:endParaRPr lang="en-US" sz="1200" i="1" dirty="0">
              <a:solidFill>
                <a:srgbClr val="4E81BC"/>
              </a:solidFill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1462475" y="858311"/>
            <a:ext cx="1228466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 smtClean="0">
                <a:solidFill>
                  <a:srgbClr val="7F7E7E"/>
                </a:solidFill>
              </a:rPr>
              <a:t>Damping, sample preferences</a:t>
            </a:r>
            <a:endParaRPr lang="en-US" sz="1200" dirty="0">
              <a:solidFill>
                <a:srgbClr val="7F7E7E"/>
              </a:solidFill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2738953" y="858311"/>
            <a:ext cx="2114057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 smtClean="0">
                <a:solidFill>
                  <a:srgbClr val="7F7E7E"/>
                </a:solidFill>
              </a:rPr>
              <a:t>Not scalable with </a:t>
            </a:r>
            <a:r>
              <a:rPr lang="en-US" sz="1200" dirty="0" err="1" smtClean="0">
                <a:solidFill>
                  <a:srgbClr val="7F7E7E"/>
                </a:solidFill>
              </a:rPr>
              <a:t>n_samples</a:t>
            </a:r>
            <a:endParaRPr lang="en-US" sz="1200" i="1" dirty="0">
              <a:solidFill>
                <a:srgbClr val="6094C9"/>
              </a:solidFill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4901022" y="858311"/>
            <a:ext cx="2277711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 smtClean="0">
                <a:solidFill>
                  <a:srgbClr val="7F7E7E"/>
                </a:solidFill>
              </a:rPr>
              <a:t>Many clusters, uneven cluster size, non-flat geometry</a:t>
            </a:r>
            <a:endParaRPr lang="en-US" sz="1200" dirty="0">
              <a:solidFill>
                <a:srgbClr val="7F7E7E"/>
              </a:solidFill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7226745" y="858311"/>
            <a:ext cx="1596812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 smtClean="0">
                <a:solidFill>
                  <a:srgbClr val="7F7E7E"/>
                </a:solidFill>
              </a:rPr>
              <a:t>Graph distance (e.g. nearest-neighbor graph)</a:t>
            </a:r>
            <a:endParaRPr lang="en-US" sz="1200" dirty="0">
              <a:solidFill>
                <a:srgbClr val="7F7E7E"/>
              </a:solidFill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143926" y="1326831"/>
            <a:ext cx="1270537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i="1" dirty="0" smtClean="0">
                <a:solidFill>
                  <a:srgbClr val="4E81BC"/>
                </a:solidFill>
              </a:rPr>
              <a:t>Mean-shift</a:t>
            </a:r>
            <a:endParaRPr lang="en-US" sz="1200" i="1" dirty="0">
              <a:solidFill>
                <a:srgbClr val="4E81BC"/>
              </a:solidFill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1462475" y="1326831"/>
            <a:ext cx="1228466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 smtClean="0">
                <a:solidFill>
                  <a:srgbClr val="7F7E7E"/>
                </a:solidFill>
              </a:rPr>
              <a:t>Bandwidth</a:t>
            </a:r>
            <a:endParaRPr lang="en-US" sz="1200" dirty="0">
              <a:solidFill>
                <a:srgbClr val="7F7E7E"/>
              </a:solidFill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2738953" y="1326831"/>
            <a:ext cx="2114057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 smtClean="0">
                <a:solidFill>
                  <a:srgbClr val="7F7E7E"/>
                </a:solidFill>
              </a:rPr>
              <a:t>Not scalable with </a:t>
            </a:r>
            <a:r>
              <a:rPr lang="en-US" sz="1200" dirty="0" err="1" smtClean="0">
                <a:solidFill>
                  <a:srgbClr val="7F7E7E"/>
                </a:solidFill>
              </a:rPr>
              <a:t>n_samples</a:t>
            </a:r>
            <a:endParaRPr lang="en-US" sz="1200" i="1" dirty="0">
              <a:solidFill>
                <a:srgbClr val="6094C9"/>
              </a:solidFill>
            </a:endParaRPr>
          </a:p>
        </p:txBody>
      </p:sp>
      <p:sp>
        <p:nvSpPr>
          <p:cNvPr id="23" name="TextBox 22"/>
          <p:cNvSpPr txBox="1"/>
          <p:nvPr/>
        </p:nvSpPr>
        <p:spPr>
          <a:xfrm>
            <a:off x="4901022" y="1326831"/>
            <a:ext cx="2277711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 smtClean="0">
                <a:solidFill>
                  <a:srgbClr val="7F7E7E"/>
                </a:solidFill>
              </a:rPr>
              <a:t>Many clusters, uneven cluster size, non-flat geometry</a:t>
            </a:r>
            <a:endParaRPr lang="en-US" sz="1200" dirty="0">
              <a:solidFill>
                <a:srgbClr val="7F7E7E"/>
              </a:solidFill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7226745" y="1326831"/>
            <a:ext cx="1596812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>
                <a:solidFill>
                  <a:srgbClr val="7F7E7E"/>
                </a:solidFill>
              </a:rPr>
              <a:t>Distances between points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143926" y="1795351"/>
            <a:ext cx="1270537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i="1" dirty="0" smtClean="0">
                <a:solidFill>
                  <a:srgbClr val="4E81BC"/>
                </a:solidFill>
              </a:rPr>
              <a:t>Spectral clustering</a:t>
            </a:r>
            <a:endParaRPr lang="en-US" sz="1200" i="1" dirty="0">
              <a:solidFill>
                <a:srgbClr val="4E81BC"/>
              </a:solidFill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1462475" y="1795351"/>
            <a:ext cx="1228466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>
                <a:solidFill>
                  <a:srgbClr val="7F7E7E"/>
                </a:solidFill>
              </a:rPr>
              <a:t>Number of </a:t>
            </a:r>
            <a:r>
              <a:rPr lang="en-US" sz="1200" dirty="0" smtClean="0">
                <a:solidFill>
                  <a:srgbClr val="7F7E7E"/>
                </a:solidFill>
              </a:rPr>
              <a:t>clusters</a:t>
            </a:r>
            <a:endParaRPr lang="en-US" sz="1200" dirty="0">
              <a:solidFill>
                <a:srgbClr val="7F7E7E"/>
              </a:solidFill>
            </a:endParaRPr>
          </a:p>
        </p:txBody>
      </p:sp>
      <p:sp>
        <p:nvSpPr>
          <p:cNvPr id="27" name="TextBox 26"/>
          <p:cNvSpPr txBox="1"/>
          <p:nvPr/>
        </p:nvSpPr>
        <p:spPr>
          <a:xfrm>
            <a:off x="2738953" y="1795351"/>
            <a:ext cx="2114057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 smtClean="0">
                <a:solidFill>
                  <a:srgbClr val="7F7E7E"/>
                </a:solidFill>
              </a:rPr>
              <a:t>Medium </a:t>
            </a:r>
            <a:r>
              <a:rPr lang="en-US" sz="1200" i="1" dirty="0" err="1" smtClean="0">
                <a:solidFill>
                  <a:srgbClr val="7F7E7E"/>
                </a:solidFill>
              </a:rPr>
              <a:t>n_samples</a:t>
            </a:r>
            <a:r>
              <a:rPr lang="en-US" sz="1200" dirty="0" smtClean="0">
                <a:solidFill>
                  <a:srgbClr val="7F7E7E"/>
                </a:solidFill>
              </a:rPr>
              <a:t>, small </a:t>
            </a:r>
            <a:r>
              <a:rPr lang="en-US" sz="1200" i="1" dirty="0" err="1" smtClean="0">
                <a:solidFill>
                  <a:srgbClr val="7F7E7E"/>
                </a:solidFill>
              </a:rPr>
              <a:t>n_clusters</a:t>
            </a:r>
            <a:endParaRPr lang="en-US" sz="1200" i="1" dirty="0">
              <a:solidFill>
                <a:srgbClr val="6094C9"/>
              </a:solidFill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4901022" y="1795351"/>
            <a:ext cx="2277711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 smtClean="0">
                <a:solidFill>
                  <a:srgbClr val="7F7E7E"/>
                </a:solidFill>
              </a:rPr>
              <a:t>Few clusters, even cluster size, non-flat geometry</a:t>
            </a:r>
            <a:endParaRPr lang="en-US" sz="1200" dirty="0">
              <a:solidFill>
                <a:srgbClr val="7F7E7E"/>
              </a:solidFill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7226745" y="1795351"/>
            <a:ext cx="1596812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>
                <a:solidFill>
                  <a:srgbClr val="7F7E7E"/>
                </a:solidFill>
              </a:rPr>
              <a:t>Graph distance (e.g. nearest-neighbor graph)</a:t>
            </a:r>
          </a:p>
        </p:txBody>
      </p:sp>
      <p:cxnSp>
        <p:nvCxnSpPr>
          <p:cNvPr id="30" name="Straight Connector 29"/>
          <p:cNvCxnSpPr/>
          <p:nvPr/>
        </p:nvCxnSpPr>
        <p:spPr>
          <a:xfrm>
            <a:off x="143926" y="808717"/>
            <a:ext cx="8679631" cy="0"/>
          </a:xfrm>
          <a:prstGeom prst="line">
            <a:avLst/>
          </a:prstGeom>
          <a:ln>
            <a:solidFill>
              <a:srgbClr val="7F7E7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0"/>
          <p:cNvCxnSpPr/>
          <p:nvPr/>
        </p:nvCxnSpPr>
        <p:spPr>
          <a:xfrm>
            <a:off x="143926" y="1277237"/>
            <a:ext cx="8679631" cy="0"/>
          </a:xfrm>
          <a:prstGeom prst="line">
            <a:avLst/>
          </a:prstGeom>
          <a:ln>
            <a:solidFill>
              <a:srgbClr val="7F7E7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/>
          <p:cNvCxnSpPr/>
          <p:nvPr/>
        </p:nvCxnSpPr>
        <p:spPr>
          <a:xfrm>
            <a:off x="143926" y="1745757"/>
            <a:ext cx="8679631" cy="0"/>
          </a:xfrm>
          <a:prstGeom prst="line">
            <a:avLst/>
          </a:prstGeom>
          <a:ln>
            <a:solidFill>
              <a:srgbClr val="7F7E7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/>
          <p:cNvCxnSpPr/>
          <p:nvPr/>
        </p:nvCxnSpPr>
        <p:spPr>
          <a:xfrm>
            <a:off x="143926" y="2214277"/>
            <a:ext cx="8679631" cy="0"/>
          </a:xfrm>
          <a:prstGeom prst="line">
            <a:avLst/>
          </a:prstGeom>
          <a:ln>
            <a:solidFill>
              <a:srgbClr val="7F7E7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Box 33"/>
          <p:cNvSpPr txBox="1"/>
          <p:nvPr/>
        </p:nvSpPr>
        <p:spPr>
          <a:xfrm>
            <a:off x="143926" y="2263871"/>
            <a:ext cx="1270537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i="1" dirty="0" smtClean="0">
                <a:solidFill>
                  <a:srgbClr val="4E81BC"/>
                </a:solidFill>
              </a:rPr>
              <a:t>Hierarchical clustering</a:t>
            </a:r>
            <a:endParaRPr lang="en-US" sz="1200" i="1" dirty="0">
              <a:solidFill>
                <a:srgbClr val="4E81BC"/>
              </a:solidFill>
            </a:endParaRPr>
          </a:p>
        </p:txBody>
      </p:sp>
      <p:sp>
        <p:nvSpPr>
          <p:cNvPr id="35" name="TextBox 34"/>
          <p:cNvSpPr txBox="1"/>
          <p:nvPr/>
        </p:nvSpPr>
        <p:spPr>
          <a:xfrm>
            <a:off x="1462475" y="2263871"/>
            <a:ext cx="1228466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>
                <a:solidFill>
                  <a:srgbClr val="7F7E7E"/>
                </a:solidFill>
              </a:rPr>
              <a:t>Number of </a:t>
            </a:r>
            <a:r>
              <a:rPr lang="en-US" sz="1200" dirty="0" smtClean="0">
                <a:solidFill>
                  <a:srgbClr val="7F7E7E"/>
                </a:solidFill>
              </a:rPr>
              <a:t>clusters</a:t>
            </a:r>
            <a:endParaRPr lang="en-US" sz="1200" dirty="0">
              <a:solidFill>
                <a:srgbClr val="7F7E7E"/>
              </a:solidFill>
            </a:endParaRPr>
          </a:p>
        </p:txBody>
      </p:sp>
      <p:sp>
        <p:nvSpPr>
          <p:cNvPr id="36" name="TextBox 35"/>
          <p:cNvSpPr txBox="1"/>
          <p:nvPr/>
        </p:nvSpPr>
        <p:spPr>
          <a:xfrm>
            <a:off x="2738953" y="2263871"/>
            <a:ext cx="2114057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 smtClean="0">
                <a:solidFill>
                  <a:srgbClr val="7F7E7E"/>
                </a:solidFill>
              </a:rPr>
              <a:t>Large </a:t>
            </a:r>
            <a:r>
              <a:rPr lang="en-US" sz="1200" i="1" dirty="0" err="1" smtClean="0">
                <a:solidFill>
                  <a:srgbClr val="7F7E7E"/>
                </a:solidFill>
              </a:rPr>
              <a:t>n_samples</a:t>
            </a:r>
            <a:r>
              <a:rPr lang="en-US" sz="1200" dirty="0">
                <a:solidFill>
                  <a:srgbClr val="7F7E7E"/>
                </a:solidFill>
              </a:rPr>
              <a:t> </a:t>
            </a:r>
            <a:r>
              <a:rPr lang="en-US" sz="1200" dirty="0" smtClean="0">
                <a:solidFill>
                  <a:srgbClr val="7F7E7E"/>
                </a:solidFill>
              </a:rPr>
              <a:t>and </a:t>
            </a:r>
            <a:r>
              <a:rPr lang="en-US" sz="1200" i="1" dirty="0" err="1" smtClean="0">
                <a:solidFill>
                  <a:srgbClr val="7F7E7E"/>
                </a:solidFill>
              </a:rPr>
              <a:t>n_clusters</a:t>
            </a:r>
            <a:endParaRPr lang="en-US" sz="1200" i="1" dirty="0">
              <a:solidFill>
                <a:srgbClr val="6094C9"/>
              </a:solidFill>
            </a:endParaRPr>
          </a:p>
        </p:txBody>
      </p:sp>
      <p:sp>
        <p:nvSpPr>
          <p:cNvPr id="37" name="TextBox 36"/>
          <p:cNvSpPr txBox="1"/>
          <p:nvPr/>
        </p:nvSpPr>
        <p:spPr>
          <a:xfrm>
            <a:off x="4901022" y="2263871"/>
            <a:ext cx="2277711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 smtClean="0">
                <a:solidFill>
                  <a:srgbClr val="7F7E7E"/>
                </a:solidFill>
              </a:rPr>
              <a:t>Many clusters, possibly connectivity constraints</a:t>
            </a:r>
            <a:endParaRPr lang="en-US" sz="1200" dirty="0">
              <a:solidFill>
                <a:srgbClr val="7F7E7E"/>
              </a:solidFill>
            </a:endParaRPr>
          </a:p>
        </p:txBody>
      </p:sp>
      <p:sp>
        <p:nvSpPr>
          <p:cNvPr id="38" name="TextBox 37"/>
          <p:cNvSpPr txBox="1"/>
          <p:nvPr/>
        </p:nvSpPr>
        <p:spPr>
          <a:xfrm>
            <a:off x="7226745" y="2263871"/>
            <a:ext cx="1596812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>
                <a:solidFill>
                  <a:srgbClr val="7F7E7E"/>
                </a:solidFill>
              </a:rPr>
              <a:t>Distances between points</a:t>
            </a:r>
          </a:p>
        </p:txBody>
      </p:sp>
      <p:cxnSp>
        <p:nvCxnSpPr>
          <p:cNvPr id="39" name="Straight Connector 38"/>
          <p:cNvCxnSpPr/>
          <p:nvPr/>
        </p:nvCxnSpPr>
        <p:spPr>
          <a:xfrm>
            <a:off x="143926" y="2682797"/>
            <a:ext cx="8679631" cy="0"/>
          </a:xfrm>
          <a:prstGeom prst="line">
            <a:avLst/>
          </a:prstGeom>
          <a:ln>
            <a:solidFill>
              <a:srgbClr val="7F7E7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TextBox 39"/>
          <p:cNvSpPr txBox="1"/>
          <p:nvPr/>
        </p:nvSpPr>
        <p:spPr>
          <a:xfrm>
            <a:off x="143926" y="2732396"/>
            <a:ext cx="1270537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i="1" dirty="0" smtClean="0">
                <a:solidFill>
                  <a:srgbClr val="4E81BC"/>
                </a:solidFill>
              </a:rPr>
              <a:t>DBSCAN</a:t>
            </a:r>
            <a:endParaRPr lang="en-US" sz="1200" i="1" dirty="0">
              <a:solidFill>
                <a:srgbClr val="4E81BC"/>
              </a:solidFill>
            </a:endParaRPr>
          </a:p>
        </p:txBody>
      </p:sp>
      <p:sp>
        <p:nvSpPr>
          <p:cNvPr id="41" name="TextBox 40"/>
          <p:cNvSpPr txBox="1"/>
          <p:nvPr/>
        </p:nvSpPr>
        <p:spPr>
          <a:xfrm>
            <a:off x="1462475" y="2732396"/>
            <a:ext cx="1228466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 smtClean="0">
                <a:solidFill>
                  <a:srgbClr val="7F7E7E"/>
                </a:solidFill>
              </a:rPr>
              <a:t>Neighborhood size </a:t>
            </a:r>
            <a:endParaRPr lang="en-US" sz="1200" dirty="0">
              <a:solidFill>
                <a:srgbClr val="7F7E7E"/>
              </a:solidFill>
            </a:endParaRPr>
          </a:p>
        </p:txBody>
      </p:sp>
      <p:sp>
        <p:nvSpPr>
          <p:cNvPr id="42" name="TextBox 41"/>
          <p:cNvSpPr txBox="1"/>
          <p:nvPr/>
        </p:nvSpPr>
        <p:spPr>
          <a:xfrm>
            <a:off x="2738953" y="2732396"/>
            <a:ext cx="2114057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 smtClean="0">
                <a:solidFill>
                  <a:srgbClr val="7F7E7E"/>
                </a:solidFill>
              </a:rPr>
              <a:t>Very large </a:t>
            </a:r>
            <a:r>
              <a:rPr lang="en-US" sz="1200" i="1" dirty="0" err="1" smtClean="0">
                <a:solidFill>
                  <a:srgbClr val="7F7E7E"/>
                </a:solidFill>
              </a:rPr>
              <a:t>n_samples</a:t>
            </a:r>
            <a:r>
              <a:rPr lang="en-US" sz="1200" dirty="0" smtClean="0">
                <a:solidFill>
                  <a:srgbClr val="7F7E7E"/>
                </a:solidFill>
              </a:rPr>
              <a:t>, medium </a:t>
            </a:r>
            <a:r>
              <a:rPr lang="en-US" sz="1200" i="1" dirty="0" err="1" smtClean="0">
                <a:solidFill>
                  <a:srgbClr val="7F7E7E"/>
                </a:solidFill>
              </a:rPr>
              <a:t>n_clusters</a:t>
            </a:r>
            <a:endParaRPr lang="en-US" sz="1200" i="1" dirty="0">
              <a:solidFill>
                <a:srgbClr val="6094C9"/>
              </a:solidFill>
            </a:endParaRPr>
          </a:p>
        </p:txBody>
      </p:sp>
      <p:sp>
        <p:nvSpPr>
          <p:cNvPr id="43" name="TextBox 42"/>
          <p:cNvSpPr txBox="1"/>
          <p:nvPr/>
        </p:nvSpPr>
        <p:spPr>
          <a:xfrm>
            <a:off x="4901022" y="2732396"/>
            <a:ext cx="2277711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 smtClean="0">
                <a:solidFill>
                  <a:srgbClr val="7F7E7E"/>
                </a:solidFill>
              </a:rPr>
              <a:t>Non-flat geometry, uneven cluster sizes</a:t>
            </a:r>
            <a:endParaRPr lang="en-US" sz="1200" dirty="0">
              <a:solidFill>
                <a:srgbClr val="7F7E7E"/>
              </a:solidFill>
            </a:endParaRPr>
          </a:p>
        </p:txBody>
      </p:sp>
      <p:sp>
        <p:nvSpPr>
          <p:cNvPr id="44" name="TextBox 43"/>
          <p:cNvSpPr txBox="1"/>
          <p:nvPr/>
        </p:nvSpPr>
        <p:spPr>
          <a:xfrm>
            <a:off x="7226745" y="2732396"/>
            <a:ext cx="1596812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>
                <a:solidFill>
                  <a:srgbClr val="7F7E7E"/>
                </a:solidFill>
              </a:rPr>
              <a:t>Distances between </a:t>
            </a:r>
            <a:r>
              <a:rPr lang="en-US" sz="1200" dirty="0" smtClean="0">
                <a:solidFill>
                  <a:srgbClr val="7F7E7E"/>
                </a:solidFill>
              </a:rPr>
              <a:t>nearest points</a:t>
            </a:r>
            <a:endParaRPr lang="en-US" sz="1200" dirty="0">
              <a:solidFill>
                <a:srgbClr val="7F7E7E"/>
              </a:solidFill>
            </a:endParaRPr>
          </a:p>
        </p:txBody>
      </p:sp>
      <p:sp>
        <p:nvSpPr>
          <p:cNvPr id="45" name="object 5"/>
          <p:cNvSpPr txBox="1"/>
          <p:nvPr/>
        </p:nvSpPr>
        <p:spPr>
          <a:xfrm>
            <a:off x="143926" y="3515232"/>
            <a:ext cx="8679631" cy="3042756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 marR="41909">
              <a:lnSpc>
                <a:spcPts val="3454"/>
              </a:lnSpc>
              <a:spcBef>
                <a:spcPts val="172"/>
              </a:spcBef>
            </a:pPr>
            <a:r>
              <a:rPr lang="en-US" sz="4400" baseline="2560" dirty="0">
                <a:solidFill>
                  <a:srgbClr val="4E81BC"/>
                </a:solidFill>
                <a:cs typeface="Calibri"/>
              </a:rPr>
              <a:t>Spectral clustering </a:t>
            </a:r>
            <a:endParaRPr lang="en-US" sz="4400" baseline="2560" dirty="0" smtClean="0">
              <a:solidFill>
                <a:srgbClr val="4E81BC"/>
              </a:solidFill>
              <a:cs typeface="Calibri"/>
            </a:endParaRPr>
          </a:p>
          <a:p>
            <a:pPr marL="12700" marR="53340" lvl="0">
              <a:lnSpc>
                <a:spcPts val="3295"/>
              </a:lnSpc>
            </a:pPr>
            <a:r>
              <a:rPr lang="en-US" sz="4200" baseline="1950" dirty="0">
                <a:solidFill>
                  <a:srgbClr val="A6A5A5"/>
                </a:solidFill>
                <a:cs typeface="Calibri"/>
              </a:rPr>
              <a:t>Not fast, but not the slowest either.</a:t>
            </a:r>
            <a:endParaRPr lang="en-US" sz="2800" dirty="0">
              <a:solidFill>
                <a:prstClr val="black"/>
              </a:solidFill>
              <a:cs typeface="Calibri"/>
            </a:endParaRPr>
          </a:p>
          <a:p>
            <a:pPr marL="12700" marR="3555855" lvl="0">
              <a:lnSpc>
                <a:spcPts val="3300"/>
              </a:lnSpc>
              <a:spcBef>
                <a:spcPts val="5"/>
              </a:spcBef>
            </a:pPr>
            <a:r>
              <a:rPr lang="en-US" sz="2800" dirty="0">
                <a:solidFill>
                  <a:srgbClr val="A6A5A5"/>
                </a:solidFill>
                <a:cs typeface="Calibri"/>
              </a:rPr>
              <a:t>Works best if </a:t>
            </a:r>
            <a:r>
              <a:rPr lang="en-US" sz="2800" dirty="0">
                <a:solidFill>
                  <a:srgbClr val="8063A1"/>
                </a:solidFill>
                <a:cs typeface="Calibri"/>
              </a:rPr>
              <a:t>distances are sparse</a:t>
            </a:r>
            <a:r>
              <a:rPr lang="en-US" sz="2800" dirty="0">
                <a:solidFill>
                  <a:srgbClr val="A6A5A5"/>
                </a:solidFill>
                <a:cs typeface="Calibri"/>
              </a:rPr>
              <a:t>. Tends to ﬁnd </a:t>
            </a:r>
            <a:r>
              <a:rPr lang="en-US" sz="2800" dirty="0">
                <a:solidFill>
                  <a:srgbClr val="9BBA58"/>
                </a:solidFill>
                <a:cs typeface="Calibri"/>
              </a:rPr>
              <a:t>even sized clusters.</a:t>
            </a:r>
            <a:endParaRPr lang="en-US" sz="2800" dirty="0">
              <a:solidFill>
                <a:prstClr val="black"/>
              </a:solidFill>
              <a:cs typeface="Calibri"/>
            </a:endParaRPr>
          </a:p>
          <a:p>
            <a:pPr marL="12700" marR="53340" lvl="0">
              <a:lnSpc>
                <a:spcPct val="101725"/>
              </a:lnSpc>
            </a:pPr>
            <a:r>
              <a:rPr lang="en-US" sz="2800" dirty="0">
                <a:solidFill>
                  <a:srgbClr val="A6A5A5"/>
                </a:solidFill>
                <a:cs typeface="Calibri"/>
              </a:rPr>
              <a:t>Good with </a:t>
            </a:r>
            <a:r>
              <a:rPr lang="en-US" sz="2800" dirty="0">
                <a:solidFill>
                  <a:srgbClr val="4BABC5"/>
                </a:solidFill>
                <a:cs typeface="Calibri"/>
              </a:rPr>
              <a:t>only a few clusters</a:t>
            </a:r>
            <a:r>
              <a:rPr lang="en-US" sz="2800" dirty="0">
                <a:solidFill>
                  <a:srgbClr val="A6A5A5"/>
                </a:solidFill>
                <a:cs typeface="Calibri"/>
              </a:rPr>
              <a:t>, rubbish with many.</a:t>
            </a:r>
            <a:endParaRPr lang="en-US" sz="2800" dirty="0">
              <a:solidFill>
                <a:prstClr val="black"/>
              </a:solidFill>
              <a:cs typeface="Calibri"/>
            </a:endParaRPr>
          </a:p>
          <a:p>
            <a:pPr marL="12700" lvl="0">
              <a:lnSpc>
                <a:spcPts val="3300"/>
              </a:lnSpc>
              <a:spcBef>
                <a:spcPts val="165"/>
              </a:spcBef>
            </a:pPr>
            <a:r>
              <a:rPr lang="en-US" sz="4200" baseline="1950" dirty="0">
                <a:solidFill>
                  <a:srgbClr val="A6A5A5"/>
                </a:solidFill>
                <a:cs typeface="Calibri"/>
              </a:rPr>
              <a:t>Can handle </a:t>
            </a:r>
            <a:r>
              <a:rPr lang="en-US" sz="4200" baseline="1950" dirty="0">
                <a:solidFill>
                  <a:srgbClr val="BF4F4D"/>
                </a:solidFill>
                <a:cs typeface="Calibri"/>
              </a:rPr>
              <a:t>weirdest </a:t>
            </a:r>
            <a:r>
              <a:rPr lang="en-US" sz="4200" baseline="1950" dirty="0" smtClean="0">
                <a:solidFill>
                  <a:srgbClr val="BF4F4D"/>
                </a:solidFill>
                <a:cs typeface="Calibri"/>
              </a:rPr>
              <a:t>connectivity shapes </a:t>
            </a:r>
            <a:r>
              <a:rPr lang="en-US" sz="3300" baseline="2482" dirty="0">
                <a:solidFill>
                  <a:srgbClr val="A6A5A5"/>
                </a:solidFill>
                <a:cs typeface="Calibri"/>
              </a:rPr>
              <a:t>(like concentric circles)</a:t>
            </a:r>
            <a:endParaRPr lang="en-US" sz="2200" dirty="0">
              <a:solidFill>
                <a:prstClr val="black"/>
              </a:solidFill>
              <a:cs typeface="Calibri"/>
            </a:endParaRPr>
          </a:p>
          <a:p>
            <a:pPr marL="12700" marR="53340" lvl="0">
              <a:lnSpc>
                <a:spcPts val="3365"/>
              </a:lnSpc>
              <a:spcBef>
                <a:spcPts val="3"/>
              </a:spcBef>
            </a:pPr>
            <a:r>
              <a:rPr lang="en-US" sz="2800" dirty="0">
                <a:solidFill>
                  <a:srgbClr val="F69545"/>
                </a:solidFill>
                <a:cs typeface="Calibri"/>
              </a:rPr>
              <a:t>Euclidean distance only</a:t>
            </a:r>
            <a:r>
              <a:rPr lang="en-US" sz="2800" dirty="0">
                <a:solidFill>
                  <a:srgbClr val="A6A5A5"/>
                </a:solidFill>
                <a:cs typeface="Calibri"/>
              </a:rPr>
              <a:t>.</a:t>
            </a:r>
            <a:endParaRPr lang="en-US" sz="2800" dirty="0">
              <a:solidFill>
                <a:prstClr val="black"/>
              </a:solidFill>
              <a:cs typeface="Calibri"/>
            </a:endParaRPr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1" name="Object 16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8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Rectangle 22"/>
          <p:cNvSpPr/>
          <p:nvPr/>
        </p:nvSpPr>
        <p:spPr>
          <a:xfrm>
            <a:off x="114300" y="381000"/>
            <a:ext cx="1422040" cy="1524000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30" name="TextBox 29"/>
          <p:cNvSpPr txBox="1"/>
          <p:nvPr/>
        </p:nvSpPr>
        <p:spPr>
          <a:xfrm>
            <a:off x="143926" y="1719329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 smtClean="0">
                <a:solidFill>
                  <a:srgbClr val="7F7E7E"/>
                </a:solidFill>
              </a:rPr>
              <a:t>.01s</a:t>
            </a:r>
            <a:endParaRPr lang="en-US" sz="1000" dirty="0">
              <a:solidFill>
                <a:srgbClr val="7F7E7E"/>
              </a:solidFill>
            </a:endParaRPr>
          </a:p>
        </p:txBody>
      </p:sp>
      <p:sp>
        <p:nvSpPr>
          <p:cNvPr id="34" name="Rectangle 33"/>
          <p:cNvSpPr/>
          <p:nvPr/>
        </p:nvSpPr>
        <p:spPr>
          <a:xfrm>
            <a:off x="1612972" y="381000"/>
            <a:ext cx="1422040" cy="1524000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35" name="TextBox 34"/>
          <p:cNvSpPr txBox="1"/>
          <p:nvPr/>
        </p:nvSpPr>
        <p:spPr>
          <a:xfrm>
            <a:off x="1642598" y="1719329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 smtClean="0">
                <a:solidFill>
                  <a:srgbClr val="7F7E7E"/>
                </a:solidFill>
              </a:rPr>
              <a:t>8.17s</a:t>
            </a:r>
            <a:endParaRPr lang="en-US" sz="1000" dirty="0">
              <a:solidFill>
                <a:srgbClr val="7F7E7E"/>
              </a:solidFill>
            </a:endParaRPr>
          </a:p>
        </p:txBody>
      </p:sp>
      <p:sp>
        <p:nvSpPr>
          <p:cNvPr id="37" name="Rectangle 36"/>
          <p:cNvSpPr/>
          <p:nvPr/>
        </p:nvSpPr>
        <p:spPr>
          <a:xfrm>
            <a:off x="3111644" y="381000"/>
            <a:ext cx="1422040" cy="1524000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38" name="TextBox 37"/>
          <p:cNvSpPr txBox="1"/>
          <p:nvPr/>
        </p:nvSpPr>
        <p:spPr>
          <a:xfrm>
            <a:off x="3141270" y="1719329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 smtClean="0">
                <a:solidFill>
                  <a:srgbClr val="7F7E7E"/>
                </a:solidFill>
              </a:rPr>
              <a:t>.02s</a:t>
            </a:r>
            <a:endParaRPr lang="en-US" sz="1000" dirty="0">
              <a:solidFill>
                <a:srgbClr val="7F7E7E"/>
              </a:solidFill>
            </a:endParaRPr>
          </a:p>
        </p:txBody>
      </p:sp>
      <p:sp>
        <p:nvSpPr>
          <p:cNvPr id="40" name="Rectangle 39"/>
          <p:cNvSpPr/>
          <p:nvPr/>
        </p:nvSpPr>
        <p:spPr>
          <a:xfrm>
            <a:off x="4610317" y="381000"/>
            <a:ext cx="1422040" cy="1524000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41" name="TextBox 40"/>
          <p:cNvSpPr txBox="1"/>
          <p:nvPr/>
        </p:nvSpPr>
        <p:spPr>
          <a:xfrm>
            <a:off x="4639943" y="1719329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 smtClean="0">
                <a:solidFill>
                  <a:srgbClr val="7F7E7E"/>
                </a:solidFill>
              </a:rPr>
              <a:t>.31s</a:t>
            </a:r>
            <a:endParaRPr lang="en-US" sz="1000" dirty="0">
              <a:solidFill>
                <a:srgbClr val="7F7E7E"/>
              </a:solidFill>
            </a:endParaRPr>
          </a:p>
        </p:txBody>
      </p:sp>
      <p:sp>
        <p:nvSpPr>
          <p:cNvPr id="43" name="Rectangle 42"/>
          <p:cNvSpPr/>
          <p:nvPr/>
        </p:nvSpPr>
        <p:spPr>
          <a:xfrm>
            <a:off x="6108989" y="381000"/>
            <a:ext cx="1422040" cy="1524000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44" name="TextBox 43"/>
          <p:cNvSpPr txBox="1"/>
          <p:nvPr/>
        </p:nvSpPr>
        <p:spPr>
          <a:xfrm>
            <a:off x="6138615" y="1719329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 smtClean="0">
                <a:solidFill>
                  <a:srgbClr val="7F7E7E"/>
                </a:solidFill>
              </a:rPr>
              <a:t>.21s</a:t>
            </a:r>
            <a:endParaRPr lang="en-US" sz="1000" dirty="0">
              <a:solidFill>
                <a:srgbClr val="7F7E7E"/>
              </a:solidFill>
            </a:endParaRPr>
          </a:p>
        </p:txBody>
      </p:sp>
      <p:sp>
        <p:nvSpPr>
          <p:cNvPr id="46" name="Rectangle 45"/>
          <p:cNvSpPr/>
          <p:nvPr/>
        </p:nvSpPr>
        <p:spPr>
          <a:xfrm>
            <a:off x="7607660" y="381000"/>
            <a:ext cx="1422040" cy="1524000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47" name="TextBox 46"/>
          <p:cNvSpPr txBox="1"/>
          <p:nvPr/>
        </p:nvSpPr>
        <p:spPr>
          <a:xfrm>
            <a:off x="7637286" y="1719329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 smtClean="0">
                <a:solidFill>
                  <a:srgbClr val="7F7E7E"/>
                </a:solidFill>
              </a:rPr>
              <a:t>.10s</a:t>
            </a:r>
            <a:endParaRPr lang="en-US" sz="1000" dirty="0">
              <a:solidFill>
                <a:srgbClr val="7F7E7E"/>
              </a:solidFill>
            </a:endParaRPr>
          </a:p>
        </p:txBody>
      </p:sp>
      <p:sp>
        <p:nvSpPr>
          <p:cNvPr id="67" name="Rectangle 66"/>
          <p:cNvSpPr/>
          <p:nvPr/>
        </p:nvSpPr>
        <p:spPr>
          <a:xfrm>
            <a:off x="114300" y="1981200"/>
            <a:ext cx="1422040" cy="1524000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68" name="TextBox 67"/>
          <p:cNvSpPr txBox="1"/>
          <p:nvPr/>
        </p:nvSpPr>
        <p:spPr>
          <a:xfrm>
            <a:off x="143926" y="3319529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 smtClean="0">
                <a:solidFill>
                  <a:srgbClr val="7F7E7E"/>
                </a:solidFill>
              </a:rPr>
              <a:t>0.1s</a:t>
            </a:r>
            <a:endParaRPr lang="en-US" sz="1000" dirty="0">
              <a:solidFill>
                <a:srgbClr val="7F7E7E"/>
              </a:solidFill>
            </a:endParaRPr>
          </a:p>
        </p:txBody>
      </p:sp>
      <p:sp>
        <p:nvSpPr>
          <p:cNvPr id="65" name="Rectangle 64"/>
          <p:cNvSpPr/>
          <p:nvPr/>
        </p:nvSpPr>
        <p:spPr>
          <a:xfrm>
            <a:off x="1612972" y="1981200"/>
            <a:ext cx="1422040" cy="1524000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66" name="TextBox 65"/>
          <p:cNvSpPr txBox="1"/>
          <p:nvPr/>
        </p:nvSpPr>
        <p:spPr>
          <a:xfrm>
            <a:off x="1642598" y="3319529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 smtClean="0">
                <a:solidFill>
                  <a:srgbClr val="7F7E7E"/>
                </a:solidFill>
              </a:rPr>
              <a:t>8.17s</a:t>
            </a:r>
            <a:endParaRPr lang="en-US" sz="1000" dirty="0">
              <a:solidFill>
                <a:srgbClr val="7F7E7E"/>
              </a:solidFill>
            </a:endParaRPr>
          </a:p>
        </p:txBody>
      </p:sp>
      <p:sp>
        <p:nvSpPr>
          <p:cNvPr id="63" name="Rectangle 62"/>
          <p:cNvSpPr/>
          <p:nvPr/>
        </p:nvSpPr>
        <p:spPr>
          <a:xfrm>
            <a:off x="3111644" y="1981200"/>
            <a:ext cx="1422040" cy="1524000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64" name="TextBox 63"/>
          <p:cNvSpPr txBox="1"/>
          <p:nvPr/>
        </p:nvSpPr>
        <p:spPr>
          <a:xfrm>
            <a:off x="3141270" y="3319529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 smtClean="0">
                <a:solidFill>
                  <a:srgbClr val="7F7E7E"/>
                </a:solidFill>
              </a:rPr>
              <a:t>.03s</a:t>
            </a:r>
            <a:endParaRPr lang="en-US" sz="1000" dirty="0">
              <a:solidFill>
                <a:srgbClr val="7F7E7E"/>
              </a:solidFill>
            </a:endParaRPr>
          </a:p>
        </p:txBody>
      </p:sp>
      <p:sp>
        <p:nvSpPr>
          <p:cNvPr id="61" name="Rectangle 60"/>
          <p:cNvSpPr/>
          <p:nvPr/>
        </p:nvSpPr>
        <p:spPr>
          <a:xfrm>
            <a:off x="4610317" y="1981200"/>
            <a:ext cx="1422040" cy="1524000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62" name="TextBox 61"/>
          <p:cNvSpPr txBox="1"/>
          <p:nvPr/>
        </p:nvSpPr>
        <p:spPr>
          <a:xfrm>
            <a:off x="4639943" y="3319529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 smtClean="0">
                <a:solidFill>
                  <a:srgbClr val="7F7E7E"/>
                </a:solidFill>
              </a:rPr>
              <a:t>.03s</a:t>
            </a:r>
            <a:endParaRPr lang="en-US" sz="1000" dirty="0">
              <a:solidFill>
                <a:srgbClr val="7F7E7E"/>
              </a:solidFill>
            </a:endParaRPr>
          </a:p>
        </p:txBody>
      </p:sp>
      <p:sp>
        <p:nvSpPr>
          <p:cNvPr id="59" name="Rectangle 58"/>
          <p:cNvSpPr/>
          <p:nvPr/>
        </p:nvSpPr>
        <p:spPr>
          <a:xfrm>
            <a:off x="6108989" y="1981200"/>
            <a:ext cx="1422040" cy="1524000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60" name="TextBox 59"/>
          <p:cNvSpPr txBox="1"/>
          <p:nvPr/>
        </p:nvSpPr>
        <p:spPr>
          <a:xfrm>
            <a:off x="6138615" y="3319529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 smtClean="0">
                <a:solidFill>
                  <a:srgbClr val="7F7E7E"/>
                </a:solidFill>
              </a:rPr>
              <a:t>.26s</a:t>
            </a:r>
            <a:endParaRPr lang="en-US" sz="1000" dirty="0">
              <a:solidFill>
                <a:srgbClr val="7F7E7E"/>
              </a:solidFill>
            </a:endParaRPr>
          </a:p>
        </p:txBody>
      </p:sp>
      <p:sp>
        <p:nvSpPr>
          <p:cNvPr id="57" name="Rectangle 56"/>
          <p:cNvSpPr/>
          <p:nvPr/>
        </p:nvSpPr>
        <p:spPr>
          <a:xfrm>
            <a:off x="7607660" y="1981200"/>
            <a:ext cx="1422040" cy="1524000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58" name="TextBox 57"/>
          <p:cNvSpPr txBox="1"/>
          <p:nvPr/>
        </p:nvSpPr>
        <p:spPr>
          <a:xfrm>
            <a:off x="7637286" y="3319529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 smtClean="0">
                <a:solidFill>
                  <a:srgbClr val="7F7E7E"/>
                </a:solidFill>
              </a:rPr>
              <a:t>.10s</a:t>
            </a:r>
            <a:endParaRPr lang="en-US" sz="1000" dirty="0">
              <a:solidFill>
                <a:srgbClr val="7F7E7E"/>
              </a:solidFill>
            </a:endParaRPr>
          </a:p>
        </p:txBody>
      </p:sp>
      <p:sp>
        <p:nvSpPr>
          <p:cNvPr id="86" name="Rectangle 85"/>
          <p:cNvSpPr/>
          <p:nvPr/>
        </p:nvSpPr>
        <p:spPr>
          <a:xfrm>
            <a:off x="114300" y="3581400"/>
            <a:ext cx="1422040" cy="1524000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87" name="TextBox 86"/>
          <p:cNvSpPr txBox="1"/>
          <p:nvPr/>
        </p:nvSpPr>
        <p:spPr>
          <a:xfrm>
            <a:off x="143926" y="4919729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 smtClean="0">
                <a:solidFill>
                  <a:srgbClr val="7F7E7E"/>
                </a:solidFill>
              </a:rPr>
              <a:t>.01s</a:t>
            </a:r>
            <a:endParaRPr lang="en-US" sz="1000" dirty="0">
              <a:solidFill>
                <a:srgbClr val="7F7E7E"/>
              </a:solidFill>
            </a:endParaRPr>
          </a:p>
        </p:txBody>
      </p:sp>
      <p:sp>
        <p:nvSpPr>
          <p:cNvPr id="84" name="Rectangle 83"/>
          <p:cNvSpPr/>
          <p:nvPr/>
        </p:nvSpPr>
        <p:spPr>
          <a:xfrm>
            <a:off x="1612972" y="3581400"/>
            <a:ext cx="1422040" cy="1524000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85" name="TextBox 84"/>
          <p:cNvSpPr txBox="1"/>
          <p:nvPr/>
        </p:nvSpPr>
        <p:spPr>
          <a:xfrm>
            <a:off x="1642598" y="4919729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 smtClean="0">
                <a:solidFill>
                  <a:srgbClr val="7F7E7E"/>
                </a:solidFill>
              </a:rPr>
              <a:t>8.45s</a:t>
            </a:r>
            <a:endParaRPr lang="en-US" sz="1000" dirty="0">
              <a:solidFill>
                <a:srgbClr val="7F7E7E"/>
              </a:solidFill>
            </a:endParaRPr>
          </a:p>
        </p:txBody>
      </p:sp>
      <p:sp>
        <p:nvSpPr>
          <p:cNvPr id="82" name="Rectangle 81"/>
          <p:cNvSpPr/>
          <p:nvPr/>
        </p:nvSpPr>
        <p:spPr>
          <a:xfrm>
            <a:off x="3111644" y="3581400"/>
            <a:ext cx="1422040" cy="1524000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83" name="TextBox 82"/>
          <p:cNvSpPr txBox="1"/>
          <p:nvPr/>
        </p:nvSpPr>
        <p:spPr>
          <a:xfrm>
            <a:off x="3141270" y="4919729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 smtClean="0">
                <a:solidFill>
                  <a:srgbClr val="7F7E7E"/>
                </a:solidFill>
              </a:rPr>
              <a:t>.03s</a:t>
            </a:r>
            <a:endParaRPr lang="en-US" sz="1000" dirty="0">
              <a:solidFill>
                <a:srgbClr val="7F7E7E"/>
              </a:solidFill>
            </a:endParaRPr>
          </a:p>
        </p:txBody>
      </p:sp>
      <p:sp>
        <p:nvSpPr>
          <p:cNvPr id="80" name="Rectangle 79"/>
          <p:cNvSpPr/>
          <p:nvPr/>
        </p:nvSpPr>
        <p:spPr>
          <a:xfrm>
            <a:off x="4610317" y="3581400"/>
            <a:ext cx="1422040" cy="1524000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81" name="TextBox 80"/>
          <p:cNvSpPr txBox="1"/>
          <p:nvPr/>
        </p:nvSpPr>
        <p:spPr>
          <a:xfrm>
            <a:off x="4639943" y="4919729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 smtClean="0">
                <a:solidFill>
                  <a:srgbClr val="7F7E7E"/>
                </a:solidFill>
              </a:rPr>
              <a:t>.04s</a:t>
            </a:r>
            <a:endParaRPr lang="en-US" sz="1000" dirty="0">
              <a:solidFill>
                <a:srgbClr val="7F7E7E"/>
              </a:solidFill>
            </a:endParaRPr>
          </a:p>
        </p:txBody>
      </p:sp>
      <p:sp>
        <p:nvSpPr>
          <p:cNvPr id="78" name="Rectangle 77"/>
          <p:cNvSpPr/>
          <p:nvPr/>
        </p:nvSpPr>
        <p:spPr>
          <a:xfrm>
            <a:off x="6108989" y="3581400"/>
            <a:ext cx="1422040" cy="1524000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79" name="TextBox 78"/>
          <p:cNvSpPr txBox="1"/>
          <p:nvPr/>
        </p:nvSpPr>
        <p:spPr>
          <a:xfrm>
            <a:off x="6138615" y="4919729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 smtClean="0">
                <a:solidFill>
                  <a:srgbClr val="7F7E7E"/>
                </a:solidFill>
              </a:rPr>
              <a:t>.31s</a:t>
            </a:r>
            <a:endParaRPr lang="en-US" sz="1000" dirty="0">
              <a:solidFill>
                <a:srgbClr val="7F7E7E"/>
              </a:solidFill>
            </a:endParaRPr>
          </a:p>
        </p:txBody>
      </p:sp>
      <p:sp>
        <p:nvSpPr>
          <p:cNvPr id="76" name="Rectangle 75"/>
          <p:cNvSpPr/>
          <p:nvPr/>
        </p:nvSpPr>
        <p:spPr>
          <a:xfrm>
            <a:off x="7607660" y="3581400"/>
            <a:ext cx="1422040" cy="1524000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77" name="TextBox 76"/>
          <p:cNvSpPr txBox="1"/>
          <p:nvPr/>
        </p:nvSpPr>
        <p:spPr>
          <a:xfrm>
            <a:off x="7637286" y="4919729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 smtClean="0">
                <a:solidFill>
                  <a:srgbClr val="7F7E7E"/>
                </a:solidFill>
              </a:rPr>
              <a:t>.11s</a:t>
            </a:r>
            <a:endParaRPr lang="en-US" sz="1000" dirty="0">
              <a:solidFill>
                <a:srgbClr val="7F7E7E"/>
              </a:solidFill>
            </a:endParaRPr>
          </a:p>
        </p:txBody>
      </p:sp>
      <p:sp>
        <p:nvSpPr>
          <p:cNvPr id="105" name="Rectangle 104"/>
          <p:cNvSpPr/>
          <p:nvPr/>
        </p:nvSpPr>
        <p:spPr>
          <a:xfrm>
            <a:off x="114300" y="5181600"/>
            <a:ext cx="1422040" cy="1524000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106" name="TextBox 105"/>
          <p:cNvSpPr txBox="1"/>
          <p:nvPr/>
        </p:nvSpPr>
        <p:spPr>
          <a:xfrm>
            <a:off x="143926" y="6519929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 smtClean="0">
                <a:solidFill>
                  <a:srgbClr val="7F7E7E"/>
                </a:solidFill>
              </a:rPr>
              <a:t>.02s</a:t>
            </a:r>
            <a:endParaRPr lang="en-US" sz="1000" dirty="0">
              <a:solidFill>
                <a:srgbClr val="7F7E7E"/>
              </a:solidFill>
            </a:endParaRPr>
          </a:p>
        </p:txBody>
      </p:sp>
      <p:sp>
        <p:nvSpPr>
          <p:cNvPr id="103" name="Rectangle 102"/>
          <p:cNvSpPr/>
          <p:nvPr/>
        </p:nvSpPr>
        <p:spPr>
          <a:xfrm>
            <a:off x="1612972" y="5181600"/>
            <a:ext cx="1422040" cy="1524000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104" name="TextBox 103"/>
          <p:cNvSpPr txBox="1"/>
          <p:nvPr/>
        </p:nvSpPr>
        <p:spPr>
          <a:xfrm>
            <a:off x="1642598" y="6519929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 smtClean="0">
                <a:solidFill>
                  <a:srgbClr val="7F7E7E"/>
                </a:solidFill>
              </a:rPr>
              <a:t>8.53s</a:t>
            </a:r>
            <a:endParaRPr lang="en-US" sz="1000" dirty="0">
              <a:solidFill>
                <a:srgbClr val="7F7E7E"/>
              </a:solidFill>
            </a:endParaRPr>
          </a:p>
        </p:txBody>
      </p:sp>
      <p:sp>
        <p:nvSpPr>
          <p:cNvPr id="101" name="Rectangle 100"/>
          <p:cNvSpPr/>
          <p:nvPr/>
        </p:nvSpPr>
        <p:spPr>
          <a:xfrm>
            <a:off x="3111644" y="5181600"/>
            <a:ext cx="1422040" cy="1524000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102" name="TextBox 101"/>
          <p:cNvSpPr txBox="1"/>
          <p:nvPr/>
        </p:nvSpPr>
        <p:spPr>
          <a:xfrm>
            <a:off x="3141270" y="6519929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 smtClean="0">
                <a:solidFill>
                  <a:srgbClr val="7F7E7E"/>
                </a:solidFill>
              </a:rPr>
              <a:t>.06s</a:t>
            </a:r>
            <a:endParaRPr lang="en-US" sz="1000" dirty="0">
              <a:solidFill>
                <a:srgbClr val="7F7E7E"/>
              </a:solidFill>
            </a:endParaRPr>
          </a:p>
        </p:txBody>
      </p:sp>
      <p:sp>
        <p:nvSpPr>
          <p:cNvPr id="99" name="Rectangle 98"/>
          <p:cNvSpPr/>
          <p:nvPr/>
        </p:nvSpPr>
        <p:spPr>
          <a:xfrm>
            <a:off x="4610317" y="5181600"/>
            <a:ext cx="1422040" cy="1524000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100" name="TextBox 99"/>
          <p:cNvSpPr txBox="1"/>
          <p:nvPr/>
        </p:nvSpPr>
        <p:spPr>
          <a:xfrm>
            <a:off x="4639943" y="6519929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 smtClean="0">
                <a:solidFill>
                  <a:srgbClr val="7F7E7E"/>
                </a:solidFill>
              </a:rPr>
              <a:t>.08s</a:t>
            </a:r>
            <a:endParaRPr lang="en-US" sz="1000" dirty="0">
              <a:solidFill>
                <a:srgbClr val="7F7E7E"/>
              </a:solidFill>
            </a:endParaRPr>
          </a:p>
        </p:txBody>
      </p:sp>
      <p:sp>
        <p:nvSpPr>
          <p:cNvPr id="97" name="Rectangle 96"/>
          <p:cNvSpPr/>
          <p:nvPr/>
        </p:nvSpPr>
        <p:spPr>
          <a:xfrm>
            <a:off x="6108989" y="5181600"/>
            <a:ext cx="1422040" cy="1524000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98" name="TextBox 97"/>
          <p:cNvSpPr txBox="1"/>
          <p:nvPr/>
        </p:nvSpPr>
        <p:spPr>
          <a:xfrm>
            <a:off x="6138615" y="6519929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 smtClean="0">
                <a:solidFill>
                  <a:srgbClr val="7F7E7E"/>
                </a:solidFill>
              </a:rPr>
              <a:t>.21s</a:t>
            </a:r>
            <a:endParaRPr lang="en-US" sz="1000" dirty="0">
              <a:solidFill>
                <a:srgbClr val="7F7E7E"/>
              </a:solidFill>
            </a:endParaRPr>
          </a:p>
        </p:txBody>
      </p:sp>
      <p:sp>
        <p:nvSpPr>
          <p:cNvPr id="95" name="Rectangle 94"/>
          <p:cNvSpPr/>
          <p:nvPr/>
        </p:nvSpPr>
        <p:spPr>
          <a:xfrm>
            <a:off x="7607660" y="5181600"/>
            <a:ext cx="1422040" cy="1524000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96" name="TextBox 95"/>
          <p:cNvSpPr txBox="1"/>
          <p:nvPr/>
        </p:nvSpPr>
        <p:spPr>
          <a:xfrm>
            <a:off x="7637286" y="6519929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 smtClean="0">
                <a:solidFill>
                  <a:srgbClr val="7F7E7E"/>
                </a:solidFill>
              </a:rPr>
              <a:t>.10s</a:t>
            </a:r>
            <a:endParaRPr lang="en-US" sz="1000" dirty="0">
              <a:solidFill>
                <a:srgbClr val="7F7E7E"/>
              </a:solidFill>
            </a:endParaRPr>
          </a:p>
        </p:txBody>
      </p:sp>
      <p:sp>
        <p:nvSpPr>
          <p:cNvPr id="108" name="TextBox 107"/>
          <p:cNvSpPr txBox="1"/>
          <p:nvPr/>
        </p:nvSpPr>
        <p:spPr>
          <a:xfrm>
            <a:off x="143926" y="228600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b="1" dirty="0" err="1" smtClean="0">
                <a:solidFill>
                  <a:srgbClr val="7F7E7E"/>
                </a:solidFill>
              </a:rPr>
              <a:t>MiniBatchKMeans</a:t>
            </a:r>
            <a:endParaRPr lang="en-US" sz="1000" b="1" dirty="0">
              <a:solidFill>
                <a:srgbClr val="7F7E7E"/>
              </a:solidFill>
            </a:endParaRPr>
          </a:p>
        </p:txBody>
      </p:sp>
      <p:sp>
        <p:nvSpPr>
          <p:cNvPr id="109" name="TextBox 108"/>
          <p:cNvSpPr txBox="1"/>
          <p:nvPr/>
        </p:nvSpPr>
        <p:spPr>
          <a:xfrm>
            <a:off x="1642598" y="228600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b="1" dirty="0" err="1" smtClean="0">
                <a:solidFill>
                  <a:srgbClr val="7F7E7E"/>
                </a:solidFill>
              </a:rPr>
              <a:t>AffinityPropagation</a:t>
            </a:r>
            <a:endParaRPr lang="en-US" sz="1000" b="1" dirty="0">
              <a:solidFill>
                <a:srgbClr val="7F7E7E"/>
              </a:solidFill>
            </a:endParaRPr>
          </a:p>
        </p:txBody>
      </p:sp>
      <p:sp>
        <p:nvSpPr>
          <p:cNvPr id="110" name="TextBox 109"/>
          <p:cNvSpPr txBox="1"/>
          <p:nvPr/>
        </p:nvSpPr>
        <p:spPr>
          <a:xfrm>
            <a:off x="3141270" y="228600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b="1" dirty="0" err="1" smtClean="0">
                <a:solidFill>
                  <a:srgbClr val="7F7E7E"/>
                </a:solidFill>
              </a:rPr>
              <a:t>MeanShift</a:t>
            </a:r>
            <a:endParaRPr lang="en-US" sz="1000" b="1" dirty="0">
              <a:solidFill>
                <a:srgbClr val="7F7E7E"/>
              </a:solidFill>
            </a:endParaRPr>
          </a:p>
        </p:txBody>
      </p:sp>
      <p:sp>
        <p:nvSpPr>
          <p:cNvPr id="111" name="TextBox 110"/>
          <p:cNvSpPr txBox="1"/>
          <p:nvPr/>
        </p:nvSpPr>
        <p:spPr>
          <a:xfrm>
            <a:off x="4639943" y="228600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b="1" dirty="0" err="1" smtClean="0">
                <a:solidFill>
                  <a:srgbClr val="7F7E7E"/>
                </a:solidFill>
              </a:rPr>
              <a:t>SpectralClustering</a:t>
            </a:r>
            <a:endParaRPr lang="en-US" sz="1000" b="1" dirty="0">
              <a:solidFill>
                <a:srgbClr val="7F7E7E"/>
              </a:solidFill>
            </a:endParaRPr>
          </a:p>
        </p:txBody>
      </p:sp>
      <p:sp>
        <p:nvSpPr>
          <p:cNvPr id="112" name="TextBox 111"/>
          <p:cNvSpPr txBox="1"/>
          <p:nvPr/>
        </p:nvSpPr>
        <p:spPr>
          <a:xfrm>
            <a:off x="6138615" y="228600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b="1" dirty="0" smtClean="0">
                <a:solidFill>
                  <a:srgbClr val="7F7E7E"/>
                </a:solidFill>
              </a:rPr>
              <a:t>Ward</a:t>
            </a:r>
            <a:endParaRPr lang="en-US" sz="1000" b="1" dirty="0">
              <a:solidFill>
                <a:srgbClr val="7F7E7E"/>
              </a:solidFill>
            </a:endParaRPr>
          </a:p>
        </p:txBody>
      </p:sp>
      <p:sp>
        <p:nvSpPr>
          <p:cNvPr id="113" name="TextBox 112"/>
          <p:cNvSpPr txBox="1"/>
          <p:nvPr/>
        </p:nvSpPr>
        <p:spPr>
          <a:xfrm>
            <a:off x="7637286" y="228600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b="1" dirty="0" smtClean="0">
                <a:solidFill>
                  <a:srgbClr val="7F7E7E"/>
                </a:solidFill>
              </a:rPr>
              <a:t>DBSCAN</a:t>
            </a:r>
            <a:endParaRPr lang="en-US" sz="1000" b="1" dirty="0">
              <a:solidFill>
                <a:srgbClr val="7F7E7E"/>
              </a:solidFill>
            </a:endParaRPr>
          </a:p>
        </p:txBody>
      </p:sp>
      <p:grpSp>
        <p:nvGrpSpPr>
          <p:cNvPr id="118" name="Group 117"/>
          <p:cNvGrpSpPr/>
          <p:nvPr/>
        </p:nvGrpSpPr>
        <p:grpSpPr>
          <a:xfrm>
            <a:off x="1752600" y="457200"/>
            <a:ext cx="1185755" cy="1245801"/>
            <a:chOff x="1752600" y="457200"/>
            <a:chExt cx="1185755" cy="1245801"/>
          </a:xfrm>
        </p:grpSpPr>
        <p:pic>
          <p:nvPicPr>
            <p:cNvPr id="115" name="Picture 114"/>
            <p:cNvPicPr>
              <a:picLocks noChangeAspect="1"/>
            </p:cNvPicPr>
            <p:nvPr/>
          </p:nvPicPr>
          <p:blipFill rotWithShape="1">
            <a:blip r:embed="rId6"/>
            <a:srcRect l="3497"/>
            <a:stretch/>
          </p:blipFill>
          <p:spPr>
            <a:xfrm>
              <a:off x="1752600" y="457200"/>
              <a:ext cx="1185755" cy="1219200"/>
            </a:xfrm>
            <a:prstGeom prst="rect">
              <a:avLst/>
            </a:prstGeom>
          </p:spPr>
        </p:pic>
        <p:sp>
          <p:nvSpPr>
            <p:cNvPr id="117" name="Rectangle 116"/>
            <p:cNvSpPr/>
            <p:nvPr/>
          </p:nvSpPr>
          <p:spPr>
            <a:xfrm>
              <a:off x="2631502" y="1569651"/>
              <a:ext cx="306853" cy="13335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/>
            </a:p>
          </p:txBody>
        </p:sp>
      </p:grpSp>
      <p:grpSp>
        <p:nvGrpSpPr>
          <p:cNvPr id="121" name="Group 120"/>
          <p:cNvGrpSpPr/>
          <p:nvPr/>
        </p:nvGrpSpPr>
        <p:grpSpPr>
          <a:xfrm>
            <a:off x="3212253" y="457200"/>
            <a:ext cx="1220823" cy="1219200"/>
            <a:chOff x="3198777" y="457200"/>
            <a:chExt cx="1220823" cy="1219200"/>
          </a:xfrm>
        </p:grpSpPr>
        <p:pic>
          <p:nvPicPr>
            <p:cNvPr id="119" name="Picture 118"/>
            <p:cNvPicPr>
              <a:picLocks noChangeAspect="1"/>
            </p:cNvPicPr>
            <p:nvPr/>
          </p:nvPicPr>
          <p:blipFill rotWithShape="1">
            <a:blip r:embed="rId7"/>
            <a:srcRect r="2160"/>
            <a:stretch/>
          </p:blipFill>
          <p:spPr>
            <a:xfrm>
              <a:off x="3198777" y="457200"/>
              <a:ext cx="1220823" cy="1219200"/>
            </a:xfrm>
            <a:prstGeom prst="rect">
              <a:avLst/>
            </a:prstGeom>
          </p:spPr>
        </p:pic>
        <p:sp>
          <p:nvSpPr>
            <p:cNvPr id="120" name="Rectangle 119"/>
            <p:cNvSpPr/>
            <p:nvPr/>
          </p:nvSpPr>
          <p:spPr>
            <a:xfrm>
              <a:off x="4121113" y="1543050"/>
              <a:ext cx="298487" cy="13335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/>
            </a:p>
          </p:txBody>
        </p:sp>
      </p:grpSp>
      <p:grpSp>
        <p:nvGrpSpPr>
          <p:cNvPr id="125" name="Group 124"/>
          <p:cNvGrpSpPr/>
          <p:nvPr/>
        </p:nvGrpSpPr>
        <p:grpSpPr>
          <a:xfrm>
            <a:off x="4711737" y="494527"/>
            <a:ext cx="1219200" cy="1219200"/>
            <a:chOff x="4724400" y="494527"/>
            <a:chExt cx="1219200" cy="1219200"/>
          </a:xfrm>
        </p:grpSpPr>
        <p:pic>
          <p:nvPicPr>
            <p:cNvPr id="122" name="Picture 121"/>
            <p:cNvPicPr>
              <a:picLocks noChangeAspect="1"/>
            </p:cNvPicPr>
            <p:nvPr/>
          </p:nvPicPr>
          <p:blipFill rotWithShape="1">
            <a:blip r:embed="rId8"/>
            <a:srcRect l="596" r="943"/>
            <a:stretch/>
          </p:blipFill>
          <p:spPr>
            <a:xfrm>
              <a:off x="4724400" y="494527"/>
              <a:ext cx="1219200" cy="1219200"/>
            </a:xfrm>
            <a:prstGeom prst="rect">
              <a:avLst/>
            </a:prstGeom>
          </p:spPr>
        </p:pic>
        <p:sp>
          <p:nvSpPr>
            <p:cNvPr id="123" name="Rectangle 122"/>
            <p:cNvSpPr/>
            <p:nvPr/>
          </p:nvSpPr>
          <p:spPr>
            <a:xfrm>
              <a:off x="5645113" y="1580377"/>
              <a:ext cx="298487" cy="13335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/>
            </a:p>
          </p:txBody>
        </p:sp>
      </p:grpSp>
      <p:grpSp>
        <p:nvGrpSpPr>
          <p:cNvPr id="128" name="Group 127"/>
          <p:cNvGrpSpPr/>
          <p:nvPr/>
        </p:nvGrpSpPr>
        <p:grpSpPr>
          <a:xfrm>
            <a:off x="6206944" y="509201"/>
            <a:ext cx="1226130" cy="1200150"/>
            <a:chOff x="6206944" y="509201"/>
            <a:chExt cx="1226130" cy="1200150"/>
          </a:xfrm>
        </p:grpSpPr>
        <p:pic>
          <p:nvPicPr>
            <p:cNvPr id="126" name="Picture 125"/>
            <p:cNvPicPr>
              <a:picLocks noChangeAspect="1"/>
            </p:cNvPicPr>
            <p:nvPr/>
          </p:nvPicPr>
          <p:blipFill rotWithShape="1">
            <a:blip r:embed="rId9"/>
            <a:srcRect l="1734" r="-1"/>
            <a:stretch/>
          </p:blipFill>
          <p:spPr>
            <a:xfrm>
              <a:off x="6206944" y="509201"/>
              <a:ext cx="1226130" cy="1200150"/>
            </a:xfrm>
            <a:prstGeom prst="rect">
              <a:avLst/>
            </a:prstGeom>
          </p:spPr>
        </p:pic>
        <p:sp>
          <p:nvSpPr>
            <p:cNvPr id="127" name="Rectangle 126"/>
            <p:cNvSpPr/>
            <p:nvPr/>
          </p:nvSpPr>
          <p:spPr>
            <a:xfrm>
              <a:off x="7134587" y="1576001"/>
              <a:ext cx="298487" cy="13335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/>
            </a:p>
          </p:txBody>
        </p:sp>
      </p:grpSp>
      <p:grpSp>
        <p:nvGrpSpPr>
          <p:cNvPr id="131" name="Group 130"/>
          <p:cNvGrpSpPr/>
          <p:nvPr/>
        </p:nvGrpSpPr>
        <p:grpSpPr>
          <a:xfrm>
            <a:off x="7718605" y="458401"/>
            <a:ext cx="1200150" cy="1219200"/>
            <a:chOff x="7698581" y="452051"/>
            <a:chExt cx="1200150" cy="1219200"/>
          </a:xfrm>
        </p:grpSpPr>
        <p:pic>
          <p:nvPicPr>
            <p:cNvPr id="129" name="Picture 128"/>
            <p:cNvPicPr>
              <a:picLocks noChangeAspect="1"/>
            </p:cNvPicPr>
            <p:nvPr/>
          </p:nvPicPr>
          <p:blipFill rotWithShape="1">
            <a:blip r:embed="rId10"/>
            <a:srcRect l="1563"/>
            <a:stretch/>
          </p:blipFill>
          <p:spPr>
            <a:xfrm>
              <a:off x="7698581" y="452051"/>
              <a:ext cx="1200150" cy="1219200"/>
            </a:xfrm>
            <a:prstGeom prst="rect">
              <a:avLst/>
            </a:prstGeom>
          </p:spPr>
        </p:pic>
        <p:sp>
          <p:nvSpPr>
            <p:cNvPr id="130" name="Rectangle 129"/>
            <p:cNvSpPr/>
            <p:nvPr/>
          </p:nvSpPr>
          <p:spPr>
            <a:xfrm>
              <a:off x="8600244" y="1537901"/>
              <a:ext cx="298487" cy="13335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/>
            </a:p>
          </p:txBody>
        </p:sp>
      </p:grpSp>
      <p:grpSp>
        <p:nvGrpSpPr>
          <p:cNvPr id="134" name="Group 133"/>
          <p:cNvGrpSpPr/>
          <p:nvPr/>
        </p:nvGrpSpPr>
        <p:grpSpPr>
          <a:xfrm>
            <a:off x="215720" y="2061776"/>
            <a:ext cx="1219200" cy="1228725"/>
            <a:chOff x="215720" y="2061776"/>
            <a:chExt cx="1219200" cy="1228725"/>
          </a:xfrm>
        </p:grpSpPr>
        <p:pic>
          <p:nvPicPr>
            <p:cNvPr id="132" name="Picture 131"/>
            <p:cNvPicPr>
              <a:picLocks noChangeAspect="1"/>
            </p:cNvPicPr>
            <p:nvPr/>
          </p:nvPicPr>
          <p:blipFill>
            <a:blip r:embed="rId11"/>
            <a:stretch>
              <a:fillRect/>
            </a:stretch>
          </p:blipFill>
          <p:spPr>
            <a:xfrm>
              <a:off x="215720" y="2061776"/>
              <a:ext cx="1219200" cy="1228725"/>
            </a:xfrm>
            <a:prstGeom prst="rect">
              <a:avLst/>
            </a:prstGeom>
          </p:spPr>
        </p:pic>
        <p:sp>
          <p:nvSpPr>
            <p:cNvPr id="133" name="Rectangle 132"/>
            <p:cNvSpPr/>
            <p:nvPr/>
          </p:nvSpPr>
          <p:spPr>
            <a:xfrm>
              <a:off x="1204913" y="3190875"/>
              <a:ext cx="230007" cy="9962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/>
            </a:p>
          </p:txBody>
        </p:sp>
      </p:grpSp>
      <p:grpSp>
        <p:nvGrpSpPr>
          <p:cNvPr id="137" name="Group 136"/>
          <p:cNvGrpSpPr/>
          <p:nvPr/>
        </p:nvGrpSpPr>
        <p:grpSpPr>
          <a:xfrm>
            <a:off x="1720849" y="2041525"/>
            <a:ext cx="1222267" cy="1231900"/>
            <a:chOff x="1720849" y="2041525"/>
            <a:chExt cx="1222267" cy="1231900"/>
          </a:xfrm>
        </p:grpSpPr>
        <p:pic>
          <p:nvPicPr>
            <p:cNvPr id="135" name="Picture 134"/>
            <p:cNvPicPr>
              <a:picLocks noChangeAspect="1"/>
            </p:cNvPicPr>
            <p:nvPr/>
          </p:nvPicPr>
          <p:blipFill rotWithShape="1">
            <a:blip r:embed="rId12"/>
            <a:srcRect l="1291" t="1272" b="1"/>
            <a:stretch/>
          </p:blipFill>
          <p:spPr>
            <a:xfrm>
              <a:off x="1720849" y="2041525"/>
              <a:ext cx="1222267" cy="1231900"/>
            </a:xfrm>
            <a:prstGeom prst="rect">
              <a:avLst/>
            </a:prstGeom>
          </p:spPr>
        </p:pic>
        <p:sp>
          <p:nvSpPr>
            <p:cNvPr id="136" name="Rectangle 135"/>
            <p:cNvSpPr/>
            <p:nvPr/>
          </p:nvSpPr>
          <p:spPr>
            <a:xfrm>
              <a:off x="2631502" y="3169851"/>
              <a:ext cx="311614" cy="103574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/>
            </a:p>
          </p:txBody>
        </p:sp>
      </p:grpSp>
      <p:grpSp>
        <p:nvGrpSpPr>
          <p:cNvPr id="140" name="Group 139"/>
          <p:cNvGrpSpPr/>
          <p:nvPr/>
        </p:nvGrpSpPr>
        <p:grpSpPr>
          <a:xfrm>
            <a:off x="244295" y="3642926"/>
            <a:ext cx="1190625" cy="1171575"/>
            <a:chOff x="244295" y="3642926"/>
            <a:chExt cx="1190625" cy="1171575"/>
          </a:xfrm>
        </p:grpSpPr>
        <p:pic>
          <p:nvPicPr>
            <p:cNvPr id="138" name="Picture 137"/>
            <p:cNvPicPr>
              <a:picLocks noChangeAspect="1"/>
            </p:cNvPicPr>
            <p:nvPr/>
          </p:nvPicPr>
          <p:blipFill>
            <a:blip r:embed="rId13"/>
            <a:stretch>
              <a:fillRect/>
            </a:stretch>
          </p:blipFill>
          <p:spPr>
            <a:xfrm>
              <a:off x="244295" y="3642926"/>
              <a:ext cx="1190625" cy="1171575"/>
            </a:xfrm>
            <a:prstGeom prst="rect">
              <a:avLst/>
            </a:prstGeom>
          </p:spPr>
        </p:pic>
        <p:sp>
          <p:nvSpPr>
            <p:cNvPr id="139" name="Rectangle 138"/>
            <p:cNvSpPr/>
            <p:nvPr/>
          </p:nvSpPr>
          <p:spPr>
            <a:xfrm>
              <a:off x="1136433" y="4681151"/>
              <a:ext cx="298487" cy="13335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/>
            </a:p>
          </p:txBody>
        </p:sp>
      </p:grpSp>
      <p:pic>
        <p:nvPicPr>
          <p:cNvPr id="141" name="Picture 140"/>
          <p:cNvPicPr>
            <a:picLocks noChangeAspect="1"/>
          </p:cNvPicPr>
          <p:nvPr/>
        </p:nvPicPr>
        <p:blipFill rotWithShape="1">
          <a:blip r:embed="rId14"/>
          <a:srcRect r="4809" b="6589"/>
          <a:stretch/>
        </p:blipFill>
        <p:spPr>
          <a:xfrm>
            <a:off x="111289" y="5232656"/>
            <a:ext cx="1428062" cy="1234566"/>
          </a:xfrm>
          <a:prstGeom prst="rect">
            <a:avLst/>
          </a:prstGeom>
        </p:spPr>
      </p:pic>
      <p:pic>
        <p:nvPicPr>
          <p:cNvPr id="142" name="Picture 141"/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1619696" y="5232475"/>
            <a:ext cx="1408594" cy="1239690"/>
          </a:xfrm>
          <a:prstGeom prst="rect">
            <a:avLst/>
          </a:prstGeom>
        </p:spPr>
      </p:pic>
      <p:pic>
        <p:nvPicPr>
          <p:cNvPr id="143" name="Picture 142"/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3124093" y="5232834"/>
            <a:ext cx="1397142" cy="1229446"/>
          </a:xfrm>
          <a:prstGeom prst="rect">
            <a:avLst/>
          </a:prstGeom>
        </p:spPr>
      </p:pic>
      <p:pic>
        <p:nvPicPr>
          <p:cNvPr id="144" name="Picture 143"/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4639945" y="5232114"/>
            <a:ext cx="1362786" cy="1249936"/>
          </a:xfrm>
          <a:prstGeom prst="rect">
            <a:avLst/>
          </a:prstGeom>
        </p:spPr>
      </p:pic>
      <p:pic>
        <p:nvPicPr>
          <p:cNvPr id="145" name="Picture 144"/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>
            <a:off x="6121438" y="5233196"/>
            <a:ext cx="1397142" cy="1219198"/>
          </a:xfrm>
          <a:prstGeom prst="rect">
            <a:avLst/>
          </a:prstGeom>
        </p:spPr>
      </p:pic>
      <p:pic>
        <p:nvPicPr>
          <p:cNvPr id="146" name="Picture 145"/>
          <p:cNvPicPr>
            <a:picLocks noChangeAspect="1"/>
          </p:cNvPicPr>
          <p:nvPr/>
        </p:nvPicPr>
        <p:blipFill>
          <a:blip r:embed="rId19"/>
          <a:stretch>
            <a:fillRect/>
          </a:stretch>
        </p:blipFill>
        <p:spPr>
          <a:xfrm>
            <a:off x="7625836" y="5233196"/>
            <a:ext cx="1385690" cy="1219198"/>
          </a:xfrm>
          <a:prstGeom prst="rect">
            <a:avLst/>
          </a:prstGeom>
        </p:spPr>
      </p:pic>
      <p:grpSp>
        <p:nvGrpSpPr>
          <p:cNvPr id="149" name="Group 148"/>
          <p:cNvGrpSpPr/>
          <p:nvPr/>
        </p:nvGrpSpPr>
        <p:grpSpPr>
          <a:xfrm>
            <a:off x="1766780" y="3642926"/>
            <a:ext cx="1114425" cy="1162050"/>
            <a:chOff x="1766780" y="3642926"/>
            <a:chExt cx="1114425" cy="1162050"/>
          </a:xfrm>
        </p:grpSpPr>
        <p:pic>
          <p:nvPicPr>
            <p:cNvPr id="147" name="Picture 146"/>
            <p:cNvPicPr>
              <a:picLocks noChangeAspect="1"/>
            </p:cNvPicPr>
            <p:nvPr/>
          </p:nvPicPr>
          <p:blipFill>
            <a:blip r:embed="rId20"/>
            <a:stretch>
              <a:fillRect/>
            </a:stretch>
          </p:blipFill>
          <p:spPr>
            <a:xfrm>
              <a:off x="1766780" y="3642926"/>
              <a:ext cx="1114425" cy="1162050"/>
            </a:xfrm>
            <a:prstGeom prst="rect">
              <a:avLst/>
            </a:prstGeom>
          </p:spPr>
        </p:pic>
        <p:sp>
          <p:nvSpPr>
            <p:cNvPr id="148" name="Rectangle 147"/>
            <p:cNvSpPr/>
            <p:nvPr/>
          </p:nvSpPr>
          <p:spPr>
            <a:xfrm>
              <a:off x="2582718" y="4671626"/>
              <a:ext cx="298487" cy="13335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/>
            </a:p>
          </p:txBody>
        </p:sp>
      </p:grpSp>
      <p:grpSp>
        <p:nvGrpSpPr>
          <p:cNvPr id="152" name="Group 151"/>
          <p:cNvGrpSpPr/>
          <p:nvPr/>
        </p:nvGrpSpPr>
        <p:grpSpPr>
          <a:xfrm>
            <a:off x="3274976" y="3642926"/>
            <a:ext cx="1095375" cy="1200150"/>
            <a:chOff x="3274976" y="3664934"/>
            <a:chExt cx="1095375" cy="1200150"/>
          </a:xfrm>
        </p:grpSpPr>
        <p:pic>
          <p:nvPicPr>
            <p:cNvPr id="150" name="Picture 149"/>
            <p:cNvPicPr>
              <a:picLocks noChangeAspect="1"/>
            </p:cNvPicPr>
            <p:nvPr/>
          </p:nvPicPr>
          <p:blipFill>
            <a:blip r:embed="rId21"/>
            <a:stretch>
              <a:fillRect/>
            </a:stretch>
          </p:blipFill>
          <p:spPr>
            <a:xfrm>
              <a:off x="3274976" y="3664934"/>
              <a:ext cx="1095375" cy="1200150"/>
            </a:xfrm>
            <a:prstGeom prst="rect">
              <a:avLst/>
            </a:prstGeom>
          </p:spPr>
        </p:pic>
        <p:sp>
          <p:nvSpPr>
            <p:cNvPr id="151" name="Rectangle 150"/>
            <p:cNvSpPr/>
            <p:nvPr/>
          </p:nvSpPr>
          <p:spPr>
            <a:xfrm>
              <a:off x="4071864" y="4731734"/>
              <a:ext cx="298487" cy="13335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/>
            </a:p>
          </p:txBody>
        </p:sp>
      </p:grpSp>
      <p:grpSp>
        <p:nvGrpSpPr>
          <p:cNvPr id="155" name="Group 154"/>
          <p:cNvGrpSpPr/>
          <p:nvPr/>
        </p:nvGrpSpPr>
        <p:grpSpPr>
          <a:xfrm>
            <a:off x="4778412" y="3642926"/>
            <a:ext cx="1085850" cy="1200150"/>
            <a:chOff x="4778412" y="3654756"/>
            <a:chExt cx="1085850" cy="1200150"/>
          </a:xfrm>
        </p:grpSpPr>
        <p:pic>
          <p:nvPicPr>
            <p:cNvPr id="153" name="Picture 152"/>
            <p:cNvPicPr>
              <a:picLocks noChangeAspect="1"/>
            </p:cNvPicPr>
            <p:nvPr/>
          </p:nvPicPr>
          <p:blipFill>
            <a:blip r:embed="rId22"/>
            <a:stretch>
              <a:fillRect/>
            </a:stretch>
          </p:blipFill>
          <p:spPr>
            <a:xfrm>
              <a:off x="4778412" y="3654756"/>
              <a:ext cx="1085850" cy="1200150"/>
            </a:xfrm>
            <a:prstGeom prst="rect">
              <a:avLst/>
            </a:prstGeom>
          </p:spPr>
        </p:pic>
        <p:sp>
          <p:nvSpPr>
            <p:cNvPr id="154" name="Rectangle 153"/>
            <p:cNvSpPr/>
            <p:nvPr/>
          </p:nvSpPr>
          <p:spPr>
            <a:xfrm>
              <a:off x="5565775" y="4721556"/>
              <a:ext cx="298487" cy="13335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/>
            </a:p>
          </p:txBody>
        </p:sp>
      </p:grpSp>
      <p:grpSp>
        <p:nvGrpSpPr>
          <p:cNvPr id="158" name="Group 157"/>
          <p:cNvGrpSpPr/>
          <p:nvPr/>
        </p:nvGrpSpPr>
        <p:grpSpPr>
          <a:xfrm>
            <a:off x="6305659" y="3642926"/>
            <a:ext cx="1028700" cy="1171575"/>
            <a:chOff x="6305659" y="3718289"/>
            <a:chExt cx="1028700" cy="1171575"/>
          </a:xfrm>
        </p:grpSpPr>
        <p:pic>
          <p:nvPicPr>
            <p:cNvPr id="156" name="Picture 155"/>
            <p:cNvPicPr>
              <a:picLocks noChangeAspect="1"/>
            </p:cNvPicPr>
            <p:nvPr/>
          </p:nvPicPr>
          <p:blipFill>
            <a:blip r:embed="rId23"/>
            <a:stretch>
              <a:fillRect/>
            </a:stretch>
          </p:blipFill>
          <p:spPr>
            <a:xfrm>
              <a:off x="6305659" y="3718289"/>
              <a:ext cx="1028700" cy="1171575"/>
            </a:xfrm>
            <a:prstGeom prst="rect">
              <a:avLst/>
            </a:prstGeom>
          </p:spPr>
        </p:pic>
        <p:sp>
          <p:nvSpPr>
            <p:cNvPr id="157" name="Rectangle 156"/>
            <p:cNvSpPr/>
            <p:nvPr/>
          </p:nvSpPr>
          <p:spPr>
            <a:xfrm>
              <a:off x="7035872" y="4756514"/>
              <a:ext cx="298487" cy="13335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/>
            </a:p>
          </p:txBody>
        </p:sp>
      </p:grpSp>
      <p:pic>
        <p:nvPicPr>
          <p:cNvPr id="159" name="Picture 158"/>
          <p:cNvPicPr>
            <a:picLocks noChangeAspect="1"/>
          </p:cNvPicPr>
          <p:nvPr/>
        </p:nvPicPr>
        <p:blipFill rotWithShape="1">
          <a:blip r:embed="rId24"/>
          <a:srcRect r="1655"/>
          <a:stretch/>
        </p:blipFill>
        <p:spPr>
          <a:xfrm>
            <a:off x="7884677" y="3642926"/>
            <a:ext cx="1011673" cy="1190625"/>
          </a:xfrm>
          <a:prstGeom prst="rect">
            <a:avLst/>
          </a:prstGeom>
        </p:spPr>
      </p:pic>
      <p:grpSp>
        <p:nvGrpSpPr>
          <p:cNvPr id="173" name="Group 172"/>
          <p:cNvGrpSpPr/>
          <p:nvPr/>
        </p:nvGrpSpPr>
        <p:grpSpPr>
          <a:xfrm>
            <a:off x="209153" y="452051"/>
            <a:ext cx="1279760" cy="1257300"/>
            <a:chOff x="209153" y="452051"/>
            <a:chExt cx="1279760" cy="1257300"/>
          </a:xfrm>
        </p:grpSpPr>
        <p:pic>
          <p:nvPicPr>
            <p:cNvPr id="114" name="Picture 113"/>
            <p:cNvPicPr>
              <a:picLocks noChangeAspect="1"/>
            </p:cNvPicPr>
            <p:nvPr/>
          </p:nvPicPr>
          <p:blipFill rotWithShape="1">
            <a:blip r:embed="rId25"/>
            <a:srcRect r="2020"/>
            <a:stretch/>
          </p:blipFill>
          <p:spPr>
            <a:xfrm>
              <a:off x="209153" y="452051"/>
              <a:ext cx="1232334" cy="1257300"/>
            </a:xfrm>
            <a:prstGeom prst="rect">
              <a:avLst/>
            </a:prstGeom>
          </p:spPr>
        </p:pic>
        <p:sp>
          <p:nvSpPr>
            <p:cNvPr id="116" name="Rectangle 115"/>
            <p:cNvSpPr/>
            <p:nvPr/>
          </p:nvSpPr>
          <p:spPr>
            <a:xfrm>
              <a:off x="1190426" y="1576001"/>
              <a:ext cx="298487" cy="13335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/>
            </a:p>
          </p:txBody>
        </p:sp>
      </p:grpSp>
      <p:grpSp>
        <p:nvGrpSpPr>
          <p:cNvPr id="163" name="Group 162"/>
          <p:cNvGrpSpPr/>
          <p:nvPr/>
        </p:nvGrpSpPr>
        <p:grpSpPr>
          <a:xfrm>
            <a:off x="3217827" y="2041525"/>
            <a:ext cx="1209675" cy="1200150"/>
            <a:chOff x="3217827" y="2041525"/>
            <a:chExt cx="1209675" cy="1200150"/>
          </a:xfrm>
        </p:grpSpPr>
        <p:pic>
          <p:nvPicPr>
            <p:cNvPr id="160" name="Picture 159"/>
            <p:cNvPicPr>
              <a:picLocks noChangeAspect="1"/>
            </p:cNvPicPr>
            <p:nvPr/>
          </p:nvPicPr>
          <p:blipFill>
            <a:blip r:embed="rId26"/>
            <a:stretch>
              <a:fillRect/>
            </a:stretch>
          </p:blipFill>
          <p:spPr>
            <a:xfrm>
              <a:off x="3217827" y="2041525"/>
              <a:ext cx="1209675" cy="1200150"/>
            </a:xfrm>
            <a:prstGeom prst="rect">
              <a:avLst/>
            </a:prstGeom>
          </p:spPr>
        </p:pic>
        <p:sp>
          <p:nvSpPr>
            <p:cNvPr id="162" name="Rectangle 161"/>
            <p:cNvSpPr/>
            <p:nvPr/>
          </p:nvSpPr>
          <p:spPr>
            <a:xfrm>
              <a:off x="4198144" y="3138101"/>
              <a:ext cx="229358" cy="103574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/>
            </a:p>
          </p:txBody>
        </p:sp>
      </p:grpSp>
      <p:grpSp>
        <p:nvGrpSpPr>
          <p:cNvPr id="166" name="Group 165"/>
          <p:cNvGrpSpPr/>
          <p:nvPr/>
        </p:nvGrpSpPr>
        <p:grpSpPr>
          <a:xfrm>
            <a:off x="4712494" y="2041525"/>
            <a:ext cx="1208882" cy="1209675"/>
            <a:chOff x="4712494" y="2041525"/>
            <a:chExt cx="1208882" cy="1209675"/>
          </a:xfrm>
        </p:grpSpPr>
        <p:pic>
          <p:nvPicPr>
            <p:cNvPr id="164" name="Picture 163"/>
            <p:cNvPicPr>
              <a:picLocks noChangeAspect="1"/>
            </p:cNvPicPr>
            <p:nvPr/>
          </p:nvPicPr>
          <p:blipFill rotWithShape="1">
            <a:blip r:embed="rId27"/>
            <a:srcRect l="1575" r="2275"/>
            <a:stretch/>
          </p:blipFill>
          <p:spPr>
            <a:xfrm>
              <a:off x="4712494" y="2041525"/>
              <a:ext cx="1208882" cy="1209675"/>
            </a:xfrm>
            <a:prstGeom prst="rect">
              <a:avLst/>
            </a:prstGeom>
          </p:spPr>
        </p:pic>
        <p:sp>
          <p:nvSpPr>
            <p:cNvPr id="165" name="Rectangle 164"/>
            <p:cNvSpPr/>
            <p:nvPr/>
          </p:nvSpPr>
          <p:spPr>
            <a:xfrm>
              <a:off x="5622889" y="3117850"/>
              <a:ext cx="298487" cy="13335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/>
            </a:p>
          </p:txBody>
        </p:sp>
      </p:grpSp>
      <p:grpSp>
        <p:nvGrpSpPr>
          <p:cNvPr id="169" name="Group 168"/>
          <p:cNvGrpSpPr/>
          <p:nvPr/>
        </p:nvGrpSpPr>
        <p:grpSpPr>
          <a:xfrm>
            <a:off x="6226969" y="2041525"/>
            <a:ext cx="1207403" cy="1209675"/>
            <a:chOff x="6226969" y="2041525"/>
            <a:chExt cx="1207403" cy="1209675"/>
          </a:xfrm>
        </p:grpSpPr>
        <p:pic>
          <p:nvPicPr>
            <p:cNvPr id="167" name="Picture 166"/>
            <p:cNvPicPr>
              <a:picLocks noChangeAspect="1"/>
            </p:cNvPicPr>
            <p:nvPr/>
          </p:nvPicPr>
          <p:blipFill rotWithShape="1">
            <a:blip r:embed="rId28"/>
            <a:srcRect l="1735"/>
            <a:stretch/>
          </p:blipFill>
          <p:spPr>
            <a:xfrm>
              <a:off x="6226969" y="2041525"/>
              <a:ext cx="1207403" cy="1209675"/>
            </a:xfrm>
            <a:prstGeom prst="rect">
              <a:avLst/>
            </a:prstGeom>
          </p:spPr>
        </p:pic>
        <p:sp>
          <p:nvSpPr>
            <p:cNvPr id="168" name="Rectangle 167"/>
            <p:cNvSpPr/>
            <p:nvPr/>
          </p:nvSpPr>
          <p:spPr>
            <a:xfrm>
              <a:off x="7239000" y="3169852"/>
              <a:ext cx="195372" cy="8134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/>
            </a:p>
          </p:txBody>
        </p:sp>
      </p:grpSp>
      <p:grpSp>
        <p:nvGrpSpPr>
          <p:cNvPr id="170" name="Group 169"/>
          <p:cNvGrpSpPr/>
          <p:nvPr/>
        </p:nvGrpSpPr>
        <p:grpSpPr>
          <a:xfrm>
            <a:off x="7714979" y="2041525"/>
            <a:ext cx="1207403" cy="1209675"/>
            <a:chOff x="6226969" y="2041525"/>
            <a:chExt cx="1207403" cy="1209675"/>
          </a:xfrm>
        </p:grpSpPr>
        <p:pic>
          <p:nvPicPr>
            <p:cNvPr id="171" name="Picture 170"/>
            <p:cNvPicPr>
              <a:picLocks noChangeAspect="1"/>
            </p:cNvPicPr>
            <p:nvPr/>
          </p:nvPicPr>
          <p:blipFill rotWithShape="1">
            <a:blip r:embed="rId28"/>
            <a:srcRect l="1735"/>
            <a:stretch/>
          </p:blipFill>
          <p:spPr>
            <a:xfrm>
              <a:off x="6226969" y="2041525"/>
              <a:ext cx="1207403" cy="1209675"/>
            </a:xfrm>
            <a:prstGeom prst="rect">
              <a:avLst/>
            </a:prstGeom>
          </p:spPr>
        </p:pic>
        <p:sp>
          <p:nvSpPr>
            <p:cNvPr id="172" name="Rectangle 171"/>
            <p:cNvSpPr/>
            <p:nvPr/>
          </p:nvSpPr>
          <p:spPr>
            <a:xfrm>
              <a:off x="7239000" y="3169852"/>
              <a:ext cx="195372" cy="8134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/>
            </a:p>
          </p:txBody>
        </p:sp>
      </p:grpSp>
      <p:sp>
        <p:nvSpPr>
          <p:cNvPr id="174" name="Rectangle 173"/>
          <p:cNvSpPr/>
          <p:nvPr/>
        </p:nvSpPr>
        <p:spPr>
          <a:xfrm>
            <a:off x="4588234" y="381000"/>
            <a:ext cx="1469046" cy="6324600"/>
          </a:xfrm>
          <a:prstGeom prst="rect">
            <a:avLst/>
          </a:prstGeom>
          <a:noFill/>
          <a:ln w="76200">
            <a:solidFill>
              <a:srgbClr val="F6954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</p:spTree>
    <p:extLst>
      <p:ext uri="{BB962C8B-B14F-4D97-AF65-F5344CB8AC3E}">
        <p14:creationId xmlns:p14="http://schemas.microsoft.com/office/powerpoint/2010/main" val="2060739626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3" name="object 10"/>
          <p:cNvSpPr txBox="1"/>
          <p:nvPr/>
        </p:nvSpPr>
        <p:spPr>
          <a:xfrm>
            <a:off x="2101916" y="369650"/>
            <a:ext cx="6296519" cy="4318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3400"/>
              </a:lnSpc>
              <a:spcBef>
                <a:spcPts val="170"/>
              </a:spcBef>
            </a:pPr>
            <a:r>
              <a:rPr lang="en-US" sz="4800" baseline="1706" dirty="0">
                <a:solidFill>
                  <a:srgbClr val="4E81BC"/>
                </a:solidFill>
                <a:latin typeface="+mj-lt"/>
                <a:cs typeface="Calibri"/>
              </a:rPr>
              <a:t>Agglomerative </a:t>
            </a:r>
            <a:r>
              <a:rPr sz="4800" spc="0" baseline="1706" dirty="0" smtClean="0">
                <a:solidFill>
                  <a:srgbClr val="4E81BC"/>
                </a:solidFill>
                <a:latin typeface="+mj-lt"/>
                <a:cs typeface="Calibri"/>
              </a:rPr>
              <a:t>Hierarchical Clustering</a:t>
            </a:r>
            <a:endParaRPr sz="3200" dirty="0">
              <a:latin typeface="+mj-lt"/>
              <a:cs typeface="Calibri"/>
            </a:endParaRPr>
          </a:p>
        </p:txBody>
      </p:sp>
      <p:sp>
        <p:nvSpPr>
          <p:cNvPr id="84" name="object 11"/>
          <p:cNvSpPr txBox="1"/>
          <p:nvPr/>
        </p:nvSpPr>
        <p:spPr>
          <a:xfrm>
            <a:off x="2101916" y="852250"/>
            <a:ext cx="6584884" cy="4318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>
            <a:defPPr>
              <a:defRPr lang="en-US"/>
            </a:defPPr>
            <a:lvl1pPr marL="12700">
              <a:lnSpc>
                <a:spcPts val="3400"/>
              </a:lnSpc>
              <a:spcBef>
                <a:spcPts val="170"/>
              </a:spcBef>
              <a:defRPr sz="4800" spc="0" baseline="1706">
                <a:solidFill>
                  <a:srgbClr val="7F7E7E"/>
                </a:solidFill>
                <a:latin typeface="Calibri"/>
                <a:cs typeface="Calibri"/>
              </a:defRPr>
            </a:lvl1pPr>
          </a:lstStyle>
          <a:p>
            <a:r>
              <a:rPr lang="en-US" dirty="0">
                <a:latin typeface="+mj-lt"/>
              </a:rPr>
              <a:t>If closest </a:t>
            </a:r>
            <a:r>
              <a:rPr lang="en-US" dirty="0" smtClean="0">
                <a:latin typeface="+mj-lt"/>
              </a:rPr>
              <a:t>pair are clusters, same: merge</a:t>
            </a:r>
            <a:endParaRPr dirty="0">
              <a:latin typeface="+mj-lt"/>
            </a:endParaRPr>
          </a:p>
        </p:txBody>
      </p:sp>
      <p:sp>
        <p:nvSpPr>
          <p:cNvPr id="85" name="object 82"/>
          <p:cNvSpPr/>
          <p:nvPr/>
        </p:nvSpPr>
        <p:spPr>
          <a:xfrm>
            <a:off x="4414372" y="54871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6" name="object 84"/>
          <p:cNvSpPr/>
          <p:nvPr/>
        </p:nvSpPr>
        <p:spPr>
          <a:xfrm>
            <a:off x="5399747" y="55212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367DF9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7" name="object 86"/>
          <p:cNvSpPr/>
          <p:nvPr/>
        </p:nvSpPr>
        <p:spPr>
          <a:xfrm>
            <a:off x="6251551" y="55023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8" name="object 74"/>
          <p:cNvSpPr/>
          <p:nvPr/>
        </p:nvSpPr>
        <p:spPr>
          <a:xfrm>
            <a:off x="2668469" y="519520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9" name="object 72"/>
          <p:cNvSpPr/>
          <p:nvPr/>
        </p:nvSpPr>
        <p:spPr>
          <a:xfrm>
            <a:off x="5959366" y="251737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40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80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0" name="object 70"/>
          <p:cNvSpPr/>
          <p:nvPr/>
        </p:nvSpPr>
        <p:spPr>
          <a:xfrm>
            <a:off x="5560113" y="213564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1" name="object 68"/>
          <p:cNvSpPr/>
          <p:nvPr/>
        </p:nvSpPr>
        <p:spPr>
          <a:xfrm>
            <a:off x="5148028" y="1723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2" name="object 66"/>
          <p:cNvSpPr/>
          <p:nvPr/>
        </p:nvSpPr>
        <p:spPr>
          <a:xfrm>
            <a:off x="6872003" y="34121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6094C9"/>
          </a:solidFill>
          <a:ln w="28575">
            <a:solidFill>
              <a:srgbClr val="46719B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3" name="object 63"/>
          <p:cNvSpPr/>
          <p:nvPr/>
        </p:nvSpPr>
        <p:spPr>
          <a:xfrm>
            <a:off x="5880842" y="502152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6"/>
                </a:lnTo>
                <a:lnTo>
                  <a:pt x="1583" y="198179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6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2"/>
                </a:lnTo>
                <a:lnTo>
                  <a:pt x="49876" y="299561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6"/>
                </a:lnTo>
                <a:lnTo>
                  <a:pt x="196530" y="342926"/>
                </a:lnTo>
                <a:lnTo>
                  <a:pt x="209650" y="339004"/>
                </a:lnTo>
                <a:lnTo>
                  <a:pt x="222295" y="333936"/>
                </a:lnTo>
                <a:lnTo>
                  <a:pt x="234413" y="327778"/>
                </a:lnTo>
                <a:lnTo>
                  <a:pt x="245953" y="320583"/>
                </a:lnTo>
                <a:lnTo>
                  <a:pt x="256864" y="312409"/>
                </a:lnTo>
                <a:lnTo>
                  <a:pt x="267095" y="303311"/>
                </a:lnTo>
                <a:lnTo>
                  <a:pt x="276595" y="293343"/>
                </a:lnTo>
                <a:lnTo>
                  <a:pt x="285312" y="282562"/>
                </a:lnTo>
                <a:lnTo>
                  <a:pt x="293195" y="271023"/>
                </a:lnTo>
                <a:lnTo>
                  <a:pt x="300193" y="258781"/>
                </a:lnTo>
                <a:lnTo>
                  <a:pt x="306255" y="245892"/>
                </a:lnTo>
                <a:lnTo>
                  <a:pt x="311330" y="232411"/>
                </a:lnTo>
                <a:lnTo>
                  <a:pt x="315366" y="218394"/>
                </a:lnTo>
                <a:lnTo>
                  <a:pt x="318312" y="203896"/>
                </a:lnTo>
                <a:lnTo>
                  <a:pt x="320117" y="188973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9" y="93485"/>
                </a:lnTo>
                <a:lnTo>
                  <a:pt x="296006" y="80986"/>
                </a:lnTo>
                <a:lnTo>
                  <a:pt x="288459" y="69169"/>
                </a:lnTo>
                <a:lnTo>
                  <a:pt x="280058" y="58089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4"/>
                </a:lnTo>
                <a:lnTo>
                  <a:pt x="86318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49B9CF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4" name="object 62"/>
          <p:cNvSpPr/>
          <p:nvPr/>
        </p:nvSpPr>
        <p:spPr>
          <a:xfrm>
            <a:off x="4326962" y="34938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5" name="object 60"/>
          <p:cNvSpPr/>
          <p:nvPr/>
        </p:nvSpPr>
        <p:spPr>
          <a:xfrm>
            <a:off x="3451263" y="457102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6" name="object 58"/>
          <p:cNvSpPr/>
          <p:nvPr/>
        </p:nvSpPr>
        <p:spPr>
          <a:xfrm>
            <a:off x="7513462" y="204543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4BAF39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7" name="object 56"/>
          <p:cNvSpPr/>
          <p:nvPr/>
        </p:nvSpPr>
        <p:spPr>
          <a:xfrm>
            <a:off x="6553321" y="196196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8" name="object 54"/>
          <p:cNvSpPr/>
          <p:nvPr/>
        </p:nvSpPr>
        <p:spPr>
          <a:xfrm>
            <a:off x="7353097" y="275391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9" name="object 52"/>
          <p:cNvSpPr/>
          <p:nvPr/>
        </p:nvSpPr>
        <p:spPr>
          <a:xfrm>
            <a:off x="4696124" y="412086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F04C4D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0" name="object 50"/>
          <p:cNvSpPr/>
          <p:nvPr/>
        </p:nvSpPr>
        <p:spPr>
          <a:xfrm>
            <a:off x="4441297" y="46123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F04C4D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1" name="object 48"/>
          <p:cNvSpPr/>
          <p:nvPr/>
        </p:nvSpPr>
        <p:spPr>
          <a:xfrm>
            <a:off x="3130532" y="40499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2" name="object 42"/>
          <p:cNvSpPr/>
          <p:nvPr/>
        </p:nvSpPr>
        <p:spPr>
          <a:xfrm>
            <a:off x="5748103" y="33118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3" name="object 44"/>
          <p:cNvSpPr/>
          <p:nvPr/>
        </p:nvSpPr>
        <p:spPr>
          <a:xfrm>
            <a:off x="5560113" y="25802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4" name="object 46"/>
          <p:cNvSpPr/>
          <p:nvPr/>
        </p:nvSpPr>
        <p:spPr>
          <a:xfrm>
            <a:off x="5421508" y="296447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5" name="object 40"/>
          <p:cNvSpPr/>
          <p:nvPr/>
        </p:nvSpPr>
        <p:spPr>
          <a:xfrm>
            <a:off x="5213120" y="49216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367DF9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6" name="object 38"/>
          <p:cNvSpPr/>
          <p:nvPr/>
        </p:nvSpPr>
        <p:spPr>
          <a:xfrm>
            <a:off x="7032365" y="221911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7" name="object 36"/>
          <p:cNvSpPr/>
          <p:nvPr/>
        </p:nvSpPr>
        <p:spPr>
          <a:xfrm>
            <a:off x="7385165" y="340218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6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7"/>
                </a:lnTo>
                <a:lnTo>
                  <a:pt x="310251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6094C9"/>
          </a:solidFill>
          <a:ln w="28575">
            <a:solidFill>
              <a:srgbClr val="46719B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8" name="object 34"/>
          <p:cNvSpPr/>
          <p:nvPr/>
        </p:nvSpPr>
        <p:spPr>
          <a:xfrm>
            <a:off x="5038354" y="24830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9" name="object 32"/>
          <p:cNvSpPr/>
          <p:nvPr/>
        </p:nvSpPr>
        <p:spPr>
          <a:xfrm>
            <a:off x="7192732" y="159327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4BAF39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0" name="object 30"/>
          <p:cNvSpPr/>
          <p:nvPr/>
        </p:nvSpPr>
        <p:spPr>
          <a:xfrm>
            <a:off x="6201572" y="316997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1" name="object 28"/>
          <p:cNvSpPr/>
          <p:nvPr/>
        </p:nvSpPr>
        <p:spPr>
          <a:xfrm>
            <a:off x="4877989" y="532865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2" name="object 26"/>
          <p:cNvSpPr/>
          <p:nvPr/>
        </p:nvSpPr>
        <p:spPr>
          <a:xfrm>
            <a:off x="5581873" y="4521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49B9CF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3" name="object 24"/>
          <p:cNvSpPr/>
          <p:nvPr/>
        </p:nvSpPr>
        <p:spPr>
          <a:xfrm>
            <a:off x="3528670" y="35173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4" name="object 22"/>
          <p:cNvSpPr/>
          <p:nvPr/>
        </p:nvSpPr>
        <p:spPr>
          <a:xfrm>
            <a:off x="3252845" y="520650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5" name="object 20"/>
          <p:cNvSpPr/>
          <p:nvPr/>
        </p:nvSpPr>
        <p:spPr>
          <a:xfrm>
            <a:off x="3849401" y="4051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6" name="object 18"/>
          <p:cNvSpPr/>
          <p:nvPr/>
        </p:nvSpPr>
        <p:spPr>
          <a:xfrm>
            <a:off x="6713687" y="269105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7" name="object 6"/>
          <p:cNvSpPr txBox="1"/>
          <p:nvPr/>
        </p:nvSpPr>
        <p:spPr>
          <a:xfrm>
            <a:off x="1332125" y="3759280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sp>
        <p:nvSpPr>
          <p:cNvPr id="118" name="object 5"/>
          <p:cNvSpPr txBox="1"/>
          <p:nvPr/>
        </p:nvSpPr>
        <p:spPr>
          <a:xfrm>
            <a:off x="5426815" y="6116930"/>
            <a:ext cx="542241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Age</a:t>
            </a:r>
            <a:endParaRPr sz="2400">
              <a:cs typeface="Calibri"/>
            </a:endParaRPr>
          </a:p>
        </p:txBody>
      </p:sp>
      <p:grpSp>
        <p:nvGrpSpPr>
          <p:cNvPr id="119" name="Group 118"/>
          <p:cNvGrpSpPr/>
          <p:nvPr/>
        </p:nvGrpSpPr>
        <p:grpSpPr>
          <a:xfrm>
            <a:off x="2383438" y="1888930"/>
            <a:ext cx="6303362" cy="4054670"/>
            <a:chOff x="2343901" y="1923700"/>
            <a:chExt cx="6303362" cy="4054670"/>
          </a:xfrm>
        </p:grpSpPr>
        <p:sp>
          <p:nvSpPr>
            <p:cNvPr id="120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121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</p:spTree>
    <p:extLst>
      <p:ext uri="{BB962C8B-B14F-4D97-AF65-F5344CB8AC3E}">
        <p14:creationId xmlns:p14="http://schemas.microsoft.com/office/powerpoint/2010/main" val="56831451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ject 3"/>
          <p:cNvSpPr/>
          <p:nvPr/>
        </p:nvSpPr>
        <p:spPr>
          <a:xfrm>
            <a:off x="1041400" y="3691729"/>
            <a:ext cx="7048498" cy="2167204"/>
          </a:xfrm>
          <a:prstGeom prst="rect">
            <a:avLst/>
          </a:prstGeom>
          <a:blipFill>
            <a:blip r:embed="rId2" cstate="print"/>
            <a:srcRect/>
            <a:stretch>
              <a:fillRect b="-39470"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2" name="object 2"/>
          <p:cNvSpPr txBox="1"/>
          <p:nvPr/>
        </p:nvSpPr>
        <p:spPr>
          <a:xfrm>
            <a:off x="940428" y="1519895"/>
            <a:ext cx="7593972" cy="1826034"/>
          </a:xfrm>
          <a:prstGeom prst="rect">
            <a:avLst/>
          </a:prstGeom>
        </p:spPr>
        <p:txBody>
          <a:bodyPr wrap="square" lIns="0" tIns="0" rIns="0" bIns="0" rtlCol="0" anchor="b" anchorCtr="0">
            <a:spAutoFit/>
          </a:bodyPr>
          <a:lstStyle/>
          <a:p>
            <a:pPr algn="ctr">
              <a:lnSpc>
                <a:spcPts val="4715"/>
              </a:lnSpc>
            </a:pPr>
            <a:r>
              <a:rPr lang="en-US" sz="6600" baseline="3103" dirty="0" smtClean="0">
                <a:solidFill>
                  <a:srgbClr val="F69545"/>
                </a:solidFill>
                <a:cs typeface="Calibri"/>
              </a:rPr>
              <a:t>What </a:t>
            </a:r>
            <a:r>
              <a:rPr lang="en-US" sz="6600" baseline="3103" dirty="0">
                <a:solidFill>
                  <a:srgbClr val="F69545"/>
                </a:solidFill>
                <a:cs typeface="Calibri"/>
              </a:rPr>
              <a:t>does clustering</a:t>
            </a:r>
          </a:p>
          <a:p>
            <a:pPr algn="ctr">
              <a:lnSpc>
                <a:spcPts val="4715"/>
              </a:lnSpc>
            </a:pPr>
            <a:r>
              <a:rPr lang="en-US" sz="6600" baseline="3103" dirty="0">
                <a:solidFill>
                  <a:srgbClr val="F69545"/>
                </a:solidFill>
                <a:cs typeface="Calibri"/>
              </a:rPr>
              <a:t>with cosine distance</a:t>
            </a:r>
          </a:p>
          <a:p>
            <a:pPr algn="ctr">
              <a:lnSpc>
                <a:spcPts val="4715"/>
              </a:lnSpc>
            </a:pPr>
            <a:r>
              <a:rPr lang="en-US" sz="6600" baseline="3103" dirty="0">
                <a:solidFill>
                  <a:srgbClr val="F69545"/>
                </a:solidFill>
                <a:cs typeface="Calibri"/>
              </a:rPr>
              <a:t>look like?</a:t>
            </a:r>
          </a:p>
        </p:txBody>
      </p:sp>
    </p:spTree>
    <p:extLst>
      <p:ext uri="{BB962C8B-B14F-4D97-AF65-F5344CB8AC3E}">
        <p14:creationId xmlns:p14="http://schemas.microsoft.com/office/powerpoint/2010/main" val="3175088709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3" name="object 5"/>
          <p:cNvSpPr txBox="1"/>
          <p:nvPr/>
        </p:nvSpPr>
        <p:spPr>
          <a:xfrm>
            <a:off x="2101916" y="369650"/>
            <a:ext cx="6889684" cy="807913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 marR="41909">
              <a:lnSpc>
                <a:spcPts val="3454"/>
              </a:lnSpc>
              <a:spcBef>
                <a:spcPts val="172"/>
              </a:spcBef>
            </a:pPr>
            <a:r>
              <a:rPr lang="en-US" sz="4800" baseline="2560" dirty="0">
                <a:solidFill>
                  <a:srgbClr val="4E81BC"/>
                </a:solidFill>
                <a:latin typeface="+mj-lt"/>
                <a:cs typeface="Calibri"/>
              </a:rPr>
              <a:t>DBSCAN</a:t>
            </a:r>
          </a:p>
          <a:p>
            <a:pPr marL="12700">
              <a:lnSpc>
                <a:spcPts val="2770"/>
              </a:lnSpc>
            </a:pPr>
            <a:r>
              <a:rPr lang="en-US" sz="3200" baseline="1137" dirty="0" smtClean="0">
                <a:solidFill>
                  <a:srgbClr val="7F7E7E"/>
                </a:solidFill>
                <a:cs typeface="Calibri"/>
              </a:rPr>
              <a:t>With cosine distance</a:t>
            </a:r>
            <a:r>
              <a:rPr lang="en-US" sz="3200" dirty="0" smtClean="0">
                <a:solidFill>
                  <a:srgbClr val="7F7E7E"/>
                </a:solidFill>
                <a:cs typeface="Calibri"/>
              </a:rPr>
              <a:t> </a:t>
            </a:r>
            <a:endParaRPr lang="en-US" sz="3200" baseline="1137" dirty="0">
              <a:solidFill>
                <a:srgbClr val="7F7E7E"/>
              </a:solidFill>
              <a:cs typeface="Calibri"/>
            </a:endParaRPr>
          </a:p>
        </p:txBody>
      </p:sp>
      <p:sp>
        <p:nvSpPr>
          <p:cNvPr id="84" name="object 3"/>
          <p:cNvSpPr txBox="1"/>
          <p:nvPr/>
        </p:nvSpPr>
        <p:spPr>
          <a:xfrm>
            <a:off x="5144320" y="6116930"/>
            <a:ext cx="110723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 algn="ctr">
              <a:lnSpc>
                <a:spcPts val="2600"/>
              </a:lnSpc>
              <a:spcBef>
                <a:spcPts val="130"/>
              </a:spcBef>
            </a:pPr>
            <a:r>
              <a:rPr lang="en-US" sz="3600" spc="0" baseline="2275" dirty="0" smtClean="0">
                <a:solidFill>
                  <a:srgbClr val="7F7E7E"/>
                </a:solidFill>
                <a:latin typeface="Calibri"/>
                <a:cs typeface="Calibri"/>
              </a:rPr>
              <a:t>Word 2 </a:t>
            </a:r>
            <a:endParaRPr sz="2400" dirty="0">
              <a:latin typeface="Calibri"/>
              <a:cs typeface="Calibri"/>
            </a:endParaRPr>
          </a:p>
        </p:txBody>
      </p:sp>
      <p:sp>
        <p:nvSpPr>
          <p:cNvPr id="85" name="object 82"/>
          <p:cNvSpPr/>
          <p:nvPr/>
        </p:nvSpPr>
        <p:spPr>
          <a:xfrm>
            <a:off x="4414372" y="54871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6" name="object 84"/>
          <p:cNvSpPr/>
          <p:nvPr/>
        </p:nvSpPr>
        <p:spPr>
          <a:xfrm>
            <a:off x="5399747" y="55212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7" name="object 86"/>
          <p:cNvSpPr/>
          <p:nvPr/>
        </p:nvSpPr>
        <p:spPr>
          <a:xfrm>
            <a:off x="6251551" y="55023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8" name="object 74"/>
          <p:cNvSpPr/>
          <p:nvPr/>
        </p:nvSpPr>
        <p:spPr>
          <a:xfrm>
            <a:off x="2668469" y="519520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9" name="object 72"/>
          <p:cNvSpPr/>
          <p:nvPr/>
        </p:nvSpPr>
        <p:spPr>
          <a:xfrm>
            <a:off x="5959366" y="251737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40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80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0" name="object 70"/>
          <p:cNvSpPr/>
          <p:nvPr/>
        </p:nvSpPr>
        <p:spPr>
          <a:xfrm>
            <a:off x="5560113" y="213564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1" name="object 68"/>
          <p:cNvSpPr/>
          <p:nvPr/>
        </p:nvSpPr>
        <p:spPr>
          <a:xfrm>
            <a:off x="5148028" y="1723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2" name="object 66"/>
          <p:cNvSpPr/>
          <p:nvPr/>
        </p:nvSpPr>
        <p:spPr>
          <a:xfrm>
            <a:off x="6872003" y="34121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3" name="object 63"/>
          <p:cNvSpPr/>
          <p:nvPr/>
        </p:nvSpPr>
        <p:spPr>
          <a:xfrm>
            <a:off x="5880842" y="502152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6"/>
                </a:lnTo>
                <a:lnTo>
                  <a:pt x="1583" y="198179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6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2"/>
                </a:lnTo>
                <a:lnTo>
                  <a:pt x="49876" y="299561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6"/>
                </a:lnTo>
                <a:lnTo>
                  <a:pt x="196530" y="342926"/>
                </a:lnTo>
                <a:lnTo>
                  <a:pt x="209650" y="339004"/>
                </a:lnTo>
                <a:lnTo>
                  <a:pt x="222295" y="333936"/>
                </a:lnTo>
                <a:lnTo>
                  <a:pt x="234413" y="327778"/>
                </a:lnTo>
                <a:lnTo>
                  <a:pt x="245953" y="320583"/>
                </a:lnTo>
                <a:lnTo>
                  <a:pt x="256864" y="312409"/>
                </a:lnTo>
                <a:lnTo>
                  <a:pt x="267095" y="303311"/>
                </a:lnTo>
                <a:lnTo>
                  <a:pt x="276595" y="293343"/>
                </a:lnTo>
                <a:lnTo>
                  <a:pt x="285312" y="282562"/>
                </a:lnTo>
                <a:lnTo>
                  <a:pt x="293195" y="271023"/>
                </a:lnTo>
                <a:lnTo>
                  <a:pt x="300193" y="258781"/>
                </a:lnTo>
                <a:lnTo>
                  <a:pt x="306255" y="245892"/>
                </a:lnTo>
                <a:lnTo>
                  <a:pt x="311330" y="232411"/>
                </a:lnTo>
                <a:lnTo>
                  <a:pt x="315366" y="218394"/>
                </a:lnTo>
                <a:lnTo>
                  <a:pt x="318312" y="203896"/>
                </a:lnTo>
                <a:lnTo>
                  <a:pt x="320117" y="188973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9" y="93485"/>
                </a:lnTo>
                <a:lnTo>
                  <a:pt x="296006" y="80986"/>
                </a:lnTo>
                <a:lnTo>
                  <a:pt x="288459" y="69169"/>
                </a:lnTo>
                <a:lnTo>
                  <a:pt x="280058" y="58089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4"/>
                </a:lnTo>
                <a:lnTo>
                  <a:pt x="86318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4" name="object 62"/>
          <p:cNvSpPr/>
          <p:nvPr/>
        </p:nvSpPr>
        <p:spPr>
          <a:xfrm>
            <a:off x="4326962" y="34938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5" name="object 60"/>
          <p:cNvSpPr/>
          <p:nvPr/>
        </p:nvSpPr>
        <p:spPr>
          <a:xfrm>
            <a:off x="3451263" y="457102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6" name="object 58"/>
          <p:cNvSpPr/>
          <p:nvPr/>
        </p:nvSpPr>
        <p:spPr>
          <a:xfrm>
            <a:off x="7513462" y="204543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7" name="object 56"/>
          <p:cNvSpPr/>
          <p:nvPr/>
        </p:nvSpPr>
        <p:spPr>
          <a:xfrm>
            <a:off x="6553321" y="196196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8" name="object 54"/>
          <p:cNvSpPr/>
          <p:nvPr/>
        </p:nvSpPr>
        <p:spPr>
          <a:xfrm>
            <a:off x="7353097" y="275391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9" name="object 52"/>
          <p:cNvSpPr/>
          <p:nvPr/>
        </p:nvSpPr>
        <p:spPr>
          <a:xfrm>
            <a:off x="4696124" y="412086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0" name="object 50"/>
          <p:cNvSpPr/>
          <p:nvPr/>
        </p:nvSpPr>
        <p:spPr>
          <a:xfrm>
            <a:off x="4441297" y="46123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1" name="object 48"/>
          <p:cNvSpPr/>
          <p:nvPr/>
        </p:nvSpPr>
        <p:spPr>
          <a:xfrm>
            <a:off x="3130532" y="40499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2" name="object 42"/>
          <p:cNvSpPr/>
          <p:nvPr/>
        </p:nvSpPr>
        <p:spPr>
          <a:xfrm>
            <a:off x="5748103" y="33118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3" name="object 44"/>
          <p:cNvSpPr/>
          <p:nvPr/>
        </p:nvSpPr>
        <p:spPr>
          <a:xfrm>
            <a:off x="5560113" y="25802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4" name="object 46"/>
          <p:cNvSpPr/>
          <p:nvPr/>
        </p:nvSpPr>
        <p:spPr>
          <a:xfrm>
            <a:off x="5421508" y="296447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5" name="object 40"/>
          <p:cNvSpPr/>
          <p:nvPr/>
        </p:nvSpPr>
        <p:spPr>
          <a:xfrm>
            <a:off x="5213120" y="49216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6" name="object 38"/>
          <p:cNvSpPr/>
          <p:nvPr/>
        </p:nvSpPr>
        <p:spPr>
          <a:xfrm>
            <a:off x="7032365" y="221911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7" name="object 36"/>
          <p:cNvSpPr/>
          <p:nvPr/>
        </p:nvSpPr>
        <p:spPr>
          <a:xfrm>
            <a:off x="7385165" y="340218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6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7"/>
                </a:lnTo>
                <a:lnTo>
                  <a:pt x="310251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8" name="object 34"/>
          <p:cNvSpPr/>
          <p:nvPr/>
        </p:nvSpPr>
        <p:spPr>
          <a:xfrm>
            <a:off x="5038354" y="24830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9" name="object 32"/>
          <p:cNvSpPr/>
          <p:nvPr/>
        </p:nvSpPr>
        <p:spPr>
          <a:xfrm>
            <a:off x="7192732" y="159327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0" name="object 30"/>
          <p:cNvSpPr/>
          <p:nvPr/>
        </p:nvSpPr>
        <p:spPr>
          <a:xfrm>
            <a:off x="6201572" y="316997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1" name="object 28"/>
          <p:cNvSpPr/>
          <p:nvPr/>
        </p:nvSpPr>
        <p:spPr>
          <a:xfrm>
            <a:off x="4877989" y="532865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2" name="object 26"/>
          <p:cNvSpPr/>
          <p:nvPr/>
        </p:nvSpPr>
        <p:spPr>
          <a:xfrm>
            <a:off x="5581873" y="4521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3" name="object 24"/>
          <p:cNvSpPr/>
          <p:nvPr/>
        </p:nvSpPr>
        <p:spPr>
          <a:xfrm>
            <a:off x="3528670" y="35173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4" name="object 22"/>
          <p:cNvSpPr/>
          <p:nvPr/>
        </p:nvSpPr>
        <p:spPr>
          <a:xfrm>
            <a:off x="3252845" y="520650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5" name="object 20"/>
          <p:cNvSpPr/>
          <p:nvPr/>
        </p:nvSpPr>
        <p:spPr>
          <a:xfrm>
            <a:off x="3849401" y="4051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6" name="object 18"/>
          <p:cNvSpPr/>
          <p:nvPr/>
        </p:nvSpPr>
        <p:spPr>
          <a:xfrm>
            <a:off x="6713687" y="269105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7" name="object 6"/>
          <p:cNvSpPr txBox="1"/>
          <p:nvPr/>
        </p:nvSpPr>
        <p:spPr>
          <a:xfrm>
            <a:off x="1332125" y="3759280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lang="en-US" sz="3600" spc="0" baseline="2275" dirty="0" smtClean="0">
                <a:solidFill>
                  <a:srgbClr val="7F7E7E"/>
                </a:solidFill>
                <a:cs typeface="Calibri"/>
              </a:rPr>
              <a:t>Word 1</a:t>
            </a:r>
            <a:endParaRPr sz="2400" dirty="0">
              <a:cs typeface="Calibri"/>
            </a:endParaRPr>
          </a:p>
        </p:txBody>
      </p:sp>
      <p:grpSp>
        <p:nvGrpSpPr>
          <p:cNvPr id="118" name="Group 117"/>
          <p:cNvGrpSpPr/>
          <p:nvPr/>
        </p:nvGrpSpPr>
        <p:grpSpPr>
          <a:xfrm>
            <a:off x="2383438" y="1888930"/>
            <a:ext cx="6303362" cy="4054670"/>
            <a:chOff x="2343901" y="1923700"/>
            <a:chExt cx="6303362" cy="4054670"/>
          </a:xfrm>
        </p:grpSpPr>
        <p:sp>
          <p:nvSpPr>
            <p:cNvPr id="119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120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</p:spTree>
    <p:extLst>
      <p:ext uri="{BB962C8B-B14F-4D97-AF65-F5344CB8AC3E}">
        <p14:creationId xmlns:p14="http://schemas.microsoft.com/office/powerpoint/2010/main" val="2815493763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" name="object 5"/>
          <p:cNvSpPr txBox="1"/>
          <p:nvPr/>
        </p:nvSpPr>
        <p:spPr>
          <a:xfrm>
            <a:off x="2101916" y="369650"/>
            <a:ext cx="6889684" cy="807913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 marR="41909">
              <a:lnSpc>
                <a:spcPts val="3454"/>
              </a:lnSpc>
              <a:spcBef>
                <a:spcPts val="172"/>
              </a:spcBef>
            </a:pPr>
            <a:r>
              <a:rPr lang="en-US" sz="4800" baseline="2560" dirty="0">
                <a:solidFill>
                  <a:srgbClr val="4E81BC"/>
                </a:solidFill>
                <a:latin typeface="+mj-lt"/>
                <a:cs typeface="Calibri"/>
              </a:rPr>
              <a:t>DBSCAN</a:t>
            </a:r>
          </a:p>
          <a:p>
            <a:pPr marL="12700">
              <a:lnSpc>
                <a:spcPts val="2770"/>
              </a:lnSpc>
            </a:pPr>
            <a:r>
              <a:rPr lang="en-US" sz="3200" baseline="1137" dirty="0" smtClean="0">
                <a:solidFill>
                  <a:srgbClr val="7F7E7E"/>
                </a:solidFill>
                <a:cs typeface="Calibri"/>
              </a:rPr>
              <a:t>With cosine distance</a:t>
            </a:r>
            <a:r>
              <a:rPr lang="en-US" sz="3200" dirty="0" smtClean="0">
                <a:solidFill>
                  <a:srgbClr val="7F7E7E"/>
                </a:solidFill>
                <a:cs typeface="Calibri"/>
              </a:rPr>
              <a:t> </a:t>
            </a:r>
            <a:endParaRPr lang="en-US" sz="3200" baseline="1137" dirty="0">
              <a:solidFill>
                <a:srgbClr val="7F7E7E"/>
              </a:solidFill>
              <a:cs typeface="Calibri"/>
            </a:endParaRPr>
          </a:p>
        </p:txBody>
      </p:sp>
      <p:sp>
        <p:nvSpPr>
          <p:cNvPr id="78" name="object 3"/>
          <p:cNvSpPr txBox="1"/>
          <p:nvPr/>
        </p:nvSpPr>
        <p:spPr>
          <a:xfrm>
            <a:off x="5144320" y="6116930"/>
            <a:ext cx="110723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 algn="ctr">
              <a:lnSpc>
                <a:spcPts val="2600"/>
              </a:lnSpc>
              <a:spcBef>
                <a:spcPts val="130"/>
              </a:spcBef>
            </a:pPr>
            <a:r>
              <a:rPr lang="en-US" sz="3600" spc="0" baseline="2275" dirty="0" smtClean="0">
                <a:solidFill>
                  <a:srgbClr val="7F7E7E"/>
                </a:solidFill>
                <a:latin typeface="Calibri"/>
                <a:cs typeface="Calibri"/>
              </a:rPr>
              <a:t>Word 2 </a:t>
            </a:r>
            <a:endParaRPr sz="2400" dirty="0">
              <a:latin typeface="Calibri"/>
              <a:cs typeface="Calibri"/>
            </a:endParaRPr>
          </a:p>
        </p:txBody>
      </p:sp>
      <p:sp>
        <p:nvSpPr>
          <p:cNvPr id="79" name="object 82"/>
          <p:cNvSpPr/>
          <p:nvPr/>
        </p:nvSpPr>
        <p:spPr>
          <a:xfrm>
            <a:off x="4414372" y="54871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0" name="object 84"/>
          <p:cNvSpPr/>
          <p:nvPr/>
        </p:nvSpPr>
        <p:spPr>
          <a:xfrm>
            <a:off x="5399747" y="55212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1" name="object 86"/>
          <p:cNvSpPr/>
          <p:nvPr/>
        </p:nvSpPr>
        <p:spPr>
          <a:xfrm>
            <a:off x="6251551" y="55023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2" name="object 74"/>
          <p:cNvSpPr/>
          <p:nvPr/>
        </p:nvSpPr>
        <p:spPr>
          <a:xfrm>
            <a:off x="2668469" y="519520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3" name="object 72"/>
          <p:cNvSpPr/>
          <p:nvPr/>
        </p:nvSpPr>
        <p:spPr>
          <a:xfrm>
            <a:off x="5959366" y="251737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40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80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4" name="object 70"/>
          <p:cNvSpPr/>
          <p:nvPr/>
        </p:nvSpPr>
        <p:spPr>
          <a:xfrm>
            <a:off x="5560113" y="213564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5" name="object 68"/>
          <p:cNvSpPr/>
          <p:nvPr/>
        </p:nvSpPr>
        <p:spPr>
          <a:xfrm>
            <a:off x="5148028" y="1723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6" name="object 66"/>
          <p:cNvSpPr/>
          <p:nvPr/>
        </p:nvSpPr>
        <p:spPr>
          <a:xfrm>
            <a:off x="6872003" y="34121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7" name="object 63"/>
          <p:cNvSpPr/>
          <p:nvPr/>
        </p:nvSpPr>
        <p:spPr>
          <a:xfrm>
            <a:off x="5880842" y="502152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6"/>
                </a:lnTo>
                <a:lnTo>
                  <a:pt x="1583" y="198179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6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2"/>
                </a:lnTo>
                <a:lnTo>
                  <a:pt x="49876" y="299561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6"/>
                </a:lnTo>
                <a:lnTo>
                  <a:pt x="196530" y="342926"/>
                </a:lnTo>
                <a:lnTo>
                  <a:pt x="209650" y="339004"/>
                </a:lnTo>
                <a:lnTo>
                  <a:pt x="222295" y="333936"/>
                </a:lnTo>
                <a:lnTo>
                  <a:pt x="234413" y="327778"/>
                </a:lnTo>
                <a:lnTo>
                  <a:pt x="245953" y="320583"/>
                </a:lnTo>
                <a:lnTo>
                  <a:pt x="256864" y="312409"/>
                </a:lnTo>
                <a:lnTo>
                  <a:pt x="267095" y="303311"/>
                </a:lnTo>
                <a:lnTo>
                  <a:pt x="276595" y="293343"/>
                </a:lnTo>
                <a:lnTo>
                  <a:pt x="285312" y="282562"/>
                </a:lnTo>
                <a:lnTo>
                  <a:pt x="293195" y="271023"/>
                </a:lnTo>
                <a:lnTo>
                  <a:pt x="300193" y="258781"/>
                </a:lnTo>
                <a:lnTo>
                  <a:pt x="306255" y="245892"/>
                </a:lnTo>
                <a:lnTo>
                  <a:pt x="311330" y="232411"/>
                </a:lnTo>
                <a:lnTo>
                  <a:pt x="315366" y="218394"/>
                </a:lnTo>
                <a:lnTo>
                  <a:pt x="318312" y="203896"/>
                </a:lnTo>
                <a:lnTo>
                  <a:pt x="320117" y="188973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9" y="93485"/>
                </a:lnTo>
                <a:lnTo>
                  <a:pt x="296006" y="80986"/>
                </a:lnTo>
                <a:lnTo>
                  <a:pt x="288459" y="69169"/>
                </a:lnTo>
                <a:lnTo>
                  <a:pt x="280058" y="58089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4"/>
                </a:lnTo>
                <a:lnTo>
                  <a:pt x="86318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8" name="object 62"/>
          <p:cNvSpPr/>
          <p:nvPr/>
        </p:nvSpPr>
        <p:spPr>
          <a:xfrm>
            <a:off x="4326962" y="34938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9" name="object 60"/>
          <p:cNvSpPr/>
          <p:nvPr/>
        </p:nvSpPr>
        <p:spPr>
          <a:xfrm>
            <a:off x="3451263" y="457102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0" name="object 58"/>
          <p:cNvSpPr/>
          <p:nvPr/>
        </p:nvSpPr>
        <p:spPr>
          <a:xfrm>
            <a:off x="7513462" y="204543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1" name="object 56"/>
          <p:cNvSpPr/>
          <p:nvPr/>
        </p:nvSpPr>
        <p:spPr>
          <a:xfrm>
            <a:off x="6553321" y="196196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2" name="object 54"/>
          <p:cNvSpPr/>
          <p:nvPr/>
        </p:nvSpPr>
        <p:spPr>
          <a:xfrm>
            <a:off x="7353097" y="275391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3" name="object 52"/>
          <p:cNvSpPr/>
          <p:nvPr/>
        </p:nvSpPr>
        <p:spPr>
          <a:xfrm>
            <a:off x="4696124" y="412086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4" name="object 50"/>
          <p:cNvSpPr/>
          <p:nvPr/>
        </p:nvSpPr>
        <p:spPr>
          <a:xfrm>
            <a:off x="4441297" y="46123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5" name="object 48"/>
          <p:cNvSpPr/>
          <p:nvPr/>
        </p:nvSpPr>
        <p:spPr>
          <a:xfrm>
            <a:off x="3130532" y="40499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6" name="object 42"/>
          <p:cNvSpPr/>
          <p:nvPr/>
        </p:nvSpPr>
        <p:spPr>
          <a:xfrm>
            <a:off x="5748103" y="33118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7" name="object 44"/>
          <p:cNvSpPr/>
          <p:nvPr/>
        </p:nvSpPr>
        <p:spPr>
          <a:xfrm>
            <a:off x="5560113" y="25802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8" name="object 46"/>
          <p:cNvSpPr/>
          <p:nvPr/>
        </p:nvSpPr>
        <p:spPr>
          <a:xfrm>
            <a:off x="5421508" y="296447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9" name="object 40"/>
          <p:cNvSpPr/>
          <p:nvPr/>
        </p:nvSpPr>
        <p:spPr>
          <a:xfrm>
            <a:off x="5213120" y="49216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0" name="object 38"/>
          <p:cNvSpPr/>
          <p:nvPr/>
        </p:nvSpPr>
        <p:spPr>
          <a:xfrm>
            <a:off x="7032365" y="221911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1" name="object 36"/>
          <p:cNvSpPr/>
          <p:nvPr/>
        </p:nvSpPr>
        <p:spPr>
          <a:xfrm>
            <a:off x="7385165" y="340218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6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7"/>
                </a:lnTo>
                <a:lnTo>
                  <a:pt x="310251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2" name="object 34"/>
          <p:cNvSpPr/>
          <p:nvPr/>
        </p:nvSpPr>
        <p:spPr>
          <a:xfrm>
            <a:off x="5038354" y="24830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3" name="object 32"/>
          <p:cNvSpPr/>
          <p:nvPr/>
        </p:nvSpPr>
        <p:spPr>
          <a:xfrm>
            <a:off x="7192732" y="159327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4" name="object 30"/>
          <p:cNvSpPr/>
          <p:nvPr/>
        </p:nvSpPr>
        <p:spPr>
          <a:xfrm>
            <a:off x="6201572" y="316997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5" name="object 28"/>
          <p:cNvSpPr/>
          <p:nvPr/>
        </p:nvSpPr>
        <p:spPr>
          <a:xfrm>
            <a:off x="4877989" y="532865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6" name="object 26"/>
          <p:cNvSpPr/>
          <p:nvPr/>
        </p:nvSpPr>
        <p:spPr>
          <a:xfrm>
            <a:off x="5581873" y="4521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7" name="object 24"/>
          <p:cNvSpPr/>
          <p:nvPr/>
        </p:nvSpPr>
        <p:spPr>
          <a:xfrm>
            <a:off x="3528670" y="35173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8" name="object 22"/>
          <p:cNvSpPr/>
          <p:nvPr/>
        </p:nvSpPr>
        <p:spPr>
          <a:xfrm>
            <a:off x="3252845" y="520650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9" name="object 20"/>
          <p:cNvSpPr/>
          <p:nvPr/>
        </p:nvSpPr>
        <p:spPr>
          <a:xfrm>
            <a:off x="3849401" y="4051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0" name="object 18"/>
          <p:cNvSpPr/>
          <p:nvPr/>
        </p:nvSpPr>
        <p:spPr>
          <a:xfrm>
            <a:off x="6713687" y="269105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1" name="object 6"/>
          <p:cNvSpPr txBox="1"/>
          <p:nvPr/>
        </p:nvSpPr>
        <p:spPr>
          <a:xfrm>
            <a:off x="1332125" y="3759280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lang="en-US" sz="3600" spc="0" baseline="2275" dirty="0" smtClean="0">
                <a:solidFill>
                  <a:srgbClr val="7F7E7E"/>
                </a:solidFill>
                <a:cs typeface="Calibri"/>
              </a:rPr>
              <a:t>Word 1</a:t>
            </a:r>
            <a:endParaRPr sz="2400" dirty="0">
              <a:cs typeface="Calibri"/>
            </a:endParaRPr>
          </a:p>
        </p:txBody>
      </p:sp>
      <p:grpSp>
        <p:nvGrpSpPr>
          <p:cNvPr id="112" name="Group 111"/>
          <p:cNvGrpSpPr/>
          <p:nvPr/>
        </p:nvGrpSpPr>
        <p:grpSpPr>
          <a:xfrm>
            <a:off x="2383438" y="1888930"/>
            <a:ext cx="6303362" cy="4054670"/>
            <a:chOff x="2343901" y="1923700"/>
            <a:chExt cx="6303362" cy="4054670"/>
          </a:xfrm>
        </p:grpSpPr>
        <p:sp>
          <p:nvSpPr>
            <p:cNvPr id="113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114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3327257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0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0" name="object 13"/>
          <p:cNvSpPr/>
          <p:nvPr/>
        </p:nvSpPr>
        <p:spPr>
          <a:xfrm>
            <a:off x="2317464" y="867275"/>
            <a:ext cx="4948869" cy="5124998"/>
          </a:xfrm>
          <a:custGeom>
            <a:avLst/>
            <a:gdLst/>
            <a:ahLst/>
            <a:cxnLst/>
            <a:rect l="l" t="t" r="r" b="b"/>
            <a:pathLst>
              <a:path w="4948869" h="5124998">
                <a:moveTo>
                  <a:pt x="4430965" y="0"/>
                </a:moveTo>
                <a:lnTo>
                  <a:pt x="0" y="5124998"/>
                </a:lnTo>
                <a:lnTo>
                  <a:pt x="4948869" y="498148"/>
                </a:lnTo>
                <a:lnTo>
                  <a:pt x="4430965" y="0"/>
                </a:lnTo>
                <a:close/>
              </a:path>
            </a:pathLst>
          </a:custGeom>
          <a:solidFill>
            <a:srgbClr val="FAA757">
              <a:alpha val="71000"/>
            </a:srgbClr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7" name="object 5"/>
          <p:cNvSpPr txBox="1"/>
          <p:nvPr/>
        </p:nvSpPr>
        <p:spPr>
          <a:xfrm>
            <a:off x="2101916" y="369650"/>
            <a:ext cx="6889684" cy="807913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 marR="41909">
              <a:lnSpc>
                <a:spcPts val="3454"/>
              </a:lnSpc>
              <a:spcBef>
                <a:spcPts val="172"/>
              </a:spcBef>
            </a:pPr>
            <a:r>
              <a:rPr lang="en-US" sz="4800" baseline="2560" dirty="0">
                <a:solidFill>
                  <a:srgbClr val="4E81BC"/>
                </a:solidFill>
                <a:latin typeface="+mj-lt"/>
                <a:cs typeface="Calibri"/>
              </a:rPr>
              <a:t>DBSCAN</a:t>
            </a:r>
          </a:p>
          <a:p>
            <a:pPr marL="12700">
              <a:lnSpc>
                <a:spcPts val="2770"/>
              </a:lnSpc>
            </a:pPr>
            <a:r>
              <a:rPr lang="en-US" sz="3200" baseline="1137" dirty="0" smtClean="0">
                <a:solidFill>
                  <a:srgbClr val="7F7E7E"/>
                </a:solidFill>
                <a:cs typeface="Calibri"/>
              </a:rPr>
              <a:t>With cosine distance</a:t>
            </a:r>
            <a:r>
              <a:rPr lang="en-US" sz="3200" dirty="0" smtClean="0">
                <a:solidFill>
                  <a:srgbClr val="7F7E7E"/>
                </a:solidFill>
                <a:cs typeface="Calibri"/>
              </a:rPr>
              <a:t> </a:t>
            </a:r>
            <a:endParaRPr lang="en-US" sz="3200" baseline="1137" dirty="0">
              <a:solidFill>
                <a:srgbClr val="7F7E7E"/>
              </a:solidFill>
              <a:cs typeface="Calibri"/>
            </a:endParaRPr>
          </a:p>
        </p:txBody>
      </p:sp>
      <p:sp>
        <p:nvSpPr>
          <p:cNvPr id="78" name="object 3"/>
          <p:cNvSpPr txBox="1"/>
          <p:nvPr/>
        </p:nvSpPr>
        <p:spPr>
          <a:xfrm>
            <a:off x="5144320" y="6116930"/>
            <a:ext cx="110723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 algn="ctr">
              <a:lnSpc>
                <a:spcPts val="2600"/>
              </a:lnSpc>
              <a:spcBef>
                <a:spcPts val="130"/>
              </a:spcBef>
            </a:pPr>
            <a:r>
              <a:rPr lang="en-US" sz="3600" spc="0" baseline="2275" dirty="0" smtClean="0">
                <a:solidFill>
                  <a:srgbClr val="7F7E7E"/>
                </a:solidFill>
                <a:latin typeface="Calibri"/>
                <a:cs typeface="Calibri"/>
              </a:rPr>
              <a:t>Word 2 </a:t>
            </a:r>
            <a:endParaRPr sz="2400" dirty="0">
              <a:latin typeface="Calibri"/>
              <a:cs typeface="Calibri"/>
            </a:endParaRPr>
          </a:p>
        </p:txBody>
      </p:sp>
      <p:sp>
        <p:nvSpPr>
          <p:cNvPr id="79" name="object 82"/>
          <p:cNvSpPr/>
          <p:nvPr/>
        </p:nvSpPr>
        <p:spPr>
          <a:xfrm>
            <a:off x="4414372" y="54871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0" name="object 84"/>
          <p:cNvSpPr/>
          <p:nvPr/>
        </p:nvSpPr>
        <p:spPr>
          <a:xfrm>
            <a:off x="5399747" y="55212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1" name="object 86"/>
          <p:cNvSpPr/>
          <p:nvPr/>
        </p:nvSpPr>
        <p:spPr>
          <a:xfrm>
            <a:off x="6251551" y="55023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2" name="object 74"/>
          <p:cNvSpPr/>
          <p:nvPr/>
        </p:nvSpPr>
        <p:spPr>
          <a:xfrm>
            <a:off x="2668469" y="519520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3" name="object 72"/>
          <p:cNvSpPr/>
          <p:nvPr/>
        </p:nvSpPr>
        <p:spPr>
          <a:xfrm>
            <a:off x="5959366" y="251737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40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80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4" name="object 70"/>
          <p:cNvSpPr/>
          <p:nvPr/>
        </p:nvSpPr>
        <p:spPr>
          <a:xfrm>
            <a:off x="5560113" y="213564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57150">
            <a:solidFill>
              <a:srgbClr val="F69545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5" name="object 68"/>
          <p:cNvSpPr/>
          <p:nvPr/>
        </p:nvSpPr>
        <p:spPr>
          <a:xfrm>
            <a:off x="5148028" y="1723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6" name="object 66"/>
          <p:cNvSpPr/>
          <p:nvPr/>
        </p:nvSpPr>
        <p:spPr>
          <a:xfrm>
            <a:off x="6872003" y="34121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7" name="object 63"/>
          <p:cNvSpPr/>
          <p:nvPr/>
        </p:nvSpPr>
        <p:spPr>
          <a:xfrm>
            <a:off x="5880842" y="502152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6"/>
                </a:lnTo>
                <a:lnTo>
                  <a:pt x="1583" y="198179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6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2"/>
                </a:lnTo>
                <a:lnTo>
                  <a:pt x="49876" y="299561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6"/>
                </a:lnTo>
                <a:lnTo>
                  <a:pt x="196530" y="342926"/>
                </a:lnTo>
                <a:lnTo>
                  <a:pt x="209650" y="339004"/>
                </a:lnTo>
                <a:lnTo>
                  <a:pt x="222295" y="333936"/>
                </a:lnTo>
                <a:lnTo>
                  <a:pt x="234413" y="327778"/>
                </a:lnTo>
                <a:lnTo>
                  <a:pt x="245953" y="320583"/>
                </a:lnTo>
                <a:lnTo>
                  <a:pt x="256864" y="312409"/>
                </a:lnTo>
                <a:lnTo>
                  <a:pt x="267095" y="303311"/>
                </a:lnTo>
                <a:lnTo>
                  <a:pt x="276595" y="293343"/>
                </a:lnTo>
                <a:lnTo>
                  <a:pt x="285312" y="282562"/>
                </a:lnTo>
                <a:lnTo>
                  <a:pt x="293195" y="271023"/>
                </a:lnTo>
                <a:lnTo>
                  <a:pt x="300193" y="258781"/>
                </a:lnTo>
                <a:lnTo>
                  <a:pt x="306255" y="245892"/>
                </a:lnTo>
                <a:lnTo>
                  <a:pt x="311330" y="232411"/>
                </a:lnTo>
                <a:lnTo>
                  <a:pt x="315366" y="218394"/>
                </a:lnTo>
                <a:lnTo>
                  <a:pt x="318312" y="203896"/>
                </a:lnTo>
                <a:lnTo>
                  <a:pt x="320117" y="188973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9" y="93485"/>
                </a:lnTo>
                <a:lnTo>
                  <a:pt x="296006" y="80986"/>
                </a:lnTo>
                <a:lnTo>
                  <a:pt x="288459" y="69169"/>
                </a:lnTo>
                <a:lnTo>
                  <a:pt x="280058" y="58089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4"/>
                </a:lnTo>
                <a:lnTo>
                  <a:pt x="86318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8" name="object 62"/>
          <p:cNvSpPr/>
          <p:nvPr/>
        </p:nvSpPr>
        <p:spPr>
          <a:xfrm>
            <a:off x="4326962" y="34938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57150">
            <a:solidFill>
              <a:srgbClr val="F69545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9" name="object 60"/>
          <p:cNvSpPr/>
          <p:nvPr/>
        </p:nvSpPr>
        <p:spPr>
          <a:xfrm>
            <a:off x="3451263" y="457102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57150">
            <a:solidFill>
              <a:srgbClr val="F69545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0" name="object 58"/>
          <p:cNvSpPr/>
          <p:nvPr/>
        </p:nvSpPr>
        <p:spPr>
          <a:xfrm>
            <a:off x="7513462" y="204543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1" name="object 56"/>
          <p:cNvSpPr/>
          <p:nvPr/>
        </p:nvSpPr>
        <p:spPr>
          <a:xfrm>
            <a:off x="6553321" y="196196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2" name="object 54"/>
          <p:cNvSpPr/>
          <p:nvPr/>
        </p:nvSpPr>
        <p:spPr>
          <a:xfrm>
            <a:off x="7353097" y="275391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3" name="object 52"/>
          <p:cNvSpPr/>
          <p:nvPr/>
        </p:nvSpPr>
        <p:spPr>
          <a:xfrm>
            <a:off x="4696124" y="412086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4" name="object 50"/>
          <p:cNvSpPr/>
          <p:nvPr/>
        </p:nvSpPr>
        <p:spPr>
          <a:xfrm>
            <a:off x="4441297" y="46123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5" name="object 48"/>
          <p:cNvSpPr/>
          <p:nvPr/>
        </p:nvSpPr>
        <p:spPr>
          <a:xfrm>
            <a:off x="3130532" y="40499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6" name="object 42"/>
          <p:cNvSpPr/>
          <p:nvPr/>
        </p:nvSpPr>
        <p:spPr>
          <a:xfrm>
            <a:off x="5748103" y="33118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7" name="object 44"/>
          <p:cNvSpPr/>
          <p:nvPr/>
        </p:nvSpPr>
        <p:spPr>
          <a:xfrm>
            <a:off x="5560113" y="25802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57150">
            <a:solidFill>
              <a:srgbClr val="F69545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8" name="object 46"/>
          <p:cNvSpPr/>
          <p:nvPr/>
        </p:nvSpPr>
        <p:spPr>
          <a:xfrm>
            <a:off x="5421508" y="296447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9" name="object 40"/>
          <p:cNvSpPr/>
          <p:nvPr/>
        </p:nvSpPr>
        <p:spPr>
          <a:xfrm>
            <a:off x="5213120" y="49216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0" name="object 38"/>
          <p:cNvSpPr/>
          <p:nvPr/>
        </p:nvSpPr>
        <p:spPr>
          <a:xfrm>
            <a:off x="7032365" y="221911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1" name="object 36"/>
          <p:cNvSpPr/>
          <p:nvPr/>
        </p:nvSpPr>
        <p:spPr>
          <a:xfrm>
            <a:off x="7385165" y="340218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6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7"/>
                </a:lnTo>
                <a:lnTo>
                  <a:pt x="310251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2" name="object 34"/>
          <p:cNvSpPr/>
          <p:nvPr/>
        </p:nvSpPr>
        <p:spPr>
          <a:xfrm>
            <a:off x="5038354" y="24830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3" name="object 32"/>
          <p:cNvSpPr/>
          <p:nvPr/>
        </p:nvSpPr>
        <p:spPr>
          <a:xfrm>
            <a:off x="7192732" y="159327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4" name="object 30"/>
          <p:cNvSpPr/>
          <p:nvPr/>
        </p:nvSpPr>
        <p:spPr>
          <a:xfrm>
            <a:off x="6201572" y="316997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5" name="object 28"/>
          <p:cNvSpPr/>
          <p:nvPr/>
        </p:nvSpPr>
        <p:spPr>
          <a:xfrm>
            <a:off x="4877989" y="532865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6" name="object 26"/>
          <p:cNvSpPr/>
          <p:nvPr/>
        </p:nvSpPr>
        <p:spPr>
          <a:xfrm>
            <a:off x="5581873" y="4521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7" name="object 24"/>
          <p:cNvSpPr/>
          <p:nvPr/>
        </p:nvSpPr>
        <p:spPr>
          <a:xfrm>
            <a:off x="3528670" y="35173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8" name="object 22"/>
          <p:cNvSpPr/>
          <p:nvPr/>
        </p:nvSpPr>
        <p:spPr>
          <a:xfrm>
            <a:off x="3252845" y="520650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9" name="object 20"/>
          <p:cNvSpPr/>
          <p:nvPr/>
        </p:nvSpPr>
        <p:spPr>
          <a:xfrm>
            <a:off x="3849401" y="4051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0" name="object 18"/>
          <p:cNvSpPr/>
          <p:nvPr/>
        </p:nvSpPr>
        <p:spPr>
          <a:xfrm>
            <a:off x="6713687" y="269105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1" name="object 6"/>
          <p:cNvSpPr txBox="1"/>
          <p:nvPr/>
        </p:nvSpPr>
        <p:spPr>
          <a:xfrm>
            <a:off x="1332125" y="3759280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lang="en-US" sz="3600" spc="0" baseline="2275" dirty="0" smtClean="0">
                <a:solidFill>
                  <a:srgbClr val="7F7E7E"/>
                </a:solidFill>
                <a:cs typeface="Calibri"/>
              </a:rPr>
              <a:t>Word 1</a:t>
            </a:r>
            <a:endParaRPr sz="2400" dirty="0">
              <a:cs typeface="Calibri"/>
            </a:endParaRPr>
          </a:p>
        </p:txBody>
      </p:sp>
      <p:grpSp>
        <p:nvGrpSpPr>
          <p:cNvPr id="112" name="Group 111"/>
          <p:cNvGrpSpPr/>
          <p:nvPr/>
        </p:nvGrpSpPr>
        <p:grpSpPr>
          <a:xfrm>
            <a:off x="2383438" y="1888930"/>
            <a:ext cx="6303362" cy="4054670"/>
            <a:chOff x="2343901" y="1923700"/>
            <a:chExt cx="6303362" cy="4054670"/>
          </a:xfrm>
        </p:grpSpPr>
        <p:sp>
          <p:nvSpPr>
            <p:cNvPr id="113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114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</p:spTree>
    <p:extLst>
      <p:ext uri="{BB962C8B-B14F-4D97-AF65-F5344CB8AC3E}">
        <p14:creationId xmlns:p14="http://schemas.microsoft.com/office/powerpoint/2010/main" val="1180161222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" name="object 5"/>
          <p:cNvSpPr txBox="1"/>
          <p:nvPr/>
        </p:nvSpPr>
        <p:spPr>
          <a:xfrm>
            <a:off x="2101916" y="369650"/>
            <a:ext cx="6889684" cy="448841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 marR="41909">
              <a:lnSpc>
                <a:spcPts val="3454"/>
              </a:lnSpc>
              <a:spcBef>
                <a:spcPts val="172"/>
              </a:spcBef>
            </a:pPr>
            <a:r>
              <a:rPr lang="en-US" sz="4800" baseline="2560" dirty="0" smtClean="0">
                <a:solidFill>
                  <a:srgbClr val="4E81BC"/>
                </a:solidFill>
                <a:latin typeface="+mj-lt"/>
                <a:cs typeface="Calibri"/>
              </a:rPr>
              <a:t>Potential clusters with cosine distance </a:t>
            </a:r>
          </a:p>
        </p:txBody>
      </p:sp>
      <p:sp>
        <p:nvSpPr>
          <p:cNvPr id="82" name="object 3"/>
          <p:cNvSpPr txBox="1"/>
          <p:nvPr/>
        </p:nvSpPr>
        <p:spPr>
          <a:xfrm>
            <a:off x="5144320" y="6116930"/>
            <a:ext cx="110723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 algn="ctr">
              <a:lnSpc>
                <a:spcPts val="2600"/>
              </a:lnSpc>
              <a:spcBef>
                <a:spcPts val="130"/>
              </a:spcBef>
            </a:pPr>
            <a:r>
              <a:rPr lang="en-US" sz="3600" spc="0" baseline="2275" dirty="0" smtClean="0">
                <a:solidFill>
                  <a:srgbClr val="7F7E7E"/>
                </a:solidFill>
                <a:latin typeface="Calibri"/>
                <a:cs typeface="Calibri"/>
              </a:rPr>
              <a:t>Word 2 </a:t>
            </a:r>
            <a:endParaRPr sz="2400" dirty="0">
              <a:latin typeface="Calibri"/>
              <a:cs typeface="Calibri"/>
            </a:endParaRPr>
          </a:p>
        </p:txBody>
      </p:sp>
      <p:sp>
        <p:nvSpPr>
          <p:cNvPr id="83" name="object 82"/>
          <p:cNvSpPr/>
          <p:nvPr/>
        </p:nvSpPr>
        <p:spPr>
          <a:xfrm>
            <a:off x="4414372" y="54871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4" name="object 84"/>
          <p:cNvSpPr/>
          <p:nvPr/>
        </p:nvSpPr>
        <p:spPr>
          <a:xfrm>
            <a:off x="5399747" y="55212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5" name="object 86"/>
          <p:cNvSpPr/>
          <p:nvPr/>
        </p:nvSpPr>
        <p:spPr>
          <a:xfrm>
            <a:off x="6251551" y="55023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6" name="object 74"/>
          <p:cNvSpPr/>
          <p:nvPr/>
        </p:nvSpPr>
        <p:spPr>
          <a:xfrm>
            <a:off x="2668469" y="519520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7" name="object 72"/>
          <p:cNvSpPr/>
          <p:nvPr/>
        </p:nvSpPr>
        <p:spPr>
          <a:xfrm>
            <a:off x="5959366" y="251737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40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80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8" name="object 70"/>
          <p:cNvSpPr/>
          <p:nvPr/>
        </p:nvSpPr>
        <p:spPr>
          <a:xfrm>
            <a:off x="5560113" y="213564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9" name="object 68"/>
          <p:cNvSpPr/>
          <p:nvPr/>
        </p:nvSpPr>
        <p:spPr>
          <a:xfrm>
            <a:off x="5148028" y="1723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0" name="object 66"/>
          <p:cNvSpPr/>
          <p:nvPr/>
        </p:nvSpPr>
        <p:spPr>
          <a:xfrm>
            <a:off x="6872003" y="34121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1" name="object 63"/>
          <p:cNvSpPr/>
          <p:nvPr/>
        </p:nvSpPr>
        <p:spPr>
          <a:xfrm>
            <a:off x="5880842" y="502152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6"/>
                </a:lnTo>
                <a:lnTo>
                  <a:pt x="1583" y="198179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6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2"/>
                </a:lnTo>
                <a:lnTo>
                  <a:pt x="49876" y="299561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6"/>
                </a:lnTo>
                <a:lnTo>
                  <a:pt x="196530" y="342926"/>
                </a:lnTo>
                <a:lnTo>
                  <a:pt x="209650" y="339004"/>
                </a:lnTo>
                <a:lnTo>
                  <a:pt x="222295" y="333936"/>
                </a:lnTo>
                <a:lnTo>
                  <a:pt x="234413" y="327778"/>
                </a:lnTo>
                <a:lnTo>
                  <a:pt x="245953" y="320583"/>
                </a:lnTo>
                <a:lnTo>
                  <a:pt x="256864" y="312409"/>
                </a:lnTo>
                <a:lnTo>
                  <a:pt x="267095" y="303311"/>
                </a:lnTo>
                <a:lnTo>
                  <a:pt x="276595" y="293343"/>
                </a:lnTo>
                <a:lnTo>
                  <a:pt x="285312" y="282562"/>
                </a:lnTo>
                <a:lnTo>
                  <a:pt x="293195" y="271023"/>
                </a:lnTo>
                <a:lnTo>
                  <a:pt x="300193" y="258781"/>
                </a:lnTo>
                <a:lnTo>
                  <a:pt x="306255" y="245892"/>
                </a:lnTo>
                <a:lnTo>
                  <a:pt x="311330" y="232411"/>
                </a:lnTo>
                <a:lnTo>
                  <a:pt x="315366" y="218394"/>
                </a:lnTo>
                <a:lnTo>
                  <a:pt x="318312" y="203896"/>
                </a:lnTo>
                <a:lnTo>
                  <a:pt x="320117" y="188973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9" y="93485"/>
                </a:lnTo>
                <a:lnTo>
                  <a:pt x="296006" y="80986"/>
                </a:lnTo>
                <a:lnTo>
                  <a:pt x="288459" y="69169"/>
                </a:lnTo>
                <a:lnTo>
                  <a:pt x="280058" y="58089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4"/>
                </a:lnTo>
                <a:lnTo>
                  <a:pt x="86318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2" name="object 62"/>
          <p:cNvSpPr/>
          <p:nvPr/>
        </p:nvSpPr>
        <p:spPr>
          <a:xfrm>
            <a:off x="4326962" y="34938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3" name="object 60"/>
          <p:cNvSpPr/>
          <p:nvPr/>
        </p:nvSpPr>
        <p:spPr>
          <a:xfrm>
            <a:off x="3451263" y="457102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4" name="object 58"/>
          <p:cNvSpPr/>
          <p:nvPr/>
        </p:nvSpPr>
        <p:spPr>
          <a:xfrm>
            <a:off x="7513462" y="204543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5" name="object 56"/>
          <p:cNvSpPr/>
          <p:nvPr/>
        </p:nvSpPr>
        <p:spPr>
          <a:xfrm>
            <a:off x="6553321" y="196196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6" name="object 54"/>
          <p:cNvSpPr/>
          <p:nvPr/>
        </p:nvSpPr>
        <p:spPr>
          <a:xfrm>
            <a:off x="7353097" y="275391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7" name="object 52"/>
          <p:cNvSpPr/>
          <p:nvPr/>
        </p:nvSpPr>
        <p:spPr>
          <a:xfrm>
            <a:off x="4696124" y="412086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8" name="object 50"/>
          <p:cNvSpPr/>
          <p:nvPr/>
        </p:nvSpPr>
        <p:spPr>
          <a:xfrm>
            <a:off x="4441297" y="46123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9" name="object 48"/>
          <p:cNvSpPr/>
          <p:nvPr/>
        </p:nvSpPr>
        <p:spPr>
          <a:xfrm>
            <a:off x="3130532" y="40499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0" name="object 42"/>
          <p:cNvSpPr/>
          <p:nvPr/>
        </p:nvSpPr>
        <p:spPr>
          <a:xfrm>
            <a:off x="5748103" y="33118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1" name="object 44"/>
          <p:cNvSpPr/>
          <p:nvPr/>
        </p:nvSpPr>
        <p:spPr>
          <a:xfrm>
            <a:off x="5560113" y="25802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2" name="object 46"/>
          <p:cNvSpPr/>
          <p:nvPr/>
        </p:nvSpPr>
        <p:spPr>
          <a:xfrm>
            <a:off x="5421508" y="296447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3" name="object 40"/>
          <p:cNvSpPr/>
          <p:nvPr/>
        </p:nvSpPr>
        <p:spPr>
          <a:xfrm>
            <a:off x="5213120" y="49216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4" name="object 38"/>
          <p:cNvSpPr/>
          <p:nvPr/>
        </p:nvSpPr>
        <p:spPr>
          <a:xfrm>
            <a:off x="7032365" y="221911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5" name="object 36"/>
          <p:cNvSpPr/>
          <p:nvPr/>
        </p:nvSpPr>
        <p:spPr>
          <a:xfrm>
            <a:off x="7385165" y="340218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6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7"/>
                </a:lnTo>
                <a:lnTo>
                  <a:pt x="310251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6" name="object 34"/>
          <p:cNvSpPr/>
          <p:nvPr/>
        </p:nvSpPr>
        <p:spPr>
          <a:xfrm>
            <a:off x="5038354" y="24830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7" name="object 32"/>
          <p:cNvSpPr/>
          <p:nvPr/>
        </p:nvSpPr>
        <p:spPr>
          <a:xfrm>
            <a:off x="7192732" y="159327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8" name="object 30"/>
          <p:cNvSpPr/>
          <p:nvPr/>
        </p:nvSpPr>
        <p:spPr>
          <a:xfrm>
            <a:off x="6201572" y="316997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9" name="object 28"/>
          <p:cNvSpPr/>
          <p:nvPr/>
        </p:nvSpPr>
        <p:spPr>
          <a:xfrm>
            <a:off x="4877989" y="532865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0" name="object 26"/>
          <p:cNvSpPr/>
          <p:nvPr/>
        </p:nvSpPr>
        <p:spPr>
          <a:xfrm>
            <a:off x="5581873" y="4521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1" name="object 24"/>
          <p:cNvSpPr/>
          <p:nvPr/>
        </p:nvSpPr>
        <p:spPr>
          <a:xfrm>
            <a:off x="3528670" y="35173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2" name="object 22"/>
          <p:cNvSpPr/>
          <p:nvPr/>
        </p:nvSpPr>
        <p:spPr>
          <a:xfrm>
            <a:off x="3252845" y="520650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3" name="object 20"/>
          <p:cNvSpPr/>
          <p:nvPr/>
        </p:nvSpPr>
        <p:spPr>
          <a:xfrm>
            <a:off x="3849401" y="4051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4" name="object 18"/>
          <p:cNvSpPr/>
          <p:nvPr/>
        </p:nvSpPr>
        <p:spPr>
          <a:xfrm>
            <a:off x="6713687" y="269105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5" name="object 6"/>
          <p:cNvSpPr txBox="1"/>
          <p:nvPr/>
        </p:nvSpPr>
        <p:spPr>
          <a:xfrm>
            <a:off x="1332125" y="3759280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lang="en-US" sz="3600" spc="0" baseline="2275" dirty="0" smtClean="0">
                <a:solidFill>
                  <a:srgbClr val="7F7E7E"/>
                </a:solidFill>
                <a:cs typeface="Calibri"/>
              </a:rPr>
              <a:t>Word 1</a:t>
            </a:r>
            <a:endParaRPr sz="2400" dirty="0">
              <a:cs typeface="Calibri"/>
            </a:endParaRPr>
          </a:p>
        </p:txBody>
      </p:sp>
      <p:grpSp>
        <p:nvGrpSpPr>
          <p:cNvPr id="116" name="Group 115"/>
          <p:cNvGrpSpPr/>
          <p:nvPr/>
        </p:nvGrpSpPr>
        <p:grpSpPr>
          <a:xfrm>
            <a:off x="2383438" y="1888930"/>
            <a:ext cx="6303362" cy="4054670"/>
            <a:chOff x="2343901" y="1923700"/>
            <a:chExt cx="6303362" cy="4054670"/>
          </a:xfrm>
        </p:grpSpPr>
        <p:sp>
          <p:nvSpPr>
            <p:cNvPr id="117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118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" name="object 5"/>
          <p:cNvSpPr txBox="1"/>
          <p:nvPr/>
        </p:nvSpPr>
        <p:spPr>
          <a:xfrm>
            <a:off x="2101916" y="369650"/>
            <a:ext cx="6889684" cy="448841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 marR="41909">
              <a:lnSpc>
                <a:spcPts val="3454"/>
              </a:lnSpc>
              <a:spcBef>
                <a:spcPts val="172"/>
              </a:spcBef>
            </a:pPr>
            <a:r>
              <a:rPr lang="en-US" sz="4800" baseline="2560" dirty="0" smtClean="0">
                <a:solidFill>
                  <a:srgbClr val="4E81BC"/>
                </a:solidFill>
                <a:latin typeface="+mj-lt"/>
                <a:cs typeface="Calibri"/>
              </a:rPr>
              <a:t>Potential clusters with cosine distance </a:t>
            </a:r>
          </a:p>
        </p:txBody>
      </p:sp>
      <p:sp>
        <p:nvSpPr>
          <p:cNvPr id="82" name="object 3"/>
          <p:cNvSpPr txBox="1"/>
          <p:nvPr/>
        </p:nvSpPr>
        <p:spPr>
          <a:xfrm>
            <a:off x="5144320" y="6116930"/>
            <a:ext cx="110723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 algn="ctr">
              <a:lnSpc>
                <a:spcPts val="2600"/>
              </a:lnSpc>
              <a:spcBef>
                <a:spcPts val="130"/>
              </a:spcBef>
            </a:pPr>
            <a:r>
              <a:rPr lang="en-US" sz="3600" spc="0" baseline="2275" dirty="0" smtClean="0">
                <a:solidFill>
                  <a:srgbClr val="7F7E7E"/>
                </a:solidFill>
                <a:latin typeface="Calibri"/>
                <a:cs typeface="Calibri"/>
              </a:rPr>
              <a:t>Word 2 </a:t>
            </a:r>
            <a:endParaRPr sz="2400" dirty="0">
              <a:latin typeface="Calibri"/>
              <a:cs typeface="Calibri"/>
            </a:endParaRPr>
          </a:p>
        </p:txBody>
      </p:sp>
      <p:sp>
        <p:nvSpPr>
          <p:cNvPr id="83" name="object 82"/>
          <p:cNvSpPr/>
          <p:nvPr/>
        </p:nvSpPr>
        <p:spPr>
          <a:xfrm>
            <a:off x="4414372" y="54871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4" name="object 84"/>
          <p:cNvSpPr/>
          <p:nvPr/>
        </p:nvSpPr>
        <p:spPr>
          <a:xfrm>
            <a:off x="5399747" y="55212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5" name="object 86"/>
          <p:cNvSpPr/>
          <p:nvPr/>
        </p:nvSpPr>
        <p:spPr>
          <a:xfrm>
            <a:off x="6251551" y="55023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6" name="object 74"/>
          <p:cNvSpPr/>
          <p:nvPr/>
        </p:nvSpPr>
        <p:spPr>
          <a:xfrm>
            <a:off x="2668469" y="519520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7" name="object 72"/>
          <p:cNvSpPr/>
          <p:nvPr/>
        </p:nvSpPr>
        <p:spPr>
          <a:xfrm>
            <a:off x="5959366" y="251737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40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80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8" name="object 70"/>
          <p:cNvSpPr/>
          <p:nvPr/>
        </p:nvSpPr>
        <p:spPr>
          <a:xfrm>
            <a:off x="5560113" y="213564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9" name="object 68"/>
          <p:cNvSpPr/>
          <p:nvPr/>
        </p:nvSpPr>
        <p:spPr>
          <a:xfrm>
            <a:off x="5148028" y="1723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0" name="object 66"/>
          <p:cNvSpPr/>
          <p:nvPr/>
        </p:nvSpPr>
        <p:spPr>
          <a:xfrm>
            <a:off x="6872003" y="34121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1" name="object 63"/>
          <p:cNvSpPr/>
          <p:nvPr/>
        </p:nvSpPr>
        <p:spPr>
          <a:xfrm>
            <a:off x="5880842" y="502152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6"/>
                </a:lnTo>
                <a:lnTo>
                  <a:pt x="1583" y="198179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6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2"/>
                </a:lnTo>
                <a:lnTo>
                  <a:pt x="49876" y="299561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6"/>
                </a:lnTo>
                <a:lnTo>
                  <a:pt x="196530" y="342926"/>
                </a:lnTo>
                <a:lnTo>
                  <a:pt x="209650" y="339004"/>
                </a:lnTo>
                <a:lnTo>
                  <a:pt x="222295" y="333936"/>
                </a:lnTo>
                <a:lnTo>
                  <a:pt x="234413" y="327778"/>
                </a:lnTo>
                <a:lnTo>
                  <a:pt x="245953" y="320583"/>
                </a:lnTo>
                <a:lnTo>
                  <a:pt x="256864" y="312409"/>
                </a:lnTo>
                <a:lnTo>
                  <a:pt x="267095" y="303311"/>
                </a:lnTo>
                <a:lnTo>
                  <a:pt x="276595" y="293343"/>
                </a:lnTo>
                <a:lnTo>
                  <a:pt x="285312" y="282562"/>
                </a:lnTo>
                <a:lnTo>
                  <a:pt x="293195" y="271023"/>
                </a:lnTo>
                <a:lnTo>
                  <a:pt x="300193" y="258781"/>
                </a:lnTo>
                <a:lnTo>
                  <a:pt x="306255" y="245892"/>
                </a:lnTo>
                <a:lnTo>
                  <a:pt x="311330" y="232411"/>
                </a:lnTo>
                <a:lnTo>
                  <a:pt x="315366" y="218394"/>
                </a:lnTo>
                <a:lnTo>
                  <a:pt x="318312" y="203896"/>
                </a:lnTo>
                <a:lnTo>
                  <a:pt x="320117" y="188973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9" y="93485"/>
                </a:lnTo>
                <a:lnTo>
                  <a:pt x="296006" y="80986"/>
                </a:lnTo>
                <a:lnTo>
                  <a:pt x="288459" y="69169"/>
                </a:lnTo>
                <a:lnTo>
                  <a:pt x="280058" y="58089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4"/>
                </a:lnTo>
                <a:lnTo>
                  <a:pt x="86318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2" name="object 62"/>
          <p:cNvSpPr/>
          <p:nvPr/>
        </p:nvSpPr>
        <p:spPr>
          <a:xfrm>
            <a:off x="4326962" y="34938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3" name="object 60"/>
          <p:cNvSpPr/>
          <p:nvPr/>
        </p:nvSpPr>
        <p:spPr>
          <a:xfrm>
            <a:off x="3451263" y="457102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4" name="object 58"/>
          <p:cNvSpPr/>
          <p:nvPr/>
        </p:nvSpPr>
        <p:spPr>
          <a:xfrm>
            <a:off x="7513462" y="204543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5" name="object 56"/>
          <p:cNvSpPr/>
          <p:nvPr/>
        </p:nvSpPr>
        <p:spPr>
          <a:xfrm>
            <a:off x="6553321" y="196196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6" name="object 54"/>
          <p:cNvSpPr/>
          <p:nvPr/>
        </p:nvSpPr>
        <p:spPr>
          <a:xfrm>
            <a:off x="7353097" y="275391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7" name="object 52"/>
          <p:cNvSpPr/>
          <p:nvPr/>
        </p:nvSpPr>
        <p:spPr>
          <a:xfrm>
            <a:off x="4696124" y="412086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8" name="object 50"/>
          <p:cNvSpPr/>
          <p:nvPr/>
        </p:nvSpPr>
        <p:spPr>
          <a:xfrm>
            <a:off x="4441297" y="46123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9" name="object 48"/>
          <p:cNvSpPr/>
          <p:nvPr/>
        </p:nvSpPr>
        <p:spPr>
          <a:xfrm>
            <a:off x="3130532" y="40499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0" name="object 42"/>
          <p:cNvSpPr/>
          <p:nvPr/>
        </p:nvSpPr>
        <p:spPr>
          <a:xfrm>
            <a:off x="5748103" y="33118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1" name="object 44"/>
          <p:cNvSpPr/>
          <p:nvPr/>
        </p:nvSpPr>
        <p:spPr>
          <a:xfrm>
            <a:off x="5560113" y="25802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2" name="object 46"/>
          <p:cNvSpPr/>
          <p:nvPr/>
        </p:nvSpPr>
        <p:spPr>
          <a:xfrm>
            <a:off x="5421508" y="296447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3" name="object 40"/>
          <p:cNvSpPr/>
          <p:nvPr/>
        </p:nvSpPr>
        <p:spPr>
          <a:xfrm>
            <a:off x="5213120" y="49216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4" name="object 38"/>
          <p:cNvSpPr/>
          <p:nvPr/>
        </p:nvSpPr>
        <p:spPr>
          <a:xfrm>
            <a:off x="7032365" y="221911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5" name="object 36"/>
          <p:cNvSpPr/>
          <p:nvPr/>
        </p:nvSpPr>
        <p:spPr>
          <a:xfrm>
            <a:off x="7385165" y="340218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6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7"/>
                </a:lnTo>
                <a:lnTo>
                  <a:pt x="310251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6" name="object 34"/>
          <p:cNvSpPr/>
          <p:nvPr/>
        </p:nvSpPr>
        <p:spPr>
          <a:xfrm>
            <a:off x="5038354" y="24830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7" name="object 32"/>
          <p:cNvSpPr/>
          <p:nvPr/>
        </p:nvSpPr>
        <p:spPr>
          <a:xfrm>
            <a:off x="7192732" y="159327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8" name="object 30"/>
          <p:cNvSpPr/>
          <p:nvPr/>
        </p:nvSpPr>
        <p:spPr>
          <a:xfrm>
            <a:off x="6201572" y="316997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9" name="object 28"/>
          <p:cNvSpPr/>
          <p:nvPr/>
        </p:nvSpPr>
        <p:spPr>
          <a:xfrm>
            <a:off x="4877989" y="532865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0" name="object 26"/>
          <p:cNvSpPr/>
          <p:nvPr/>
        </p:nvSpPr>
        <p:spPr>
          <a:xfrm>
            <a:off x="5581873" y="4521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1" name="object 24"/>
          <p:cNvSpPr/>
          <p:nvPr/>
        </p:nvSpPr>
        <p:spPr>
          <a:xfrm>
            <a:off x="3528670" y="35173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2" name="object 22"/>
          <p:cNvSpPr/>
          <p:nvPr/>
        </p:nvSpPr>
        <p:spPr>
          <a:xfrm>
            <a:off x="3252845" y="520650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3" name="object 20"/>
          <p:cNvSpPr/>
          <p:nvPr/>
        </p:nvSpPr>
        <p:spPr>
          <a:xfrm>
            <a:off x="3849401" y="4051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4" name="object 18"/>
          <p:cNvSpPr/>
          <p:nvPr/>
        </p:nvSpPr>
        <p:spPr>
          <a:xfrm>
            <a:off x="6713687" y="269105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5" name="object 6"/>
          <p:cNvSpPr txBox="1"/>
          <p:nvPr/>
        </p:nvSpPr>
        <p:spPr>
          <a:xfrm>
            <a:off x="1332125" y="3759280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lang="en-US" sz="3600" spc="0" baseline="2275" dirty="0" smtClean="0">
                <a:solidFill>
                  <a:srgbClr val="7F7E7E"/>
                </a:solidFill>
                <a:cs typeface="Calibri"/>
              </a:rPr>
              <a:t>Word 1</a:t>
            </a:r>
            <a:endParaRPr sz="2400" dirty="0">
              <a:cs typeface="Calibri"/>
            </a:endParaRPr>
          </a:p>
        </p:txBody>
      </p:sp>
      <p:grpSp>
        <p:nvGrpSpPr>
          <p:cNvPr id="116" name="Group 115"/>
          <p:cNvGrpSpPr/>
          <p:nvPr/>
        </p:nvGrpSpPr>
        <p:grpSpPr>
          <a:xfrm>
            <a:off x="2383438" y="1888930"/>
            <a:ext cx="6303362" cy="4054670"/>
            <a:chOff x="2343901" y="1923700"/>
            <a:chExt cx="6303362" cy="4054670"/>
          </a:xfrm>
        </p:grpSpPr>
        <p:sp>
          <p:nvSpPr>
            <p:cNvPr id="117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118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9" name="object 5"/>
          <p:cNvSpPr txBox="1"/>
          <p:nvPr/>
        </p:nvSpPr>
        <p:spPr>
          <a:xfrm>
            <a:off x="2101916" y="369650"/>
            <a:ext cx="6889684" cy="448841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 marR="41909">
              <a:lnSpc>
                <a:spcPts val="3454"/>
              </a:lnSpc>
              <a:spcBef>
                <a:spcPts val="172"/>
              </a:spcBef>
            </a:pPr>
            <a:r>
              <a:rPr lang="en-US" sz="4800" baseline="2560" dirty="0" smtClean="0">
                <a:solidFill>
                  <a:srgbClr val="4E81BC"/>
                </a:solidFill>
                <a:latin typeface="+mj-lt"/>
                <a:cs typeface="Calibri"/>
              </a:rPr>
              <a:t>Potential clusters with cosine distance </a:t>
            </a:r>
          </a:p>
        </p:txBody>
      </p:sp>
      <p:sp>
        <p:nvSpPr>
          <p:cNvPr id="90" name="object 3"/>
          <p:cNvSpPr txBox="1"/>
          <p:nvPr/>
        </p:nvSpPr>
        <p:spPr>
          <a:xfrm>
            <a:off x="5144320" y="6116930"/>
            <a:ext cx="110723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 algn="ctr">
              <a:lnSpc>
                <a:spcPts val="2600"/>
              </a:lnSpc>
              <a:spcBef>
                <a:spcPts val="130"/>
              </a:spcBef>
            </a:pPr>
            <a:r>
              <a:rPr lang="en-US" sz="3600" spc="0" baseline="2275" dirty="0" smtClean="0">
                <a:solidFill>
                  <a:srgbClr val="7F7E7E"/>
                </a:solidFill>
                <a:latin typeface="Calibri"/>
                <a:cs typeface="Calibri"/>
              </a:rPr>
              <a:t>Word 2 </a:t>
            </a:r>
            <a:endParaRPr sz="2400" dirty="0">
              <a:latin typeface="Calibri"/>
              <a:cs typeface="Calibri"/>
            </a:endParaRPr>
          </a:p>
        </p:txBody>
      </p:sp>
      <p:sp>
        <p:nvSpPr>
          <p:cNvPr id="91" name="object 82"/>
          <p:cNvSpPr/>
          <p:nvPr/>
        </p:nvSpPr>
        <p:spPr>
          <a:xfrm>
            <a:off x="4414372" y="54871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2" name="object 84"/>
          <p:cNvSpPr/>
          <p:nvPr/>
        </p:nvSpPr>
        <p:spPr>
          <a:xfrm>
            <a:off x="5399747" y="55212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3" name="object 86"/>
          <p:cNvSpPr/>
          <p:nvPr/>
        </p:nvSpPr>
        <p:spPr>
          <a:xfrm>
            <a:off x="6251551" y="55023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4" name="object 74"/>
          <p:cNvSpPr/>
          <p:nvPr/>
        </p:nvSpPr>
        <p:spPr>
          <a:xfrm>
            <a:off x="2668469" y="519520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5" name="object 72"/>
          <p:cNvSpPr/>
          <p:nvPr/>
        </p:nvSpPr>
        <p:spPr>
          <a:xfrm>
            <a:off x="5959366" y="251737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40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80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6" name="object 70"/>
          <p:cNvSpPr/>
          <p:nvPr/>
        </p:nvSpPr>
        <p:spPr>
          <a:xfrm>
            <a:off x="5560113" y="213564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7" name="object 68"/>
          <p:cNvSpPr/>
          <p:nvPr/>
        </p:nvSpPr>
        <p:spPr>
          <a:xfrm>
            <a:off x="5148028" y="1723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8" name="object 66"/>
          <p:cNvSpPr/>
          <p:nvPr/>
        </p:nvSpPr>
        <p:spPr>
          <a:xfrm>
            <a:off x="6872003" y="34121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9" name="object 63"/>
          <p:cNvSpPr/>
          <p:nvPr/>
        </p:nvSpPr>
        <p:spPr>
          <a:xfrm>
            <a:off x="5880842" y="502152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6"/>
                </a:lnTo>
                <a:lnTo>
                  <a:pt x="1583" y="198179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6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2"/>
                </a:lnTo>
                <a:lnTo>
                  <a:pt x="49876" y="299561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6"/>
                </a:lnTo>
                <a:lnTo>
                  <a:pt x="196530" y="342926"/>
                </a:lnTo>
                <a:lnTo>
                  <a:pt x="209650" y="339004"/>
                </a:lnTo>
                <a:lnTo>
                  <a:pt x="222295" y="333936"/>
                </a:lnTo>
                <a:lnTo>
                  <a:pt x="234413" y="327778"/>
                </a:lnTo>
                <a:lnTo>
                  <a:pt x="245953" y="320583"/>
                </a:lnTo>
                <a:lnTo>
                  <a:pt x="256864" y="312409"/>
                </a:lnTo>
                <a:lnTo>
                  <a:pt x="267095" y="303311"/>
                </a:lnTo>
                <a:lnTo>
                  <a:pt x="276595" y="293343"/>
                </a:lnTo>
                <a:lnTo>
                  <a:pt x="285312" y="282562"/>
                </a:lnTo>
                <a:lnTo>
                  <a:pt x="293195" y="271023"/>
                </a:lnTo>
                <a:lnTo>
                  <a:pt x="300193" y="258781"/>
                </a:lnTo>
                <a:lnTo>
                  <a:pt x="306255" y="245892"/>
                </a:lnTo>
                <a:lnTo>
                  <a:pt x="311330" y="232411"/>
                </a:lnTo>
                <a:lnTo>
                  <a:pt x="315366" y="218394"/>
                </a:lnTo>
                <a:lnTo>
                  <a:pt x="318312" y="203896"/>
                </a:lnTo>
                <a:lnTo>
                  <a:pt x="320117" y="188973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9" y="93485"/>
                </a:lnTo>
                <a:lnTo>
                  <a:pt x="296006" y="80986"/>
                </a:lnTo>
                <a:lnTo>
                  <a:pt x="288459" y="69169"/>
                </a:lnTo>
                <a:lnTo>
                  <a:pt x="280058" y="58089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4"/>
                </a:lnTo>
                <a:lnTo>
                  <a:pt x="86318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0" name="object 62"/>
          <p:cNvSpPr/>
          <p:nvPr/>
        </p:nvSpPr>
        <p:spPr>
          <a:xfrm>
            <a:off x="4326962" y="34938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1" name="object 60"/>
          <p:cNvSpPr/>
          <p:nvPr/>
        </p:nvSpPr>
        <p:spPr>
          <a:xfrm>
            <a:off x="3451263" y="457102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2" name="object 58"/>
          <p:cNvSpPr/>
          <p:nvPr/>
        </p:nvSpPr>
        <p:spPr>
          <a:xfrm>
            <a:off x="7513462" y="204543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3" name="object 56"/>
          <p:cNvSpPr/>
          <p:nvPr/>
        </p:nvSpPr>
        <p:spPr>
          <a:xfrm>
            <a:off x="6553321" y="196196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4" name="object 54"/>
          <p:cNvSpPr/>
          <p:nvPr/>
        </p:nvSpPr>
        <p:spPr>
          <a:xfrm>
            <a:off x="7353097" y="275391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5" name="object 52"/>
          <p:cNvSpPr/>
          <p:nvPr/>
        </p:nvSpPr>
        <p:spPr>
          <a:xfrm>
            <a:off x="4696124" y="412086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6" name="object 50"/>
          <p:cNvSpPr/>
          <p:nvPr/>
        </p:nvSpPr>
        <p:spPr>
          <a:xfrm>
            <a:off x="4441297" y="46123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7" name="object 48"/>
          <p:cNvSpPr/>
          <p:nvPr/>
        </p:nvSpPr>
        <p:spPr>
          <a:xfrm>
            <a:off x="3130532" y="40499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8" name="object 42"/>
          <p:cNvSpPr/>
          <p:nvPr/>
        </p:nvSpPr>
        <p:spPr>
          <a:xfrm>
            <a:off x="5748103" y="33118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9" name="object 44"/>
          <p:cNvSpPr/>
          <p:nvPr/>
        </p:nvSpPr>
        <p:spPr>
          <a:xfrm>
            <a:off x="5560113" y="25802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0" name="object 46"/>
          <p:cNvSpPr/>
          <p:nvPr/>
        </p:nvSpPr>
        <p:spPr>
          <a:xfrm>
            <a:off x="5421508" y="296447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1" name="object 40"/>
          <p:cNvSpPr/>
          <p:nvPr/>
        </p:nvSpPr>
        <p:spPr>
          <a:xfrm>
            <a:off x="5213120" y="49216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2" name="object 38"/>
          <p:cNvSpPr/>
          <p:nvPr/>
        </p:nvSpPr>
        <p:spPr>
          <a:xfrm>
            <a:off x="7032365" y="221911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3" name="object 36"/>
          <p:cNvSpPr/>
          <p:nvPr/>
        </p:nvSpPr>
        <p:spPr>
          <a:xfrm>
            <a:off x="7385165" y="340218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6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7"/>
                </a:lnTo>
                <a:lnTo>
                  <a:pt x="310251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4" name="object 34"/>
          <p:cNvSpPr/>
          <p:nvPr/>
        </p:nvSpPr>
        <p:spPr>
          <a:xfrm>
            <a:off x="5038354" y="24830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5" name="object 32"/>
          <p:cNvSpPr/>
          <p:nvPr/>
        </p:nvSpPr>
        <p:spPr>
          <a:xfrm>
            <a:off x="7192732" y="159327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6" name="object 30"/>
          <p:cNvSpPr/>
          <p:nvPr/>
        </p:nvSpPr>
        <p:spPr>
          <a:xfrm>
            <a:off x="6201572" y="316997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7" name="object 28"/>
          <p:cNvSpPr/>
          <p:nvPr/>
        </p:nvSpPr>
        <p:spPr>
          <a:xfrm>
            <a:off x="4877989" y="532865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8" name="object 26"/>
          <p:cNvSpPr/>
          <p:nvPr/>
        </p:nvSpPr>
        <p:spPr>
          <a:xfrm>
            <a:off x="5581873" y="4521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9" name="object 24"/>
          <p:cNvSpPr/>
          <p:nvPr/>
        </p:nvSpPr>
        <p:spPr>
          <a:xfrm>
            <a:off x="3528670" y="35173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0" name="object 22"/>
          <p:cNvSpPr/>
          <p:nvPr/>
        </p:nvSpPr>
        <p:spPr>
          <a:xfrm>
            <a:off x="3252845" y="520650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1" name="object 20"/>
          <p:cNvSpPr/>
          <p:nvPr/>
        </p:nvSpPr>
        <p:spPr>
          <a:xfrm>
            <a:off x="3849401" y="4051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2" name="object 18"/>
          <p:cNvSpPr/>
          <p:nvPr/>
        </p:nvSpPr>
        <p:spPr>
          <a:xfrm>
            <a:off x="6713687" y="269105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3" name="object 6"/>
          <p:cNvSpPr txBox="1"/>
          <p:nvPr/>
        </p:nvSpPr>
        <p:spPr>
          <a:xfrm>
            <a:off x="1332125" y="3759280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lang="en-US" sz="3600" spc="0" baseline="2275" dirty="0" smtClean="0">
                <a:solidFill>
                  <a:srgbClr val="7F7E7E"/>
                </a:solidFill>
                <a:cs typeface="Calibri"/>
              </a:rPr>
              <a:t>Word 1</a:t>
            </a:r>
            <a:endParaRPr sz="2400" dirty="0">
              <a:cs typeface="Calibri"/>
            </a:endParaRPr>
          </a:p>
        </p:txBody>
      </p:sp>
      <p:sp>
        <p:nvSpPr>
          <p:cNvPr id="125" name="object 67"/>
          <p:cNvSpPr/>
          <p:nvPr/>
        </p:nvSpPr>
        <p:spPr>
          <a:xfrm>
            <a:off x="2383437" y="1666264"/>
            <a:ext cx="0" cy="4277336"/>
          </a:xfrm>
          <a:custGeom>
            <a:avLst/>
            <a:gdLst/>
            <a:ahLst/>
            <a:cxnLst/>
            <a:rect l="l" t="t" r="r" b="b"/>
            <a:pathLst>
              <a:path h="4054670">
                <a:moveTo>
                  <a:pt x="0" y="4054670"/>
                </a:moveTo>
                <a:lnTo>
                  <a:pt x="0" y="0"/>
                </a:lnTo>
              </a:path>
            </a:pathLst>
          </a:custGeom>
          <a:ln w="25399">
            <a:solidFill>
              <a:srgbClr val="6094C9"/>
            </a:solidFill>
            <a:headEnd type="none"/>
            <a:tailEnd type="none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6" name="object 70"/>
          <p:cNvSpPr/>
          <p:nvPr/>
        </p:nvSpPr>
        <p:spPr>
          <a:xfrm>
            <a:off x="2383437" y="5943600"/>
            <a:ext cx="6492933" cy="0"/>
          </a:xfrm>
          <a:custGeom>
            <a:avLst/>
            <a:gdLst/>
            <a:ahLst/>
            <a:cxnLst/>
            <a:rect l="l" t="t" r="r" b="b"/>
            <a:pathLst>
              <a:path w="6303362">
                <a:moveTo>
                  <a:pt x="0" y="0"/>
                </a:moveTo>
                <a:lnTo>
                  <a:pt x="6303362" y="0"/>
                </a:lnTo>
              </a:path>
            </a:pathLst>
          </a:custGeom>
          <a:ln w="25399">
            <a:solidFill>
              <a:srgbClr val="6094C9"/>
            </a:solidFill>
            <a:headEnd type="none"/>
            <a:tailEnd type="none"/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8" name="object 67"/>
          <p:cNvSpPr/>
          <p:nvPr/>
        </p:nvSpPr>
        <p:spPr>
          <a:xfrm>
            <a:off x="2383437" y="1666264"/>
            <a:ext cx="0" cy="4277336"/>
          </a:xfrm>
          <a:custGeom>
            <a:avLst/>
            <a:gdLst/>
            <a:ahLst/>
            <a:cxnLst/>
            <a:rect l="l" t="t" r="r" b="b"/>
            <a:pathLst>
              <a:path h="4054670">
                <a:moveTo>
                  <a:pt x="0" y="4054670"/>
                </a:moveTo>
                <a:lnTo>
                  <a:pt x="0" y="0"/>
                </a:lnTo>
              </a:path>
            </a:pathLst>
          </a:custGeom>
          <a:ln w="25399">
            <a:solidFill>
              <a:srgbClr val="7030A0"/>
            </a:solidFill>
            <a:headEnd type="none"/>
            <a:tailEnd type="none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9" name="object 70"/>
          <p:cNvSpPr/>
          <p:nvPr/>
        </p:nvSpPr>
        <p:spPr>
          <a:xfrm>
            <a:off x="2383437" y="5943600"/>
            <a:ext cx="6492933" cy="0"/>
          </a:xfrm>
          <a:custGeom>
            <a:avLst/>
            <a:gdLst/>
            <a:ahLst/>
            <a:cxnLst/>
            <a:rect l="l" t="t" r="r" b="b"/>
            <a:pathLst>
              <a:path w="6303362">
                <a:moveTo>
                  <a:pt x="0" y="0"/>
                </a:moveTo>
                <a:lnTo>
                  <a:pt x="6303362" y="0"/>
                </a:lnTo>
              </a:path>
            </a:pathLst>
          </a:custGeom>
          <a:ln w="25399">
            <a:solidFill>
              <a:srgbClr val="7030A0"/>
            </a:solidFill>
            <a:headEnd type="none"/>
            <a:tailEnd type="none"/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cxnSp>
        <p:nvCxnSpPr>
          <p:cNvPr id="132" name="Straight Connector 131"/>
          <p:cNvCxnSpPr/>
          <p:nvPr/>
        </p:nvCxnSpPr>
        <p:spPr>
          <a:xfrm flipV="1">
            <a:off x="2393784" y="1788281"/>
            <a:ext cx="5338853" cy="4147777"/>
          </a:xfrm>
          <a:prstGeom prst="line">
            <a:avLst/>
          </a:prstGeom>
          <a:ln w="25399">
            <a:solidFill>
              <a:srgbClr val="7030A0"/>
            </a:solidFill>
            <a:headEnd type="none"/>
            <a:tailEnd type="none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cxnSp>
      <p:cxnSp>
        <p:nvCxnSpPr>
          <p:cNvPr id="135" name="Straight Connector 134"/>
          <p:cNvCxnSpPr/>
          <p:nvPr/>
        </p:nvCxnSpPr>
        <p:spPr>
          <a:xfrm flipV="1">
            <a:off x="2426674" y="3437919"/>
            <a:ext cx="6304731" cy="2493460"/>
          </a:xfrm>
          <a:prstGeom prst="line">
            <a:avLst/>
          </a:prstGeom>
          <a:ln w="25399">
            <a:solidFill>
              <a:srgbClr val="7030A0"/>
            </a:solidFill>
            <a:headEnd type="none"/>
            <a:tailEnd type="none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cxn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3" name="object 10"/>
          <p:cNvSpPr txBox="1"/>
          <p:nvPr/>
        </p:nvSpPr>
        <p:spPr>
          <a:xfrm>
            <a:off x="2101916" y="369650"/>
            <a:ext cx="6296519" cy="4318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3400"/>
              </a:lnSpc>
              <a:spcBef>
                <a:spcPts val="170"/>
              </a:spcBef>
            </a:pPr>
            <a:r>
              <a:rPr lang="en-US" sz="4800" baseline="1706" dirty="0">
                <a:solidFill>
                  <a:srgbClr val="4E81BC"/>
                </a:solidFill>
                <a:latin typeface="+mj-lt"/>
                <a:cs typeface="Calibri"/>
              </a:rPr>
              <a:t>Agglomerative </a:t>
            </a:r>
            <a:r>
              <a:rPr sz="4800" spc="0" baseline="1706" dirty="0" smtClean="0">
                <a:solidFill>
                  <a:srgbClr val="4E81BC"/>
                </a:solidFill>
                <a:latin typeface="+mj-lt"/>
                <a:cs typeface="Calibri"/>
              </a:rPr>
              <a:t>Hierarchical Clustering</a:t>
            </a:r>
            <a:endParaRPr sz="3200" dirty="0">
              <a:latin typeface="+mj-lt"/>
              <a:cs typeface="Calibri"/>
            </a:endParaRPr>
          </a:p>
        </p:txBody>
      </p:sp>
      <p:sp>
        <p:nvSpPr>
          <p:cNvPr id="84" name="object 11"/>
          <p:cNvSpPr txBox="1"/>
          <p:nvPr/>
        </p:nvSpPr>
        <p:spPr>
          <a:xfrm>
            <a:off x="2101916" y="852250"/>
            <a:ext cx="6584884" cy="4318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>
            <a:defPPr>
              <a:defRPr lang="en-US"/>
            </a:defPPr>
            <a:lvl1pPr marL="12700">
              <a:lnSpc>
                <a:spcPts val="3400"/>
              </a:lnSpc>
              <a:spcBef>
                <a:spcPts val="170"/>
              </a:spcBef>
              <a:defRPr sz="4800" spc="0" baseline="1706">
                <a:solidFill>
                  <a:srgbClr val="7F7E7E"/>
                </a:solidFill>
                <a:latin typeface="Calibri"/>
                <a:cs typeface="Calibri"/>
              </a:defRPr>
            </a:lvl1pPr>
          </a:lstStyle>
          <a:p>
            <a:r>
              <a:rPr lang="en-US" dirty="0">
                <a:latin typeface="+mj-lt"/>
              </a:rPr>
              <a:t>If closest </a:t>
            </a:r>
            <a:r>
              <a:rPr lang="en-US" dirty="0" smtClean="0">
                <a:latin typeface="+mj-lt"/>
              </a:rPr>
              <a:t>pair are clusters, same: merge</a:t>
            </a:r>
            <a:endParaRPr dirty="0">
              <a:latin typeface="+mj-lt"/>
            </a:endParaRPr>
          </a:p>
        </p:txBody>
      </p:sp>
      <p:sp>
        <p:nvSpPr>
          <p:cNvPr id="85" name="object 82"/>
          <p:cNvSpPr/>
          <p:nvPr/>
        </p:nvSpPr>
        <p:spPr>
          <a:xfrm>
            <a:off x="4414372" y="54871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6" name="object 84"/>
          <p:cNvSpPr/>
          <p:nvPr/>
        </p:nvSpPr>
        <p:spPr>
          <a:xfrm>
            <a:off x="5399747" y="55212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7" name="object 86"/>
          <p:cNvSpPr/>
          <p:nvPr/>
        </p:nvSpPr>
        <p:spPr>
          <a:xfrm>
            <a:off x="6251551" y="55023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8" name="object 74"/>
          <p:cNvSpPr/>
          <p:nvPr/>
        </p:nvSpPr>
        <p:spPr>
          <a:xfrm>
            <a:off x="2668469" y="519520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9" name="object 72"/>
          <p:cNvSpPr/>
          <p:nvPr/>
        </p:nvSpPr>
        <p:spPr>
          <a:xfrm>
            <a:off x="5959366" y="251737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40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80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0" name="object 70"/>
          <p:cNvSpPr/>
          <p:nvPr/>
        </p:nvSpPr>
        <p:spPr>
          <a:xfrm>
            <a:off x="5560113" y="213564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1" name="object 68"/>
          <p:cNvSpPr/>
          <p:nvPr/>
        </p:nvSpPr>
        <p:spPr>
          <a:xfrm>
            <a:off x="5148028" y="1723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2" name="object 66"/>
          <p:cNvSpPr/>
          <p:nvPr/>
        </p:nvSpPr>
        <p:spPr>
          <a:xfrm>
            <a:off x="6872003" y="34121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6094C9"/>
          </a:solidFill>
          <a:ln w="28575">
            <a:solidFill>
              <a:srgbClr val="46719B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3" name="object 63"/>
          <p:cNvSpPr/>
          <p:nvPr/>
        </p:nvSpPr>
        <p:spPr>
          <a:xfrm>
            <a:off x="5880842" y="502152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6"/>
                </a:lnTo>
                <a:lnTo>
                  <a:pt x="1583" y="198179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6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2"/>
                </a:lnTo>
                <a:lnTo>
                  <a:pt x="49876" y="299561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6"/>
                </a:lnTo>
                <a:lnTo>
                  <a:pt x="196530" y="342926"/>
                </a:lnTo>
                <a:lnTo>
                  <a:pt x="209650" y="339004"/>
                </a:lnTo>
                <a:lnTo>
                  <a:pt x="222295" y="333936"/>
                </a:lnTo>
                <a:lnTo>
                  <a:pt x="234413" y="327778"/>
                </a:lnTo>
                <a:lnTo>
                  <a:pt x="245953" y="320583"/>
                </a:lnTo>
                <a:lnTo>
                  <a:pt x="256864" y="312409"/>
                </a:lnTo>
                <a:lnTo>
                  <a:pt x="267095" y="303311"/>
                </a:lnTo>
                <a:lnTo>
                  <a:pt x="276595" y="293343"/>
                </a:lnTo>
                <a:lnTo>
                  <a:pt x="285312" y="282562"/>
                </a:lnTo>
                <a:lnTo>
                  <a:pt x="293195" y="271023"/>
                </a:lnTo>
                <a:lnTo>
                  <a:pt x="300193" y="258781"/>
                </a:lnTo>
                <a:lnTo>
                  <a:pt x="306255" y="245892"/>
                </a:lnTo>
                <a:lnTo>
                  <a:pt x="311330" y="232411"/>
                </a:lnTo>
                <a:lnTo>
                  <a:pt x="315366" y="218394"/>
                </a:lnTo>
                <a:lnTo>
                  <a:pt x="318312" y="203896"/>
                </a:lnTo>
                <a:lnTo>
                  <a:pt x="320117" y="188973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9" y="93485"/>
                </a:lnTo>
                <a:lnTo>
                  <a:pt x="296006" y="80986"/>
                </a:lnTo>
                <a:lnTo>
                  <a:pt x="288459" y="69169"/>
                </a:lnTo>
                <a:lnTo>
                  <a:pt x="280058" y="58089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4"/>
                </a:lnTo>
                <a:lnTo>
                  <a:pt x="86318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49B9CF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4" name="object 62"/>
          <p:cNvSpPr/>
          <p:nvPr/>
        </p:nvSpPr>
        <p:spPr>
          <a:xfrm>
            <a:off x="4326962" y="34938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5" name="object 60"/>
          <p:cNvSpPr/>
          <p:nvPr/>
        </p:nvSpPr>
        <p:spPr>
          <a:xfrm>
            <a:off x="3451263" y="457102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6" name="object 58"/>
          <p:cNvSpPr/>
          <p:nvPr/>
        </p:nvSpPr>
        <p:spPr>
          <a:xfrm>
            <a:off x="7513462" y="204543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4BAF39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7" name="object 56"/>
          <p:cNvSpPr/>
          <p:nvPr/>
        </p:nvSpPr>
        <p:spPr>
          <a:xfrm>
            <a:off x="6553321" y="196196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8" name="object 54"/>
          <p:cNvSpPr/>
          <p:nvPr/>
        </p:nvSpPr>
        <p:spPr>
          <a:xfrm>
            <a:off x="7353097" y="275391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9" name="object 52"/>
          <p:cNvSpPr/>
          <p:nvPr/>
        </p:nvSpPr>
        <p:spPr>
          <a:xfrm>
            <a:off x="4696124" y="412086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F04C4D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0" name="object 50"/>
          <p:cNvSpPr/>
          <p:nvPr/>
        </p:nvSpPr>
        <p:spPr>
          <a:xfrm>
            <a:off x="4441297" y="46123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F04C4D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1" name="object 48"/>
          <p:cNvSpPr/>
          <p:nvPr/>
        </p:nvSpPr>
        <p:spPr>
          <a:xfrm>
            <a:off x="3130532" y="40499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2" name="object 42"/>
          <p:cNvSpPr/>
          <p:nvPr/>
        </p:nvSpPr>
        <p:spPr>
          <a:xfrm>
            <a:off x="5748103" y="33118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3" name="object 44"/>
          <p:cNvSpPr/>
          <p:nvPr/>
        </p:nvSpPr>
        <p:spPr>
          <a:xfrm>
            <a:off x="5560113" y="25802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4" name="object 46"/>
          <p:cNvSpPr/>
          <p:nvPr/>
        </p:nvSpPr>
        <p:spPr>
          <a:xfrm>
            <a:off x="5421508" y="296447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5" name="object 40"/>
          <p:cNvSpPr/>
          <p:nvPr/>
        </p:nvSpPr>
        <p:spPr>
          <a:xfrm>
            <a:off x="5213120" y="49216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6" name="object 38"/>
          <p:cNvSpPr/>
          <p:nvPr/>
        </p:nvSpPr>
        <p:spPr>
          <a:xfrm>
            <a:off x="7032365" y="221911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7" name="object 36"/>
          <p:cNvSpPr/>
          <p:nvPr/>
        </p:nvSpPr>
        <p:spPr>
          <a:xfrm>
            <a:off x="7385165" y="340218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6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7"/>
                </a:lnTo>
                <a:lnTo>
                  <a:pt x="310251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6094C9"/>
          </a:solidFill>
          <a:ln w="28575">
            <a:solidFill>
              <a:srgbClr val="46719B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8" name="object 34"/>
          <p:cNvSpPr/>
          <p:nvPr/>
        </p:nvSpPr>
        <p:spPr>
          <a:xfrm>
            <a:off x="5038354" y="24830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9" name="object 32"/>
          <p:cNvSpPr/>
          <p:nvPr/>
        </p:nvSpPr>
        <p:spPr>
          <a:xfrm>
            <a:off x="7192732" y="159327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4BAF39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0" name="object 30"/>
          <p:cNvSpPr/>
          <p:nvPr/>
        </p:nvSpPr>
        <p:spPr>
          <a:xfrm>
            <a:off x="6201572" y="316997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1" name="object 28"/>
          <p:cNvSpPr/>
          <p:nvPr/>
        </p:nvSpPr>
        <p:spPr>
          <a:xfrm>
            <a:off x="4877989" y="532865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2" name="object 26"/>
          <p:cNvSpPr/>
          <p:nvPr/>
        </p:nvSpPr>
        <p:spPr>
          <a:xfrm>
            <a:off x="5581873" y="4521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49B9CF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3" name="object 24"/>
          <p:cNvSpPr/>
          <p:nvPr/>
        </p:nvSpPr>
        <p:spPr>
          <a:xfrm>
            <a:off x="3528670" y="35173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4" name="object 22"/>
          <p:cNvSpPr/>
          <p:nvPr/>
        </p:nvSpPr>
        <p:spPr>
          <a:xfrm>
            <a:off x="3252845" y="520650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5" name="object 20"/>
          <p:cNvSpPr/>
          <p:nvPr/>
        </p:nvSpPr>
        <p:spPr>
          <a:xfrm>
            <a:off x="3849401" y="4051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6" name="object 18"/>
          <p:cNvSpPr/>
          <p:nvPr/>
        </p:nvSpPr>
        <p:spPr>
          <a:xfrm>
            <a:off x="6713687" y="269105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7" name="object 6"/>
          <p:cNvSpPr txBox="1"/>
          <p:nvPr/>
        </p:nvSpPr>
        <p:spPr>
          <a:xfrm>
            <a:off x="1332125" y="3759280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sp>
        <p:nvSpPr>
          <p:cNvPr id="118" name="object 5"/>
          <p:cNvSpPr txBox="1"/>
          <p:nvPr/>
        </p:nvSpPr>
        <p:spPr>
          <a:xfrm>
            <a:off x="5426815" y="6116930"/>
            <a:ext cx="542241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Age</a:t>
            </a:r>
            <a:endParaRPr sz="2400">
              <a:cs typeface="Calibri"/>
            </a:endParaRPr>
          </a:p>
        </p:txBody>
      </p:sp>
      <p:grpSp>
        <p:nvGrpSpPr>
          <p:cNvPr id="119" name="Group 118"/>
          <p:cNvGrpSpPr/>
          <p:nvPr/>
        </p:nvGrpSpPr>
        <p:grpSpPr>
          <a:xfrm>
            <a:off x="2383438" y="1888930"/>
            <a:ext cx="6303362" cy="4054670"/>
            <a:chOff x="2343901" y="1923700"/>
            <a:chExt cx="6303362" cy="4054670"/>
          </a:xfrm>
        </p:grpSpPr>
        <p:sp>
          <p:nvSpPr>
            <p:cNvPr id="120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121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</p:spTree>
    <p:extLst>
      <p:ext uri="{BB962C8B-B14F-4D97-AF65-F5344CB8AC3E}">
        <p14:creationId xmlns:p14="http://schemas.microsoft.com/office/powerpoint/2010/main" val="1468572603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3" name="object 10"/>
          <p:cNvSpPr txBox="1"/>
          <p:nvPr/>
        </p:nvSpPr>
        <p:spPr>
          <a:xfrm>
            <a:off x="2101916" y="369650"/>
            <a:ext cx="6296519" cy="4318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3400"/>
              </a:lnSpc>
              <a:spcBef>
                <a:spcPts val="170"/>
              </a:spcBef>
            </a:pPr>
            <a:r>
              <a:rPr lang="en-US" sz="4800" baseline="1706" dirty="0">
                <a:solidFill>
                  <a:srgbClr val="4E81BC"/>
                </a:solidFill>
                <a:latin typeface="+mj-lt"/>
                <a:cs typeface="Calibri"/>
              </a:rPr>
              <a:t>Agglomerative </a:t>
            </a:r>
            <a:r>
              <a:rPr sz="4800" spc="0" baseline="1706" dirty="0" smtClean="0">
                <a:solidFill>
                  <a:srgbClr val="4E81BC"/>
                </a:solidFill>
                <a:latin typeface="+mj-lt"/>
                <a:cs typeface="Calibri"/>
              </a:rPr>
              <a:t>Hierarchical Clustering</a:t>
            </a:r>
            <a:endParaRPr sz="3200" dirty="0">
              <a:latin typeface="+mj-lt"/>
              <a:cs typeface="Calibri"/>
            </a:endParaRPr>
          </a:p>
        </p:txBody>
      </p:sp>
      <p:sp>
        <p:nvSpPr>
          <p:cNvPr id="84" name="object 11"/>
          <p:cNvSpPr txBox="1"/>
          <p:nvPr/>
        </p:nvSpPr>
        <p:spPr>
          <a:xfrm>
            <a:off x="2101916" y="852250"/>
            <a:ext cx="6584884" cy="4318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>
            <a:defPPr>
              <a:defRPr lang="en-US"/>
            </a:defPPr>
            <a:lvl1pPr marL="12700">
              <a:lnSpc>
                <a:spcPts val="3400"/>
              </a:lnSpc>
              <a:spcBef>
                <a:spcPts val="170"/>
              </a:spcBef>
              <a:defRPr sz="4800" spc="0" baseline="1706">
                <a:solidFill>
                  <a:srgbClr val="7F7E7E"/>
                </a:solidFill>
                <a:latin typeface="Calibri"/>
                <a:cs typeface="Calibri"/>
              </a:defRPr>
            </a:lvl1pPr>
          </a:lstStyle>
          <a:p>
            <a:r>
              <a:rPr lang="en-US" dirty="0">
                <a:latin typeface="+mj-lt"/>
              </a:rPr>
              <a:t>If closest </a:t>
            </a:r>
            <a:r>
              <a:rPr lang="en-US" dirty="0" smtClean="0">
                <a:latin typeface="+mj-lt"/>
              </a:rPr>
              <a:t>pair are clusters, same: merge</a:t>
            </a:r>
            <a:endParaRPr dirty="0">
              <a:latin typeface="+mj-lt"/>
            </a:endParaRPr>
          </a:p>
        </p:txBody>
      </p:sp>
      <p:sp>
        <p:nvSpPr>
          <p:cNvPr id="85" name="object 82"/>
          <p:cNvSpPr/>
          <p:nvPr/>
        </p:nvSpPr>
        <p:spPr>
          <a:xfrm>
            <a:off x="4414372" y="54871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6" name="object 84"/>
          <p:cNvSpPr/>
          <p:nvPr/>
        </p:nvSpPr>
        <p:spPr>
          <a:xfrm>
            <a:off x="5399747" y="55212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7" name="object 86"/>
          <p:cNvSpPr/>
          <p:nvPr/>
        </p:nvSpPr>
        <p:spPr>
          <a:xfrm>
            <a:off x="6251551" y="55023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8" name="object 74"/>
          <p:cNvSpPr/>
          <p:nvPr/>
        </p:nvSpPr>
        <p:spPr>
          <a:xfrm>
            <a:off x="2668469" y="519520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9" name="object 72"/>
          <p:cNvSpPr/>
          <p:nvPr/>
        </p:nvSpPr>
        <p:spPr>
          <a:xfrm>
            <a:off x="5959366" y="251737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40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80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0" name="object 70"/>
          <p:cNvSpPr/>
          <p:nvPr/>
        </p:nvSpPr>
        <p:spPr>
          <a:xfrm>
            <a:off x="5560113" y="213564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1" name="object 68"/>
          <p:cNvSpPr/>
          <p:nvPr/>
        </p:nvSpPr>
        <p:spPr>
          <a:xfrm>
            <a:off x="5148028" y="1723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2" name="object 66"/>
          <p:cNvSpPr/>
          <p:nvPr/>
        </p:nvSpPr>
        <p:spPr>
          <a:xfrm>
            <a:off x="6872003" y="34121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6094C9"/>
          </a:solidFill>
          <a:ln w="28575">
            <a:solidFill>
              <a:srgbClr val="46719B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3" name="object 63"/>
          <p:cNvSpPr/>
          <p:nvPr/>
        </p:nvSpPr>
        <p:spPr>
          <a:xfrm>
            <a:off x="5880842" y="502152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6"/>
                </a:lnTo>
                <a:lnTo>
                  <a:pt x="1583" y="198179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6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2"/>
                </a:lnTo>
                <a:lnTo>
                  <a:pt x="49876" y="299561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6"/>
                </a:lnTo>
                <a:lnTo>
                  <a:pt x="196530" y="342926"/>
                </a:lnTo>
                <a:lnTo>
                  <a:pt x="209650" y="339004"/>
                </a:lnTo>
                <a:lnTo>
                  <a:pt x="222295" y="333936"/>
                </a:lnTo>
                <a:lnTo>
                  <a:pt x="234413" y="327778"/>
                </a:lnTo>
                <a:lnTo>
                  <a:pt x="245953" y="320583"/>
                </a:lnTo>
                <a:lnTo>
                  <a:pt x="256864" y="312409"/>
                </a:lnTo>
                <a:lnTo>
                  <a:pt x="267095" y="303311"/>
                </a:lnTo>
                <a:lnTo>
                  <a:pt x="276595" y="293343"/>
                </a:lnTo>
                <a:lnTo>
                  <a:pt x="285312" y="282562"/>
                </a:lnTo>
                <a:lnTo>
                  <a:pt x="293195" y="271023"/>
                </a:lnTo>
                <a:lnTo>
                  <a:pt x="300193" y="258781"/>
                </a:lnTo>
                <a:lnTo>
                  <a:pt x="306255" y="245892"/>
                </a:lnTo>
                <a:lnTo>
                  <a:pt x="311330" y="232411"/>
                </a:lnTo>
                <a:lnTo>
                  <a:pt x="315366" y="218394"/>
                </a:lnTo>
                <a:lnTo>
                  <a:pt x="318312" y="203896"/>
                </a:lnTo>
                <a:lnTo>
                  <a:pt x="320117" y="188973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9" y="93485"/>
                </a:lnTo>
                <a:lnTo>
                  <a:pt x="296006" y="80986"/>
                </a:lnTo>
                <a:lnTo>
                  <a:pt x="288459" y="69169"/>
                </a:lnTo>
                <a:lnTo>
                  <a:pt x="280058" y="58089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4"/>
                </a:lnTo>
                <a:lnTo>
                  <a:pt x="86318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49B9CF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4" name="object 62"/>
          <p:cNvSpPr/>
          <p:nvPr/>
        </p:nvSpPr>
        <p:spPr>
          <a:xfrm>
            <a:off x="4326962" y="34938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5" name="object 60"/>
          <p:cNvSpPr/>
          <p:nvPr/>
        </p:nvSpPr>
        <p:spPr>
          <a:xfrm>
            <a:off x="3451263" y="457102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6" name="object 58"/>
          <p:cNvSpPr/>
          <p:nvPr/>
        </p:nvSpPr>
        <p:spPr>
          <a:xfrm>
            <a:off x="7513462" y="204543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4BAF39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7" name="object 56"/>
          <p:cNvSpPr/>
          <p:nvPr/>
        </p:nvSpPr>
        <p:spPr>
          <a:xfrm>
            <a:off x="6553321" y="196196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8" name="object 54"/>
          <p:cNvSpPr/>
          <p:nvPr/>
        </p:nvSpPr>
        <p:spPr>
          <a:xfrm>
            <a:off x="7353097" y="275391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9" name="object 52"/>
          <p:cNvSpPr/>
          <p:nvPr/>
        </p:nvSpPr>
        <p:spPr>
          <a:xfrm>
            <a:off x="4696124" y="412086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F04C4D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0" name="object 50"/>
          <p:cNvSpPr/>
          <p:nvPr/>
        </p:nvSpPr>
        <p:spPr>
          <a:xfrm>
            <a:off x="4441297" y="46123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F04C4D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1" name="object 48"/>
          <p:cNvSpPr/>
          <p:nvPr/>
        </p:nvSpPr>
        <p:spPr>
          <a:xfrm>
            <a:off x="3130532" y="40499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2" name="object 42"/>
          <p:cNvSpPr/>
          <p:nvPr/>
        </p:nvSpPr>
        <p:spPr>
          <a:xfrm>
            <a:off x="5748103" y="33118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3" name="object 44"/>
          <p:cNvSpPr/>
          <p:nvPr/>
        </p:nvSpPr>
        <p:spPr>
          <a:xfrm>
            <a:off x="5560113" y="25802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4" name="object 46"/>
          <p:cNvSpPr/>
          <p:nvPr/>
        </p:nvSpPr>
        <p:spPr>
          <a:xfrm>
            <a:off x="5421508" y="296447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5" name="object 40"/>
          <p:cNvSpPr/>
          <p:nvPr/>
        </p:nvSpPr>
        <p:spPr>
          <a:xfrm>
            <a:off x="5213120" y="49216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6" name="object 38"/>
          <p:cNvSpPr/>
          <p:nvPr/>
        </p:nvSpPr>
        <p:spPr>
          <a:xfrm>
            <a:off x="7032365" y="221911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7" name="object 36"/>
          <p:cNvSpPr/>
          <p:nvPr/>
        </p:nvSpPr>
        <p:spPr>
          <a:xfrm>
            <a:off x="7385165" y="340218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6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7"/>
                </a:lnTo>
                <a:lnTo>
                  <a:pt x="310251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6094C9"/>
          </a:solidFill>
          <a:ln w="28575">
            <a:solidFill>
              <a:srgbClr val="46719B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8" name="object 34"/>
          <p:cNvSpPr/>
          <p:nvPr/>
        </p:nvSpPr>
        <p:spPr>
          <a:xfrm>
            <a:off x="5038354" y="24830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9" name="object 32"/>
          <p:cNvSpPr/>
          <p:nvPr/>
        </p:nvSpPr>
        <p:spPr>
          <a:xfrm>
            <a:off x="7192732" y="159327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4BAF39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0" name="object 30"/>
          <p:cNvSpPr/>
          <p:nvPr/>
        </p:nvSpPr>
        <p:spPr>
          <a:xfrm>
            <a:off x="6201572" y="316997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1" name="object 28"/>
          <p:cNvSpPr/>
          <p:nvPr/>
        </p:nvSpPr>
        <p:spPr>
          <a:xfrm>
            <a:off x="4877989" y="532865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2" name="object 26"/>
          <p:cNvSpPr/>
          <p:nvPr/>
        </p:nvSpPr>
        <p:spPr>
          <a:xfrm>
            <a:off x="5581873" y="4521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49B9CF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3" name="object 24"/>
          <p:cNvSpPr/>
          <p:nvPr/>
        </p:nvSpPr>
        <p:spPr>
          <a:xfrm>
            <a:off x="3528670" y="35173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4" name="object 22"/>
          <p:cNvSpPr/>
          <p:nvPr/>
        </p:nvSpPr>
        <p:spPr>
          <a:xfrm>
            <a:off x="3252845" y="520650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5" name="object 20"/>
          <p:cNvSpPr/>
          <p:nvPr/>
        </p:nvSpPr>
        <p:spPr>
          <a:xfrm>
            <a:off x="3849401" y="4051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6" name="object 18"/>
          <p:cNvSpPr/>
          <p:nvPr/>
        </p:nvSpPr>
        <p:spPr>
          <a:xfrm>
            <a:off x="6713687" y="269105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7" name="object 6"/>
          <p:cNvSpPr txBox="1"/>
          <p:nvPr/>
        </p:nvSpPr>
        <p:spPr>
          <a:xfrm>
            <a:off x="1332125" y="3759280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sp>
        <p:nvSpPr>
          <p:cNvPr id="118" name="object 5"/>
          <p:cNvSpPr txBox="1"/>
          <p:nvPr/>
        </p:nvSpPr>
        <p:spPr>
          <a:xfrm>
            <a:off x="5426815" y="6116930"/>
            <a:ext cx="542241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Age</a:t>
            </a:r>
            <a:endParaRPr sz="2400">
              <a:cs typeface="Calibri"/>
            </a:endParaRPr>
          </a:p>
        </p:txBody>
      </p:sp>
      <p:grpSp>
        <p:nvGrpSpPr>
          <p:cNvPr id="119" name="Group 118"/>
          <p:cNvGrpSpPr/>
          <p:nvPr/>
        </p:nvGrpSpPr>
        <p:grpSpPr>
          <a:xfrm>
            <a:off x="2383438" y="1888930"/>
            <a:ext cx="6303362" cy="4054670"/>
            <a:chOff x="2343901" y="1923700"/>
            <a:chExt cx="6303362" cy="4054670"/>
          </a:xfrm>
        </p:grpSpPr>
        <p:sp>
          <p:nvSpPr>
            <p:cNvPr id="120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121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</p:spTree>
    <p:extLst>
      <p:ext uri="{BB962C8B-B14F-4D97-AF65-F5344CB8AC3E}">
        <p14:creationId xmlns:p14="http://schemas.microsoft.com/office/powerpoint/2010/main" val="1503470898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3" name="object 10"/>
          <p:cNvSpPr txBox="1"/>
          <p:nvPr/>
        </p:nvSpPr>
        <p:spPr>
          <a:xfrm>
            <a:off x="2101916" y="369650"/>
            <a:ext cx="6296519" cy="4318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3400"/>
              </a:lnSpc>
              <a:spcBef>
                <a:spcPts val="170"/>
              </a:spcBef>
            </a:pPr>
            <a:r>
              <a:rPr lang="en-US" sz="4800" baseline="1706" dirty="0">
                <a:solidFill>
                  <a:srgbClr val="4E81BC"/>
                </a:solidFill>
                <a:latin typeface="+mj-lt"/>
                <a:cs typeface="Calibri"/>
              </a:rPr>
              <a:t>Agglomerative </a:t>
            </a:r>
            <a:r>
              <a:rPr sz="4800" spc="0" baseline="1706" dirty="0" smtClean="0">
                <a:solidFill>
                  <a:srgbClr val="4E81BC"/>
                </a:solidFill>
                <a:latin typeface="+mj-lt"/>
                <a:cs typeface="Calibri"/>
              </a:rPr>
              <a:t>Hierarchical Clustering</a:t>
            </a:r>
            <a:endParaRPr sz="3200" dirty="0">
              <a:latin typeface="+mj-lt"/>
              <a:cs typeface="Calibri"/>
            </a:endParaRPr>
          </a:p>
        </p:txBody>
      </p:sp>
      <p:sp>
        <p:nvSpPr>
          <p:cNvPr id="84" name="object 11"/>
          <p:cNvSpPr txBox="1"/>
          <p:nvPr/>
        </p:nvSpPr>
        <p:spPr>
          <a:xfrm>
            <a:off x="2101916" y="852250"/>
            <a:ext cx="6584884" cy="4318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>
            <a:defPPr>
              <a:defRPr lang="en-US"/>
            </a:defPPr>
            <a:lvl1pPr marL="12700">
              <a:lnSpc>
                <a:spcPts val="3400"/>
              </a:lnSpc>
              <a:spcBef>
                <a:spcPts val="170"/>
              </a:spcBef>
              <a:defRPr sz="4800" spc="0" baseline="1706">
                <a:solidFill>
                  <a:srgbClr val="7F7E7E"/>
                </a:solidFill>
                <a:latin typeface="Calibri"/>
                <a:cs typeface="Calibri"/>
              </a:defRPr>
            </a:lvl1pPr>
          </a:lstStyle>
          <a:p>
            <a:r>
              <a:rPr lang="en-US" dirty="0">
                <a:latin typeface="+mj-lt"/>
              </a:rPr>
              <a:t>If closest </a:t>
            </a:r>
            <a:r>
              <a:rPr lang="en-US" dirty="0" smtClean="0">
                <a:latin typeface="+mj-lt"/>
              </a:rPr>
              <a:t>pair are clusters, same: merge</a:t>
            </a:r>
            <a:endParaRPr dirty="0">
              <a:latin typeface="+mj-lt"/>
            </a:endParaRPr>
          </a:p>
        </p:txBody>
      </p:sp>
      <p:sp>
        <p:nvSpPr>
          <p:cNvPr id="85" name="object 82"/>
          <p:cNvSpPr/>
          <p:nvPr/>
        </p:nvSpPr>
        <p:spPr>
          <a:xfrm>
            <a:off x="4414372" y="54871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6" name="object 84"/>
          <p:cNvSpPr/>
          <p:nvPr/>
        </p:nvSpPr>
        <p:spPr>
          <a:xfrm>
            <a:off x="5399747" y="55212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7" name="object 86"/>
          <p:cNvSpPr/>
          <p:nvPr/>
        </p:nvSpPr>
        <p:spPr>
          <a:xfrm>
            <a:off x="6251551" y="55023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8" name="object 74"/>
          <p:cNvSpPr/>
          <p:nvPr/>
        </p:nvSpPr>
        <p:spPr>
          <a:xfrm>
            <a:off x="2668469" y="519520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9" name="object 72"/>
          <p:cNvSpPr/>
          <p:nvPr/>
        </p:nvSpPr>
        <p:spPr>
          <a:xfrm>
            <a:off x="5959366" y="251737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40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80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0" name="object 70"/>
          <p:cNvSpPr/>
          <p:nvPr/>
        </p:nvSpPr>
        <p:spPr>
          <a:xfrm>
            <a:off x="5560113" y="213564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1" name="object 68"/>
          <p:cNvSpPr/>
          <p:nvPr/>
        </p:nvSpPr>
        <p:spPr>
          <a:xfrm>
            <a:off x="5148028" y="1723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2" name="object 66"/>
          <p:cNvSpPr/>
          <p:nvPr/>
        </p:nvSpPr>
        <p:spPr>
          <a:xfrm>
            <a:off x="6872003" y="34121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6094C9"/>
          </a:solidFill>
          <a:ln w="28575">
            <a:solidFill>
              <a:srgbClr val="46719B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3" name="object 63"/>
          <p:cNvSpPr/>
          <p:nvPr/>
        </p:nvSpPr>
        <p:spPr>
          <a:xfrm>
            <a:off x="5880842" y="502152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6"/>
                </a:lnTo>
                <a:lnTo>
                  <a:pt x="1583" y="198179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6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2"/>
                </a:lnTo>
                <a:lnTo>
                  <a:pt x="49876" y="299561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6"/>
                </a:lnTo>
                <a:lnTo>
                  <a:pt x="196530" y="342926"/>
                </a:lnTo>
                <a:lnTo>
                  <a:pt x="209650" y="339004"/>
                </a:lnTo>
                <a:lnTo>
                  <a:pt x="222295" y="333936"/>
                </a:lnTo>
                <a:lnTo>
                  <a:pt x="234413" y="327778"/>
                </a:lnTo>
                <a:lnTo>
                  <a:pt x="245953" y="320583"/>
                </a:lnTo>
                <a:lnTo>
                  <a:pt x="256864" y="312409"/>
                </a:lnTo>
                <a:lnTo>
                  <a:pt x="267095" y="303311"/>
                </a:lnTo>
                <a:lnTo>
                  <a:pt x="276595" y="293343"/>
                </a:lnTo>
                <a:lnTo>
                  <a:pt x="285312" y="282562"/>
                </a:lnTo>
                <a:lnTo>
                  <a:pt x="293195" y="271023"/>
                </a:lnTo>
                <a:lnTo>
                  <a:pt x="300193" y="258781"/>
                </a:lnTo>
                <a:lnTo>
                  <a:pt x="306255" y="245892"/>
                </a:lnTo>
                <a:lnTo>
                  <a:pt x="311330" y="232411"/>
                </a:lnTo>
                <a:lnTo>
                  <a:pt x="315366" y="218394"/>
                </a:lnTo>
                <a:lnTo>
                  <a:pt x="318312" y="203896"/>
                </a:lnTo>
                <a:lnTo>
                  <a:pt x="320117" y="188973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9" y="93485"/>
                </a:lnTo>
                <a:lnTo>
                  <a:pt x="296006" y="80986"/>
                </a:lnTo>
                <a:lnTo>
                  <a:pt x="288459" y="69169"/>
                </a:lnTo>
                <a:lnTo>
                  <a:pt x="280058" y="58089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4"/>
                </a:lnTo>
                <a:lnTo>
                  <a:pt x="86318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49B9CF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4" name="object 62"/>
          <p:cNvSpPr/>
          <p:nvPr/>
        </p:nvSpPr>
        <p:spPr>
          <a:xfrm>
            <a:off x="4326962" y="34938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5" name="object 60"/>
          <p:cNvSpPr/>
          <p:nvPr/>
        </p:nvSpPr>
        <p:spPr>
          <a:xfrm>
            <a:off x="3451263" y="457102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FF7D22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6" name="object 58"/>
          <p:cNvSpPr/>
          <p:nvPr/>
        </p:nvSpPr>
        <p:spPr>
          <a:xfrm>
            <a:off x="7513462" y="204543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4BAF39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7" name="object 56"/>
          <p:cNvSpPr/>
          <p:nvPr/>
        </p:nvSpPr>
        <p:spPr>
          <a:xfrm>
            <a:off x="6553321" y="196196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8" name="object 54"/>
          <p:cNvSpPr/>
          <p:nvPr/>
        </p:nvSpPr>
        <p:spPr>
          <a:xfrm>
            <a:off x="7353097" y="275391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9" name="object 52"/>
          <p:cNvSpPr/>
          <p:nvPr/>
        </p:nvSpPr>
        <p:spPr>
          <a:xfrm>
            <a:off x="4696124" y="412086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F04C4D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0" name="object 50"/>
          <p:cNvSpPr/>
          <p:nvPr/>
        </p:nvSpPr>
        <p:spPr>
          <a:xfrm>
            <a:off x="4441297" y="46123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F04C4D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1" name="object 48"/>
          <p:cNvSpPr/>
          <p:nvPr/>
        </p:nvSpPr>
        <p:spPr>
          <a:xfrm>
            <a:off x="3130532" y="40499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F7D22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2" name="object 42"/>
          <p:cNvSpPr/>
          <p:nvPr/>
        </p:nvSpPr>
        <p:spPr>
          <a:xfrm>
            <a:off x="5748103" y="33118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3" name="object 44"/>
          <p:cNvSpPr/>
          <p:nvPr/>
        </p:nvSpPr>
        <p:spPr>
          <a:xfrm>
            <a:off x="5560113" y="25802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4" name="object 46"/>
          <p:cNvSpPr/>
          <p:nvPr/>
        </p:nvSpPr>
        <p:spPr>
          <a:xfrm>
            <a:off x="5421508" y="296447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5" name="object 40"/>
          <p:cNvSpPr/>
          <p:nvPr/>
        </p:nvSpPr>
        <p:spPr>
          <a:xfrm>
            <a:off x="5213120" y="49216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6" name="object 38"/>
          <p:cNvSpPr/>
          <p:nvPr/>
        </p:nvSpPr>
        <p:spPr>
          <a:xfrm>
            <a:off x="7032365" y="221911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7" name="object 36"/>
          <p:cNvSpPr/>
          <p:nvPr/>
        </p:nvSpPr>
        <p:spPr>
          <a:xfrm>
            <a:off x="7385165" y="340218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6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7"/>
                </a:lnTo>
                <a:lnTo>
                  <a:pt x="310251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6094C9"/>
          </a:solidFill>
          <a:ln w="28575">
            <a:solidFill>
              <a:srgbClr val="46719B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8" name="object 34"/>
          <p:cNvSpPr/>
          <p:nvPr/>
        </p:nvSpPr>
        <p:spPr>
          <a:xfrm>
            <a:off x="5038354" y="24830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9" name="object 32"/>
          <p:cNvSpPr/>
          <p:nvPr/>
        </p:nvSpPr>
        <p:spPr>
          <a:xfrm>
            <a:off x="7192732" y="159327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4BAF39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0" name="object 30"/>
          <p:cNvSpPr/>
          <p:nvPr/>
        </p:nvSpPr>
        <p:spPr>
          <a:xfrm>
            <a:off x="6201572" y="316997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1" name="object 28"/>
          <p:cNvSpPr/>
          <p:nvPr/>
        </p:nvSpPr>
        <p:spPr>
          <a:xfrm>
            <a:off x="4877989" y="532865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2" name="object 26"/>
          <p:cNvSpPr/>
          <p:nvPr/>
        </p:nvSpPr>
        <p:spPr>
          <a:xfrm>
            <a:off x="5581873" y="4521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49B9CF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3" name="object 24"/>
          <p:cNvSpPr/>
          <p:nvPr/>
        </p:nvSpPr>
        <p:spPr>
          <a:xfrm>
            <a:off x="3528670" y="35173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4" name="object 22"/>
          <p:cNvSpPr/>
          <p:nvPr/>
        </p:nvSpPr>
        <p:spPr>
          <a:xfrm>
            <a:off x="3252845" y="520650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5" name="object 20"/>
          <p:cNvSpPr/>
          <p:nvPr/>
        </p:nvSpPr>
        <p:spPr>
          <a:xfrm>
            <a:off x="3849401" y="4051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6" name="object 18"/>
          <p:cNvSpPr/>
          <p:nvPr/>
        </p:nvSpPr>
        <p:spPr>
          <a:xfrm>
            <a:off x="6713687" y="269105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7" name="object 6"/>
          <p:cNvSpPr txBox="1"/>
          <p:nvPr/>
        </p:nvSpPr>
        <p:spPr>
          <a:xfrm>
            <a:off x="1332125" y="3759280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sp>
        <p:nvSpPr>
          <p:cNvPr id="118" name="object 5"/>
          <p:cNvSpPr txBox="1"/>
          <p:nvPr/>
        </p:nvSpPr>
        <p:spPr>
          <a:xfrm>
            <a:off x="5426815" y="6116930"/>
            <a:ext cx="542241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Age</a:t>
            </a:r>
            <a:endParaRPr sz="2400">
              <a:cs typeface="Calibri"/>
            </a:endParaRPr>
          </a:p>
        </p:txBody>
      </p:sp>
      <p:grpSp>
        <p:nvGrpSpPr>
          <p:cNvPr id="119" name="Group 118"/>
          <p:cNvGrpSpPr/>
          <p:nvPr/>
        </p:nvGrpSpPr>
        <p:grpSpPr>
          <a:xfrm>
            <a:off x="2383438" y="1888930"/>
            <a:ext cx="6303362" cy="4054670"/>
            <a:chOff x="2343901" y="1923700"/>
            <a:chExt cx="6303362" cy="4054670"/>
          </a:xfrm>
        </p:grpSpPr>
        <p:sp>
          <p:nvSpPr>
            <p:cNvPr id="120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121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</p:spTree>
    <p:extLst>
      <p:ext uri="{BB962C8B-B14F-4D97-AF65-F5344CB8AC3E}">
        <p14:creationId xmlns:p14="http://schemas.microsoft.com/office/powerpoint/2010/main" val="4256907286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3" name="object 10"/>
          <p:cNvSpPr txBox="1"/>
          <p:nvPr/>
        </p:nvSpPr>
        <p:spPr>
          <a:xfrm>
            <a:off x="2101916" y="369650"/>
            <a:ext cx="6296519" cy="4318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3400"/>
              </a:lnSpc>
              <a:spcBef>
                <a:spcPts val="170"/>
              </a:spcBef>
            </a:pPr>
            <a:r>
              <a:rPr lang="en-US" sz="4800" baseline="1706" dirty="0">
                <a:solidFill>
                  <a:srgbClr val="4E81BC"/>
                </a:solidFill>
                <a:latin typeface="+mj-lt"/>
                <a:cs typeface="Calibri"/>
              </a:rPr>
              <a:t>Agglomerative </a:t>
            </a:r>
            <a:r>
              <a:rPr sz="4800" spc="0" baseline="1706" dirty="0" smtClean="0">
                <a:solidFill>
                  <a:srgbClr val="4E81BC"/>
                </a:solidFill>
                <a:latin typeface="+mj-lt"/>
                <a:cs typeface="Calibri"/>
              </a:rPr>
              <a:t>Hierarchical Clustering</a:t>
            </a:r>
            <a:endParaRPr sz="3200" dirty="0">
              <a:latin typeface="+mj-lt"/>
              <a:cs typeface="Calibri"/>
            </a:endParaRPr>
          </a:p>
        </p:txBody>
      </p:sp>
      <p:sp>
        <p:nvSpPr>
          <p:cNvPr id="84" name="object 11"/>
          <p:cNvSpPr txBox="1"/>
          <p:nvPr/>
        </p:nvSpPr>
        <p:spPr>
          <a:xfrm>
            <a:off x="2101916" y="852250"/>
            <a:ext cx="6584884" cy="4318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>
            <a:defPPr>
              <a:defRPr lang="en-US"/>
            </a:defPPr>
            <a:lvl1pPr marL="12700">
              <a:lnSpc>
                <a:spcPts val="3400"/>
              </a:lnSpc>
              <a:spcBef>
                <a:spcPts val="170"/>
              </a:spcBef>
              <a:defRPr sz="4800" spc="0" baseline="1706">
                <a:solidFill>
                  <a:srgbClr val="7F7E7E"/>
                </a:solidFill>
                <a:latin typeface="Calibri"/>
                <a:cs typeface="Calibri"/>
              </a:defRPr>
            </a:lvl1pPr>
          </a:lstStyle>
          <a:p>
            <a:r>
              <a:rPr lang="en-US" dirty="0">
                <a:latin typeface="+mj-lt"/>
              </a:rPr>
              <a:t>If closest </a:t>
            </a:r>
            <a:r>
              <a:rPr lang="en-US" dirty="0" smtClean="0">
                <a:latin typeface="+mj-lt"/>
              </a:rPr>
              <a:t>pair are clusters, same: merge</a:t>
            </a:r>
            <a:endParaRPr dirty="0">
              <a:latin typeface="+mj-lt"/>
            </a:endParaRPr>
          </a:p>
        </p:txBody>
      </p:sp>
      <p:sp>
        <p:nvSpPr>
          <p:cNvPr id="85" name="object 82"/>
          <p:cNvSpPr/>
          <p:nvPr/>
        </p:nvSpPr>
        <p:spPr>
          <a:xfrm>
            <a:off x="4414372" y="54871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6" name="object 84"/>
          <p:cNvSpPr/>
          <p:nvPr/>
        </p:nvSpPr>
        <p:spPr>
          <a:xfrm>
            <a:off x="5399747" y="55212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7" name="object 86"/>
          <p:cNvSpPr/>
          <p:nvPr/>
        </p:nvSpPr>
        <p:spPr>
          <a:xfrm>
            <a:off x="6251551" y="55023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8" name="object 74"/>
          <p:cNvSpPr/>
          <p:nvPr/>
        </p:nvSpPr>
        <p:spPr>
          <a:xfrm>
            <a:off x="2668469" y="519520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7F1676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9" name="object 72"/>
          <p:cNvSpPr/>
          <p:nvPr/>
        </p:nvSpPr>
        <p:spPr>
          <a:xfrm>
            <a:off x="5959366" y="251737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40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80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0" name="object 70"/>
          <p:cNvSpPr/>
          <p:nvPr/>
        </p:nvSpPr>
        <p:spPr>
          <a:xfrm>
            <a:off x="5560113" y="213564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1" name="object 68"/>
          <p:cNvSpPr/>
          <p:nvPr/>
        </p:nvSpPr>
        <p:spPr>
          <a:xfrm>
            <a:off x="5148028" y="1723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2" name="object 66"/>
          <p:cNvSpPr/>
          <p:nvPr/>
        </p:nvSpPr>
        <p:spPr>
          <a:xfrm>
            <a:off x="6872003" y="34121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6094C9"/>
          </a:solidFill>
          <a:ln w="28575">
            <a:solidFill>
              <a:srgbClr val="46719B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3" name="object 63"/>
          <p:cNvSpPr/>
          <p:nvPr/>
        </p:nvSpPr>
        <p:spPr>
          <a:xfrm>
            <a:off x="5880842" y="502152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6"/>
                </a:lnTo>
                <a:lnTo>
                  <a:pt x="1583" y="198179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6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2"/>
                </a:lnTo>
                <a:lnTo>
                  <a:pt x="49876" y="299561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6"/>
                </a:lnTo>
                <a:lnTo>
                  <a:pt x="196530" y="342926"/>
                </a:lnTo>
                <a:lnTo>
                  <a:pt x="209650" y="339004"/>
                </a:lnTo>
                <a:lnTo>
                  <a:pt x="222295" y="333936"/>
                </a:lnTo>
                <a:lnTo>
                  <a:pt x="234413" y="327778"/>
                </a:lnTo>
                <a:lnTo>
                  <a:pt x="245953" y="320583"/>
                </a:lnTo>
                <a:lnTo>
                  <a:pt x="256864" y="312409"/>
                </a:lnTo>
                <a:lnTo>
                  <a:pt x="267095" y="303311"/>
                </a:lnTo>
                <a:lnTo>
                  <a:pt x="276595" y="293343"/>
                </a:lnTo>
                <a:lnTo>
                  <a:pt x="285312" y="282562"/>
                </a:lnTo>
                <a:lnTo>
                  <a:pt x="293195" y="271023"/>
                </a:lnTo>
                <a:lnTo>
                  <a:pt x="300193" y="258781"/>
                </a:lnTo>
                <a:lnTo>
                  <a:pt x="306255" y="245892"/>
                </a:lnTo>
                <a:lnTo>
                  <a:pt x="311330" y="232411"/>
                </a:lnTo>
                <a:lnTo>
                  <a:pt x="315366" y="218394"/>
                </a:lnTo>
                <a:lnTo>
                  <a:pt x="318312" y="203896"/>
                </a:lnTo>
                <a:lnTo>
                  <a:pt x="320117" y="188973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9" y="93485"/>
                </a:lnTo>
                <a:lnTo>
                  <a:pt x="296006" y="80986"/>
                </a:lnTo>
                <a:lnTo>
                  <a:pt x="288459" y="69169"/>
                </a:lnTo>
                <a:lnTo>
                  <a:pt x="280058" y="58089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4"/>
                </a:lnTo>
                <a:lnTo>
                  <a:pt x="86318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49B9CF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4" name="object 62"/>
          <p:cNvSpPr/>
          <p:nvPr/>
        </p:nvSpPr>
        <p:spPr>
          <a:xfrm>
            <a:off x="4326962" y="34938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5" name="object 60"/>
          <p:cNvSpPr/>
          <p:nvPr/>
        </p:nvSpPr>
        <p:spPr>
          <a:xfrm>
            <a:off x="3451263" y="457102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FF7D22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6" name="object 58"/>
          <p:cNvSpPr/>
          <p:nvPr/>
        </p:nvSpPr>
        <p:spPr>
          <a:xfrm>
            <a:off x="7513462" y="204543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4BAF39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7" name="object 56"/>
          <p:cNvSpPr/>
          <p:nvPr/>
        </p:nvSpPr>
        <p:spPr>
          <a:xfrm>
            <a:off x="6553321" y="196196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8" name="object 54"/>
          <p:cNvSpPr/>
          <p:nvPr/>
        </p:nvSpPr>
        <p:spPr>
          <a:xfrm>
            <a:off x="7353097" y="275391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9" name="object 52"/>
          <p:cNvSpPr/>
          <p:nvPr/>
        </p:nvSpPr>
        <p:spPr>
          <a:xfrm>
            <a:off x="4696124" y="412086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F04C4D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0" name="object 50"/>
          <p:cNvSpPr/>
          <p:nvPr/>
        </p:nvSpPr>
        <p:spPr>
          <a:xfrm>
            <a:off x="4441297" y="46123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F04C4D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1" name="object 48"/>
          <p:cNvSpPr/>
          <p:nvPr/>
        </p:nvSpPr>
        <p:spPr>
          <a:xfrm>
            <a:off x="3130532" y="40499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F7D22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2" name="object 42"/>
          <p:cNvSpPr/>
          <p:nvPr/>
        </p:nvSpPr>
        <p:spPr>
          <a:xfrm>
            <a:off x="5748103" y="33118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3" name="object 44"/>
          <p:cNvSpPr/>
          <p:nvPr/>
        </p:nvSpPr>
        <p:spPr>
          <a:xfrm>
            <a:off x="5560113" y="25802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4" name="object 46"/>
          <p:cNvSpPr/>
          <p:nvPr/>
        </p:nvSpPr>
        <p:spPr>
          <a:xfrm>
            <a:off x="5421508" y="296447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5" name="object 40"/>
          <p:cNvSpPr/>
          <p:nvPr/>
        </p:nvSpPr>
        <p:spPr>
          <a:xfrm>
            <a:off x="5213120" y="49216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6" name="object 38"/>
          <p:cNvSpPr/>
          <p:nvPr/>
        </p:nvSpPr>
        <p:spPr>
          <a:xfrm>
            <a:off x="7032365" y="221911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7" name="object 36"/>
          <p:cNvSpPr/>
          <p:nvPr/>
        </p:nvSpPr>
        <p:spPr>
          <a:xfrm>
            <a:off x="7385165" y="340218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6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7"/>
                </a:lnTo>
                <a:lnTo>
                  <a:pt x="310251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6094C9"/>
          </a:solidFill>
          <a:ln w="28575">
            <a:solidFill>
              <a:srgbClr val="46719B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8" name="object 34"/>
          <p:cNvSpPr/>
          <p:nvPr/>
        </p:nvSpPr>
        <p:spPr>
          <a:xfrm>
            <a:off x="5038354" y="24830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9" name="object 32"/>
          <p:cNvSpPr/>
          <p:nvPr/>
        </p:nvSpPr>
        <p:spPr>
          <a:xfrm>
            <a:off x="7192732" y="159327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4BAF39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0" name="object 30"/>
          <p:cNvSpPr/>
          <p:nvPr/>
        </p:nvSpPr>
        <p:spPr>
          <a:xfrm>
            <a:off x="6201572" y="316997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1" name="object 28"/>
          <p:cNvSpPr/>
          <p:nvPr/>
        </p:nvSpPr>
        <p:spPr>
          <a:xfrm>
            <a:off x="4877989" y="532865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2" name="object 26"/>
          <p:cNvSpPr/>
          <p:nvPr/>
        </p:nvSpPr>
        <p:spPr>
          <a:xfrm>
            <a:off x="5581873" y="4521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49B9CF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3" name="object 24"/>
          <p:cNvSpPr/>
          <p:nvPr/>
        </p:nvSpPr>
        <p:spPr>
          <a:xfrm>
            <a:off x="3528670" y="35173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4" name="object 22"/>
          <p:cNvSpPr/>
          <p:nvPr/>
        </p:nvSpPr>
        <p:spPr>
          <a:xfrm>
            <a:off x="3252845" y="520650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7F1676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5" name="object 20"/>
          <p:cNvSpPr/>
          <p:nvPr/>
        </p:nvSpPr>
        <p:spPr>
          <a:xfrm>
            <a:off x="3849401" y="4051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6" name="object 18"/>
          <p:cNvSpPr/>
          <p:nvPr/>
        </p:nvSpPr>
        <p:spPr>
          <a:xfrm>
            <a:off x="6713687" y="269105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7" name="object 6"/>
          <p:cNvSpPr txBox="1"/>
          <p:nvPr/>
        </p:nvSpPr>
        <p:spPr>
          <a:xfrm>
            <a:off x="1332125" y="3759280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sp>
        <p:nvSpPr>
          <p:cNvPr id="118" name="object 5"/>
          <p:cNvSpPr txBox="1"/>
          <p:nvPr/>
        </p:nvSpPr>
        <p:spPr>
          <a:xfrm>
            <a:off x="5426815" y="6116930"/>
            <a:ext cx="542241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Age</a:t>
            </a:r>
            <a:endParaRPr sz="2400">
              <a:cs typeface="Calibri"/>
            </a:endParaRPr>
          </a:p>
        </p:txBody>
      </p:sp>
      <p:grpSp>
        <p:nvGrpSpPr>
          <p:cNvPr id="119" name="Group 118"/>
          <p:cNvGrpSpPr/>
          <p:nvPr/>
        </p:nvGrpSpPr>
        <p:grpSpPr>
          <a:xfrm>
            <a:off x="2383438" y="1888930"/>
            <a:ext cx="6303362" cy="4054670"/>
            <a:chOff x="2343901" y="1923700"/>
            <a:chExt cx="6303362" cy="4054670"/>
          </a:xfrm>
        </p:grpSpPr>
        <p:sp>
          <p:nvSpPr>
            <p:cNvPr id="120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121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</p:spTree>
    <p:extLst>
      <p:ext uri="{BB962C8B-B14F-4D97-AF65-F5344CB8AC3E}">
        <p14:creationId xmlns:p14="http://schemas.microsoft.com/office/powerpoint/2010/main" val="1592365077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3" name="object 10"/>
          <p:cNvSpPr txBox="1"/>
          <p:nvPr/>
        </p:nvSpPr>
        <p:spPr>
          <a:xfrm>
            <a:off x="2101916" y="369650"/>
            <a:ext cx="6296519" cy="4318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3400"/>
              </a:lnSpc>
              <a:spcBef>
                <a:spcPts val="170"/>
              </a:spcBef>
            </a:pPr>
            <a:r>
              <a:rPr lang="en-US" sz="4800" baseline="1706" dirty="0">
                <a:solidFill>
                  <a:srgbClr val="4E81BC"/>
                </a:solidFill>
                <a:latin typeface="+mj-lt"/>
                <a:cs typeface="Calibri"/>
              </a:rPr>
              <a:t>Agglomerative </a:t>
            </a:r>
            <a:r>
              <a:rPr sz="4800" spc="0" baseline="1706" dirty="0" smtClean="0">
                <a:solidFill>
                  <a:srgbClr val="4E81BC"/>
                </a:solidFill>
                <a:latin typeface="+mj-lt"/>
                <a:cs typeface="Calibri"/>
              </a:rPr>
              <a:t>Hierarchical Clustering</a:t>
            </a:r>
            <a:endParaRPr sz="3200" dirty="0">
              <a:latin typeface="+mj-lt"/>
              <a:cs typeface="Calibri"/>
            </a:endParaRPr>
          </a:p>
        </p:txBody>
      </p:sp>
      <p:sp>
        <p:nvSpPr>
          <p:cNvPr id="84" name="object 11"/>
          <p:cNvSpPr txBox="1"/>
          <p:nvPr/>
        </p:nvSpPr>
        <p:spPr>
          <a:xfrm>
            <a:off x="2101916" y="852250"/>
            <a:ext cx="6584884" cy="4318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>
            <a:defPPr>
              <a:defRPr lang="en-US"/>
            </a:defPPr>
            <a:lvl1pPr marL="12700">
              <a:lnSpc>
                <a:spcPts val="3400"/>
              </a:lnSpc>
              <a:spcBef>
                <a:spcPts val="170"/>
              </a:spcBef>
              <a:defRPr sz="4800" spc="0" baseline="1706">
                <a:solidFill>
                  <a:srgbClr val="7F7E7E"/>
                </a:solidFill>
                <a:latin typeface="Calibri"/>
                <a:cs typeface="Calibri"/>
              </a:defRPr>
            </a:lvl1pPr>
          </a:lstStyle>
          <a:p>
            <a:r>
              <a:rPr lang="en-US" dirty="0">
                <a:latin typeface="+mj-lt"/>
              </a:rPr>
              <a:t>If closest </a:t>
            </a:r>
            <a:r>
              <a:rPr lang="en-US" dirty="0" smtClean="0">
                <a:latin typeface="+mj-lt"/>
              </a:rPr>
              <a:t>pair are clusters, same: merge</a:t>
            </a:r>
            <a:endParaRPr dirty="0">
              <a:latin typeface="+mj-lt"/>
            </a:endParaRPr>
          </a:p>
        </p:txBody>
      </p:sp>
      <p:sp>
        <p:nvSpPr>
          <p:cNvPr id="85" name="object 82"/>
          <p:cNvSpPr/>
          <p:nvPr/>
        </p:nvSpPr>
        <p:spPr>
          <a:xfrm>
            <a:off x="4414372" y="54871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6" name="object 84"/>
          <p:cNvSpPr/>
          <p:nvPr/>
        </p:nvSpPr>
        <p:spPr>
          <a:xfrm>
            <a:off x="5399747" y="55212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7" name="object 86"/>
          <p:cNvSpPr/>
          <p:nvPr/>
        </p:nvSpPr>
        <p:spPr>
          <a:xfrm>
            <a:off x="6251551" y="55023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8" name="object 74"/>
          <p:cNvSpPr/>
          <p:nvPr/>
        </p:nvSpPr>
        <p:spPr>
          <a:xfrm>
            <a:off x="2668469" y="519520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7F1676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9" name="object 72"/>
          <p:cNvSpPr/>
          <p:nvPr/>
        </p:nvSpPr>
        <p:spPr>
          <a:xfrm>
            <a:off x="5959366" y="251737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40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80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0" name="object 70"/>
          <p:cNvSpPr/>
          <p:nvPr/>
        </p:nvSpPr>
        <p:spPr>
          <a:xfrm>
            <a:off x="5560113" y="213564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1" name="object 68"/>
          <p:cNvSpPr/>
          <p:nvPr/>
        </p:nvSpPr>
        <p:spPr>
          <a:xfrm>
            <a:off x="5148028" y="1723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2" name="object 66"/>
          <p:cNvSpPr/>
          <p:nvPr/>
        </p:nvSpPr>
        <p:spPr>
          <a:xfrm>
            <a:off x="6872003" y="34121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6094C9"/>
          </a:solidFill>
          <a:ln w="28575">
            <a:solidFill>
              <a:srgbClr val="46719B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3" name="object 63"/>
          <p:cNvSpPr/>
          <p:nvPr/>
        </p:nvSpPr>
        <p:spPr>
          <a:xfrm>
            <a:off x="5880842" y="502152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6"/>
                </a:lnTo>
                <a:lnTo>
                  <a:pt x="1583" y="198179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6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2"/>
                </a:lnTo>
                <a:lnTo>
                  <a:pt x="49876" y="299561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6"/>
                </a:lnTo>
                <a:lnTo>
                  <a:pt x="196530" y="342926"/>
                </a:lnTo>
                <a:lnTo>
                  <a:pt x="209650" y="339004"/>
                </a:lnTo>
                <a:lnTo>
                  <a:pt x="222295" y="333936"/>
                </a:lnTo>
                <a:lnTo>
                  <a:pt x="234413" y="327778"/>
                </a:lnTo>
                <a:lnTo>
                  <a:pt x="245953" y="320583"/>
                </a:lnTo>
                <a:lnTo>
                  <a:pt x="256864" y="312409"/>
                </a:lnTo>
                <a:lnTo>
                  <a:pt x="267095" y="303311"/>
                </a:lnTo>
                <a:lnTo>
                  <a:pt x="276595" y="293343"/>
                </a:lnTo>
                <a:lnTo>
                  <a:pt x="285312" y="282562"/>
                </a:lnTo>
                <a:lnTo>
                  <a:pt x="293195" y="271023"/>
                </a:lnTo>
                <a:lnTo>
                  <a:pt x="300193" y="258781"/>
                </a:lnTo>
                <a:lnTo>
                  <a:pt x="306255" y="245892"/>
                </a:lnTo>
                <a:lnTo>
                  <a:pt x="311330" y="232411"/>
                </a:lnTo>
                <a:lnTo>
                  <a:pt x="315366" y="218394"/>
                </a:lnTo>
                <a:lnTo>
                  <a:pt x="318312" y="203896"/>
                </a:lnTo>
                <a:lnTo>
                  <a:pt x="320117" y="188973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9" y="93485"/>
                </a:lnTo>
                <a:lnTo>
                  <a:pt x="296006" y="80986"/>
                </a:lnTo>
                <a:lnTo>
                  <a:pt x="288459" y="69169"/>
                </a:lnTo>
                <a:lnTo>
                  <a:pt x="280058" y="58089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4"/>
                </a:lnTo>
                <a:lnTo>
                  <a:pt x="86318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49B9CF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4" name="object 62"/>
          <p:cNvSpPr/>
          <p:nvPr/>
        </p:nvSpPr>
        <p:spPr>
          <a:xfrm>
            <a:off x="4326962" y="34938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5" name="object 60"/>
          <p:cNvSpPr/>
          <p:nvPr/>
        </p:nvSpPr>
        <p:spPr>
          <a:xfrm>
            <a:off x="3451263" y="457102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FF7D22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6" name="object 58"/>
          <p:cNvSpPr/>
          <p:nvPr/>
        </p:nvSpPr>
        <p:spPr>
          <a:xfrm>
            <a:off x="7513462" y="204543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4BAF39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7" name="object 56"/>
          <p:cNvSpPr/>
          <p:nvPr/>
        </p:nvSpPr>
        <p:spPr>
          <a:xfrm>
            <a:off x="6553321" y="196196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8" name="object 54"/>
          <p:cNvSpPr/>
          <p:nvPr/>
        </p:nvSpPr>
        <p:spPr>
          <a:xfrm>
            <a:off x="7353097" y="275391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9" name="object 52"/>
          <p:cNvSpPr/>
          <p:nvPr/>
        </p:nvSpPr>
        <p:spPr>
          <a:xfrm>
            <a:off x="4696124" y="412086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F04C4D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0" name="object 50"/>
          <p:cNvSpPr/>
          <p:nvPr/>
        </p:nvSpPr>
        <p:spPr>
          <a:xfrm>
            <a:off x="4441297" y="46123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F04C4D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1" name="object 48"/>
          <p:cNvSpPr/>
          <p:nvPr/>
        </p:nvSpPr>
        <p:spPr>
          <a:xfrm>
            <a:off x="3130532" y="40499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F7D22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2" name="object 42"/>
          <p:cNvSpPr/>
          <p:nvPr/>
        </p:nvSpPr>
        <p:spPr>
          <a:xfrm>
            <a:off x="5748103" y="33118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3" name="object 44"/>
          <p:cNvSpPr/>
          <p:nvPr/>
        </p:nvSpPr>
        <p:spPr>
          <a:xfrm>
            <a:off x="5560113" y="25802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4" name="object 46"/>
          <p:cNvSpPr/>
          <p:nvPr/>
        </p:nvSpPr>
        <p:spPr>
          <a:xfrm>
            <a:off x="5421508" y="296447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5" name="object 40"/>
          <p:cNvSpPr/>
          <p:nvPr/>
        </p:nvSpPr>
        <p:spPr>
          <a:xfrm>
            <a:off x="5213120" y="49216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6" name="object 38"/>
          <p:cNvSpPr/>
          <p:nvPr/>
        </p:nvSpPr>
        <p:spPr>
          <a:xfrm>
            <a:off x="7032365" y="221911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7" name="object 36"/>
          <p:cNvSpPr/>
          <p:nvPr/>
        </p:nvSpPr>
        <p:spPr>
          <a:xfrm>
            <a:off x="7385165" y="340218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6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7"/>
                </a:lnTo>
                <a:lnTo>
                  <a:pt x="310251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6094C9"/>
          </a:solidFill>
          <a:ln w="28575">
            <a:solidFill>
              <a:srgbClr val="46719B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8" name="object 34"/>
          <p:cNvSpPr/>
          <p:nvPr/>
        </p:nvSpPr>
        <p:spPr>
          <a:xfrm>
            <a:off x="5038354" y="24830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9" name="object 32"/>
          <p:cNvSpPr/>
          <p:nvPr/>
        </p:nvSpPr>
        <p:spPr>
          <a:xfrm>
            <a:off x="7192732" y="159327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4BAF39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0" name="object 30"/>
          <p:cNvSpPr/>
          <p:nvPr/>
        </p:nvSpPr>
        <p:spPr>
          <a:xfrm>
            <a:off x="6201572" y="316997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1" name="object 28"/>
          <p:cNvSpPr/>
          <p:nvPr/>
        </p:nvSpPr>
        <p:spPr>
          <a:xfrm>
            <a:off x="4877989" y="532865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2" name="object 26"/>
          <p:cNvSpPr/>
          <p:nvPr/>
        </p:nvSpPr>
        <p:spPr>
          <a:xfrm>
            <a:off x="5581873" y="4521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49B9CF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3" name="object 24"/>
          <p:cNvSpPr/>
          <p:nvPr/>
        </p:nvSpPr>
        <p:spPr>
          <a:xfrm>
            <a:off x="3528670" y="35173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4" name="object 22"/>
          <p:cNvSpPr/>
          <p:nvPr/>
        </p:nvSpPr>
        <p:spPr>
          <a:xfrm>
            <a:off x="3252845" y="520650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7F1676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5" name="object 20"/>
          <p:cNvSpPr/>
          <p:nvPr/>
        </p:nvSpPr>
        <p:spPr>
          <a:xfrm>
            <a:off x="3849401" y="4051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6" name="object 18"/>
          <p:cNvSpPr/>
          <p:nvPr/>
        </p:nvSpPr>
        <p:spPr>
          <a:xfrm>
            <a:off x="6713687" y="269105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7" name="object 6"/>
          <p:cNvSpPr txBox="1"/>
          <p:nvPr/>
        </p:nvSpPr>
        <p:spPr>
          <a:xfrm>
            <a:off x="1332125" y="3759280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sp>
        <p:nvSpPr>
          <p:cNvPr id="118" name="object 5"/>
          <p:cNvSpPr txBox="1"/>
          <p:nvPr/>
        </p:nvSpPr>
        <p:spPr>
          <a:xfrm>
            <a:off x="5426815" y="6116930"/>
            <a:ext cx="542241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Age</a:t>
            </a:r>
            <a:endParaRPr sz="2400">
              <a:cs typeface="Calibri"/>
            </a:endParaRPr>
          </a:p>
        </p:txBody>
      </p:sp>
      <p:grpSp>
        <p:nvGrpSpPr>
          <p:cNvPr id="119" name="Group 118"/>
          <p:cNvGrpSpPr/>
          <p:nvPr/>
        </p:nvGrpSpPr>
        <p:grpSpPr>
          <a:xfrm>
            <a:off x="2383438" y="1888930"/>
            <a:ext cx="6303362" cy="4054670"/>
            <a:chOff x="2343901" y="1923700"/>
            <a:chExt cx="6303362" cy="4054670"/>
          </a:xfrm>
        </p:grpSpPr>
        <p:sp>
          <p:nvSpPr>
            <p:cNvPr id="120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121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</p:spTree>
    <p:extLst>
      <p:ext uri="{BB962C8B-B14F-4D97-AF65-F5344CB8AC3E}">
        <p14:creationId xmlns:p14="http://schemas.microsoft.com/office/powerpoint/2010/main" val="2233152795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3" name="object 10"/>
          <p:cNvSpPr txBox="1"/>
          <p:nvPr/>
        </p:nvSpPr>
        <p:spPr>
          <a:xfrm>
            <a:off x="2101916" y="369650"/>
            <a:ext cx="6296519" cy="4318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3400"/>
              </a:lnSpc>
              <a:spcBef>
                <a:spcPts val="170"/>
              </a:spcBef>
            </a:pPr>
            <a:r>
              <a:rPr lang="en-US" sz="4800" baseline="1706" dirty="0">
                <a:solidFill>
                  <a:srgbClr val="4E81BC"/>
                </a:solidFill>
                <a:latin typeface="+mj-lt"/>
                <a:cs typeface="Calibri"/>
              </a:rPr>
              <a:t>Agglomerative </a:t>
            </a:r>
            <a:r>
              <a:rPr sz="4800" spc="0" baseline="1706" dirty="0" smtClean="0">
                <a:solidFill>
                  <a:srgbClr val="4E81BC"/>
                </a:solidFill>
                <a:latin typeface="+mj-lt"/>
                <a:cs typeface="Calibri"/>
              </a:rPr>
              <a:t>Hierarchical Clustering</a:t>
            </a:r>
            <a:endParaRPr sz="3200" dirty="0">
              <a:latin typeface="+mj-lt"/>
              <a:cs typeface="Calibri"/>
            </a:endParaRPr>
          </a:p>
        </p:txBody>
      </p:sp>
      <p:sp>
        <p:nvSpPr>
          <p:cNvPr id="84" name="object 11"/>
          <p:cNvSpPr txBox="1"/>
          <p:nvPr/>
        </p:nvSpPr>
        <p:spPr>
          <a:xfrm>
            <a:off x="2101916" y="852250"/>
            <a:ext cx="6584884" cy="4318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>
            <a:defPPr>
              <a:defRPr lang="en-US"/>
            </a:defPPr>
            <a:lvl1pPr marL="12700">
              <a:lnSpc>
                <a:spcPts val="3400"/>
              </a:lnSpc>
              <a:spcBef>
                <a:spcPts val="170"/>
              </a:spcBef>
              <a:defRPr sz="4800" spc="0" baseline="1706">
                <a:solidFill>
                  <a:srgbClr val="7F7E7E"/>
                </a:solidFill>
                <a:latin typeface="Calibri"/>
                <a:cs typeface="Calibri"/>
              </a:defRPr>
            </a:lvl1pPr>
          </a:lstStyle>
          <a:p>
            <a:r>
              <a:rPr lang="en-US" dirty="0">
                <a:latin typeface="+mj-lt"/>
              </a:rPr>
              <a:t>If closest </a:t>
            </a:r>
            <a:r>
              <a:rPr lang="en-US" dirty="0" smtClean="0">
                <a:latin typeface="+mj-lt"/>
              </a:rPr>
              <a:t>pair are clusters, same: merge</a:t>
            </a:r>
            <a:endParaRPr dirty="0">
              <a:latin typeface="+mj-lt"/>
            </a:endParaRPr>
          </a:p>
        </p:txBody>
      </p:sp>
      <p:sp>
        <p:nvSpPr>
          <p:cNvPr id="85" name="object 82"/>
          <p:cNvSpPr/>
          <p:nvPr/>
        </p:nvSpPr>
        <p:spPr>
          <a:xfrm>
            <a:off x="4414372" y="54871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6" name="object 84"/>
          <p:cNvSpPr/>
          <p:nvPr/>
        </p:nvSpPr>
        <p:spPr>
          <a:xfrm>
            <a:off x="5399747" y="55212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7" name="object 86"/>
          <p:cNvSpPr/>
          <p:nvPr/>
        </p:nvSpPr>
        <p:spPr>
          <a:xfrm>
            <a:off x="6251551" y="55023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8" name="object 74"/>
          <p:cNvSpPr/>
          <p:nvPr/>
        </p:nvSpPr>
        <p:spPr>
          <a:xfrm>
            <a:off x="2668469" y="519520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7F1676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9" name="object 72"/>
          <p:cNvSpPr/>
          <p:nvPr/>
        </p:nvSpPr>
        <p:spPr>
          <a:xfrm>
            <a:off x="5959366" y="251737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40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80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0" name="object 70"/>
          <p:cNvSpPr/>
          <p:nvPr/>
        </p:nvSpPr>
        <p:spPr>
          <a:xfrm>
            <a:off x="5560113" y="213564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1" name="object 68"/>
          <p:cNvSpPr/>
          <p:nvPr/>
        </p:nvSpPr>
        <p:spPr>
          <a:xfrm>
            <a:off x="5148028" y="1723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2" name="object 66"/>
          <p:cNvSpPr/>
          <p:nvPr/>
        </p:nvSpPr>
        <p:spPr>
          <a:xfrm>
            <a:off x="6872003" y="34121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6094C9"/>
          </a:solidFill>
          <a:ln w="28575">
            <a:solidFill>
              <a:srgbClr val="46719B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3" name="object 63"/>
          <p:cNvSpPr/>
          <p:nvPr/>
        </p:nvSpPr>
        <p:spPr>
          <a:xfrm>
            <a:off x="5880842" y="502152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6"/>
                </a:lnTo>
                <a:lnTo>
                  <a:pt x="1583" y="198179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6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2"/>
                </a:lnTo>
                <a:lnTo>
                  <a:pt x="49876" y="299561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6"/>
                </a:lnTo>
                <a:lnTo>
                  <a:pt x="196530" y="342926"/>
                </a:lnTo>
                <a:lnTo>
                  <a:pt x="209650" y="339004"/>
                </a:lnTo>
                <a:lnTo>
                  <a:pt x="222295" y="333936"/>
                </a:lnTo>
                <a:lnTo>
                  <a:pt x="234413" y="327778"/>
                </a:lnTo>
                <a:lnTo>
                  <a:pt x="245953" y="320583"/>
                </a:lnTo>
                <a:lnTo>
                  <a:pt x="256864" y="312409"/>
                </a:lnTo>
                <a:lnTo>
                  <a:pt x="267095" y="303311"/>
                </a:lnTo>
                <a:lnTo>
                  <a:pt x="276595" y="293343"/>
                </a:lnTo>
                <a:lnTo>
                  <a:pt x="285312" y="282562"/>
                </a:lnTo>
                <a:lnTo>
                  <a:pt x="293195" y="271023"/>
                </a:lnTo>
                <a:lnTo>
                  <a:pt x="300193" y="258781"/>
                </a:lnTo>
                <a:lnTo>
                  <a:pt x="306255" y="245892"/>
                </a:lnTo>
                <a:lnTo>
                  <a:pt x="311330" y="232411"/>
                </a:lnTo>
                <a:lnTo>
                  <a:pt x="315366" y="218394"/>
                </a:lnTo>
                <a:lnTo>
                  <a:pt x="318312" y="203896"/>
                </a:lnTo>
                <a:lnTo>
                  <a:pt x="320117" y="188973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9" y="93485"/>
                </a:lnTo>
                <a:lnTo>
                  <a:pt x="296006" y="80986"/>
                </a:lnTo>
                <a:lnTo>
                  <a:pt x="288459" y="69169"/>
                </a:lnTo>
                <a:lnTo>
                  <a:pt x="280058" y="58089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4"/>
                </a:lnTo>
                <a:lnTo>
                  <a:pt x="86318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49B9CF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4" name="object 62"/>
          <p:cNvSpPr/>
          <p:nvPr/>
        </p:nvSpPr>
        <p:spPr>
          <a:xfrm>
            <a:off x="4326962" y="34938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5" name="object 60"/>
          <p:cNvSpPr/>
          <p:nvPr/>
        </p:nvSpPr>
        <p:spPr>
          <a:xfrm>
            <a:off x="3451263" y="457102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FF7D22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6" name="object 58"/>
          <p:cNvSpPr/>
          <p:nvPr/>
        </p:nvSpPr>
        <p:spPr>
          <a:xfrm>
            <a:off x="7513462" y="204543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4BAF39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7" name="object 56"/>
          <p:cNvSpPr/>
          <p:nvPr/>
        </p:nvSpPr>
        <p:spPr>
          <a:xfrm>
            <a:off x="6553321" y="196196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8" name="object 54"/>
          <p:cNvSpPr/>
          <p:nvPr/>
        </p:nvSpPr>
        <p:spPr>
          <a:xfrm>
            <a:off x="7353097" y="275391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9" name="object 52"/>
          <p:cNvSpPr/>
          <p:nvPr/>
        </p:nvSpPr>
        <p:spPr>
          <a:xfrm>
            <a:off x="4696124" y="412086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F04C4D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0" name="object 50"/>
          <p:cNvSpPr/>
          <p:nvPr/>
        </p:nvSpPr>
        <p:spPr>
          <a:xfrm>
            <a:off x="4441297" y="46123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F04C4D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1" name="object 48"/>
          <p:cNvSpPr/>
          <p:nvPr/>
        </p:nvSpPr>
        <p:spPr>
          <a:xfrm>
            <a:off x="3130532" y="40499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F7D22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2" name="object 42"/>
          <p:cNvSpPr/>
          <p:nvPr/>
        </p:nvSpPr>
        <p:spPr>
          <a:xfrm>
            <a:off x="5748103" y="33118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3" name="object 44"/>
          <p:cNvSpPr/>
          <p:nvPr/>
        </p:nvSpPr>
        <p:spPr>
          <a:xfrm>
            <a:off x="5560113" y="25802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4" name="object 46"/>
          <p:cNvSpPr/>
          <p:nvPr/>
        </p:nvSpPr>
        <p:spPr>
          <a:xfrm>
            <a:off x="5421508" y="296447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5" name="object 40"/>
          <p:cNvSpPr/>
          <p:nvPr/>
        </p:nvSpPr>
        <p:spPr>
          <a:xfrm>
            <a:off x="5213120" y="49216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6" name="object 38"/>
          <p:cNvSpPr/>
          <p:nvPr/>
        </p:nvSpPr>
        <p:spPr>
          <a:xfrm>
            <a:off x="7032365" y="221911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7" name="object 36"/>
          <p:cNvSpPr/>
          <p:nvPr/>
        </p:nvSpPr>
        <p:spPr>
          <a:xfrm>
            <a:off x="7385165" y="340218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6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7"/>
                </a:lnTo>
                <a:lnTo>
                  <a:pt x="310251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6094C9"/>
          </a:solidFill>
          <a:ln w="28575">
            <a:solidFill>
              <a:srgbClr val="46719B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8" name="object 34"/>
          <p:cNvSpPr/>
          <p:nvPr/>
        </p:nvSpPr>
        <p:spPr>
          <a:xfrm>
            <a:off x="5038354" y="24830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9" name="object 32"/>
          <p:cNvSpPr/>
          <p:nvPr/>
        </p:nvSpPr>
        <p:spPr>
          <a:xfrm>
            <a:off x="7192732" y="159327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4BAF39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0" name="object 30"/>
          <p:cNvSpPr/>
          <p:nvPr/>
        </p:nvSpPr>
        <p:spPr>
          <a:xfrm>
            <a:off x="6201572" y="316997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1" name="object 28"/>
          <p:cNvSpPr/>
          <p:nvPr/>
        </p:nvSpPr>
        <p:spPr>
          <a:xfrm>
            <a:off x="4877989" y="532865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2" name="object 26"/>
          <p:cNvSpPr/>
          <p:nvPr/>
        </p:nvSpPr>
        <p:spPr>
          <a:xfrm>
            <a:off x="5581873" y="4521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49B9CF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3" name="object 24"/>
          <p:cNvSpPr/>
          <p:nvPr/>
        </p:nvSpPr>
        <p:spPr>
          <a:xfrm>
            <a:off x="3528670" y="35173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4" name="object 22"/>
          <p:cNvSpPr/>
          <p:nvPr/>
        </p:nvSpPr>
        <p:spPr>
          <a:xfrm>
            <a:off x="3252845" y="520650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7F1676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5" name="object 20"/>
          <p:cNvSpPr/>
          <p:nvPr/>
        </p:nvSpPr>
        <p:spPr>
          <a:xfrm>
            <a:off x="3849401" y="4051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6" name="object 18"/>
          <p:cNvSpPr/>
          <p:nvPr/>
        </p:nvSpPr>
        <p:spPr>
          <a:xfrm>
            <a:off x="6713687" y="269105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7" name="object 6"/>
          <p:cNvSpPr txBox="1"/>
          <p:nvPr/>
        </p:nvSpPr>
        <p:spPr>
          <a:xfrm>
            <a:off x="1332125" y="3759280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sp>
        <p:nvSpPr>
          <p:cNvPr id="118" name="object 5"/>
          <p:cNvSpPr txBox="1"/>
          <p:nvPr/>
        </p:nvSpPr>
        <p:spPr>
          <a:xfrm>
            <a:off x="5426815" y="6116930"/>
            <a:ext cx="542241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Age</a:t>
            </a:r>
            <a:endParaRPr sz="2400">
              <a:cs typeface="Calibri"/>
            </a:endParaRPr>
          </a:p>
        </p:txBody>
      </p:sp>
      <p:grpSp>
        <p:nvGrpSpPr>
          <p:cNvPr id="119" name="Group 118"/>
          <p:cNvGrpSpPr/>
          <p:nvPr/>
        </p:nvGrpSpPr>
        <p:grpSpPr>
          <a:xfrm>
            <a:off x="2383438" y="1888930"/>
            <a:ext cx="6303362" cy="4054670"/>
            <a:chOff x="2343901" y="1923700"/>
            <a:chExt cx="6303362" cy="4054670"/>
          </a:xfrm>
        </p:grpSpPr>
        <p:sp>
          <p:nvSpPr>
            <p:cNvPr id="120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121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</p:spTree>
    <p:extLst>
      <p:ext uri="{BB962C8B-B14F-4D97-AF65-F5344CB8AC3E}">
        <p14:creationId xmlns:p14="http://schemas.microsoft.com/office/powerpoint/2010/main" val="1225712810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" name="object 82"/>
          <p:cNvSpPr/>
          <p:nvPr/>
        </p:nvSpPr>
        <p:spPr>
          <a:xfrm>
            <a:off x="4414372" y="54871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4" name="object 84"/>
          <p:cNvSpPr/>
          <p:nvPr/>
        </p:nvSpPr>
        <p:spPr>
          <a:xfrm>
            <a:off x="5399747" y="55212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6" name="object 86"/>
          <p:cNvSpPr/>
          <p:nvPr/>
        </p:nvSpPr>
        <p:spPr>
          <a:xfrm>
            <a:off x="6251551" y="55023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4" name="object 74"/>
          <p:cNvSpPr/>
          <p:nvPr/>
        </p:nvSpPr>
        <p:spPr>
          <a:xfrm>
            <a:off x="2668469" y="519520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2" name="object 72"/>
          <p:cNvSpPr/>
          <p:nvPr/>
        </p:nvSpPr>
        <p:spPr>
          <a:xfrm>
            <a:off x="5959366" y="251737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40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80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0" name="object 70"/>
          <p:cNvSpPr/>
          <p:nvPr/>
        </p:nvSpPr>
        <p:spPr>
          <a:xfrm>
            <a:off x="5560113" y="213564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8" name="object 68"/>
          <p:cNvSpPr/>
          <p:nvPr/>
        </p:nvSpPr>
        <p:spPr>
          <a:xfrm>
            <a:off x="5148028" y="1723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6" name="object 66"/>
          <p:cNvSpPr/>
          <p:nvPr/>
        </p:nvSpPr>
        <p:spPr>
          <a:xfrm>
            <a:off x="6872003" y="34121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3" name="object 63"/>
          <p:cNvSpPr/>
          <p:nvPr/>
        </p:nvSpPr>
        <p:spPr>
          <a:xfrm>
            <a:off x="5880842" y="502152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6"/>
                </a:lnTo>
                <a:lnTo>
                  <a:pt x="1583" y="198179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6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2"/>
                </a:lnTo>
                <a:lnTo>
                  <a:pt x="49876" y="299561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6"/>
                </a:lnTo>
                <a:lnTo>
                  <a:pt x="196530" y="342926"/>
                </a:lnTo>
                <a:lnTo>
                  <a:pt x="209650" y="339004"/>
                </a:lnTo>
                <a:lnTo>
                  <a:pt x="222295" y="333936"/>
                </a:lnTo>
                <a:lnTo>
                  <a:pt x="234413" y="327778"/>
                </a:lnTo>
                <a:lnTo>
                  <a:pt x="245953" y="320583"/>
                </a:lnTo>
                <a:lnTo>
                  <a:pt x="256864" y="312409"/>
                </a:lnTo>
                <a:lnTo>
                  <a:pt x="267095" y="303311"/>
                </a:lnTo>
                <a:lnTo>
                  <a:pt x="276595" y="293343"/>
                </a:lnTo>
                <a:lnTo>
                  <a:pt x="285312" y="282562"/>
                </a:lnTo>
                <a:lnTo>
                  <a:pt x="293195" y="271023"/>
                </a:lnTo>
                <a:lnTo>
                  <a:pt x="300193" y="258781"/>
                </a:lnTo>
                <a:lnTo>
                  <a:pt x="306255" y="245892"/>
                </a:lnTo>
                <a:lnTo>
                  <a:pt x="311330" y="232411"/>
                </a:lnTo>
                <a:lnTo>
                  <a:pt x="315366" y="218394"/>
                </a:lnTo>
                <a:lnTo>
                  <a:pt x="318312" y="203896"/>
                </a:lnTo>
                <a:lnTo>
                  <a:pt x="320117" y="188973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9" y="93485"/>
                </a:lnTo>
                <a:lnTo>
                  <a:pt x="296006" y="80986"/>
                </a:lnTo>
                <a:lnTo>
                  <a:pt x="288459" y="69169"/>
                </a:lnTo>
                <a:lnTo>
                  <a:pt x="280058" y="58089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4"/>
                </a:lnTo>
                <a:lnTo>
                  <a:pt x="86318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2" name="object 62"/>
          <p:cNvSpPr/>
          <p:nvPr/>
        </p:nvSpPr>
        <p:spPr>
          <a:xfrm>
            <a:off x="4326962" y="34938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0" name="object 60"/>
          <p:cNvSpPr/>
          <p:nvPr/>
        </p:nvSpPr>
        <p:spPr>
          <a:xfrm>
            <a:off x="3451263" y="457102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8" name="object 58"/>
          <p:cNvSpPr/>
          <p:nvPr/>
        </p:nvSpPr>
        <p:spPr>
          <a:xfrm>
            <a:off x="7513462" y="204543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6" name="object 56"/>
          <p:cNvSpPr/>
          <p:nvPr/>
        </p:nvSpPr>
        <p:spPr>
          <a:xfrm>
            <a:off x="6553321" y="196196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4" name="object 54"/>
          <p:cNvSpPr/>
          <p:nvPr/>
        </p:nvSpPr>
        <p:spPr>
          <a:xfrm>
            <a:off x="7353097" y="275391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2" name="object 52"/>
          <p:cNvSpPr/>
          <p:nvPr/>
        </p:nvSpPr>
        <p:spPr>
          <a:xfrm>
            <a:off x="4696124" y="412086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0" name="object 50"/>
          <p:cNvSpPr/>
          <p:nvPr/>
        </p:nvSpPr>
        <p:spPr>
          <a:xfrm>
            <a:off x="4441297" y="46123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8" name="object 48"/>
          <p:cNvSpPr/>
          <p:nvPr/>
        </p:nvSpPr>
        <p:spPr>
          <a:xfrm>
            <a:off x="3130532" y="40499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2" name="object 42"/>
          <p:cNvSpPr/>
          <p:nvPr/>
        </p:nvSpPr>
        <p:spPr>
          <a:xfrm>
            <a:off x="5748103" y="33118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4" name="object 44"/>
          <p:cNvSpPr/>
          <p:nvPr/>
        </p:nvSpPr>
        <p:spPr>
          <a:xfrm>
            <a:off x="5560113" y="25802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6" name="object 46"/>
          <p:cNvSpPr/>
          <p:nvPr/>
        </p:nvSpPr>
        <p:spPr>
          <a:xfrm>
            <a:off x="5421508" y="296447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0" name="object 40"/>
          <p:cNvSpPr/>
          <p:nvPr/>
        </p:nvSpPr>
        <p:spPr>
          <a:xfrm>
            <a:off x="5213120" y="49216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8" name="object 38"/>
          <p:cNvSpPr/>
          <p:nvPr/>
        </p:nvSpPr>
        <p:spPr>
          <a:xfrm>
            <a:off x="7032365" y="221911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6" name="object 36"/>
          <p:cNvSpPr/>
          <p:nvPr/>
        </p:nvSpPr>
        <p:spPr>
          <a:xfrm>
            <a:off x="7385165" y="340218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6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7"/>
                </a:lnTo>
                <a:lnTo>
                  <a:pt x="310251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4" name="object 34"/>
          <p:cNvSpPr/>
          <p:nvPr/>
        </p:nvSpPr>
        <p:spPr>
          <a:xfrm>
            <a:off x="5038354" y="24830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2" name="object 32"/>
          <p:cNvSpPr/>
          <p:nvPr/>
        </p:nvSpPr>
        <p:spPr>
          <a:xfrm>
            <a:off x="7192732" y="159327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0" name="object 30"/>
          <p:cNvSpPr/>
          <p:nvPr/>
        </p:nvSpPr>
        <p:spPr>
          <a:xfrm>
            <a:off x="6201572" y="316997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8" name="object 28"/>
          <p:cNvSpPr/>
          <p:nvPr/>
        </p:nvSpPr>
        <p:spPr>
          <a:xfrm>
            <a:off x="4877989" y="532865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6" name="object 26"/>
          <p:cNvSpPr/>
          <p:nvPr/>
        </p:nvSpPr>
        <p:spPr>
          <a:xfrm>
            <a:off x="5581873" y="4521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4" name="object 24"/>
          <p:cNvSpPr/>
          <p:nvPr/>
        </p:nvSpPr>
        <p:spPr>
          <a:xfrm>
            <a:off x="3528670" y="35173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2" name="object 22"/>
          <p:cNvSpPr/>
          <p:nvPr/>
        </p:nvSpPr>
        <p:spPr>
          <a:xfrm>
            <a:off x="3252845" y="520650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0" name="object 20"/>
          <p:cNvSpPr/>
          <p:nvPr/>
        </p:nvSpPr>
        <p:spPr>
          <a:xfrm>
            <a:off x="3849401" y="4051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8" name="object 18"/>
          <p:cNvSpPr/>
          <p:nvPr/>
        </p:nvSpPr>
        <p:spPr>
          <a:xfrm>
            <a:off x="6713687" y="269105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6" name="object 16"/>
          <p:cNvSpPr/>
          <p:nvPr/>
        </p:nvSpPr>
        <p:spPr>
          <a:xfrm>
            <a:off x="3528670" y="2656686"/>
            <a:ext cx="394167" cy="381727"/>
          </a:xfrm>
          <a:custGeom>
            <a:avLst/>
            <a:gdLst/>
            <a:ahLst/>
            <a:cxnLst/>
            <a:rect l="l" t="t" r="r" b="b"/>
            <a:pathLst>
              <a:path w="394167" h="381727">
                <a:moveTo>
                  <a:pt x="0" y="0"/>
                </a:moveTo>
                <a:lnTo>
                  <a:pt x="394167" y="0"/>
                </a:lnTo>
                <a:lnTo>
                  <a:pt x="394167" y="381727"/>
                </a:lnTo>
                <a:lnTo>
                  <a:pt x="0" y="381727"/>
                </a:lnTo>
                <a:lnTo>
                  <a:pt x="0" y="0"/>
                </a:lnTo>
                <a:close/>
              </a:path>
            </a:pathLst>
          </a:custGeom>
          <a:solidFill>
            <a:srgbClr val="AAC56C"/>
          </a:solidFill>
          <a:ln w="57150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" name="object 14"/>
          <p:cNvSpPr/>
          <p:nvPr/>
        </p:nvSpPr>
        <p:spPr>
          <a:xfrm>
            <a:off x="6640250" y="4009392"/>
            <a:ext cx="394168" cy="381727"/>
          </a:xfrm>
          <a:custGeom>
            <a:avLst/>
            <a:gdLst/>
            <a:ahLst/>
            <a:cxnLst/>
            <a:rect l="l" t="t" r="r" b="b"/>
            <a:pathLst>
              <a:path w="394168" h="381727">
                <a:moveTo>
                  <a:pt x="0" y="0"/>
                </a:moveTo>
                <a:lnTo>
                  <a:pt x="394168" y="0"/>
                </a:lnTo>
                <a:lnTo>
                  <a:pt x="394168" y="381727"/>
                </a:lnTo>
                <a:lnTo>
                  <a:pt x="0" y="381727"/>
                </a:lnTo>
                <a:lnTo>
                  <a:pt x="0" y="0"/>
                </a:lnTo>
                <a:close/>
              </a:path>
            </a:pathLst>
          </a:custGeom>
          <a:solidFill>
            <a:srgbClr val="59BAD1"/>
          </a:solidFill>
          <a:ln w="57150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" name="object 12"/>
          <p:cNvSpPr txBox="1"/>
          <p:nvPr/>
        </p:nvSpPr>
        <p:spPr>
          <a:xfrm>
            <a:off x="2101916" y="369650"/>
            <a:ext cx="6584884" cy="431800"/>
          </a:xfrm>
          <a:prstGeom prst="rect">
            <a:avLst/>
          </a:prstGeom>
        </p:spPr>
        <p:txBody>
          <a:bodyPr wrap="none" lIns="0" tIns="0" rIns="0" bIns="0" rtlCol="0">
            <a:noAutofit/>
          </a:bodyPr>
          <a:lstStyle/>
          <a:p>
            <a:pPr marL="12700">
              <a:lnSpc>
                <a:spcPts val="3400"/>
              </a:lnSpc>
              <a:spcBef>
                <a:spcPts val="170"/>
              </a:spcBef>
            </a:pPr>
            <a:r>
              <a:rPr sz="4800" baseline="1706" dirty="0" smtClean="0">
                <a:solidFill>
                  <a:srgbClr val="4E81BC"/>
                </a:solidFill>
                <a:latin typeface="+mj-lt"/>
                <a:cs typeface="Calibri"/>
              </a:rPr>
              <a:t>K‐Means </a:t>
            </a:r>
            <a:r>
              <a:rPr sz="4800" spc="0" baseline="1706" dirty="0" smtClean="0">
                <a:solidFill>
                  <a:srgbClr val="F69545"/>
                </a:solidFill>
                <a:latin typeface="+mj-lt"/>
                <a:cs typeface="Calibri"/>
              </a:rPr>
              <a:t>K=2</a:t>
            </a:r>
            <a:endParaRPr sz="3200" dirty="0">
              <a:latin typeface="+mj-lt"/>
              <a:cs typeface="Calibri"/>
            </a:endParaRPr>
          </a:p>
        </p:txBody>
      </p:sp>
      <p:sp>
        <p:nvSpPr>
          <p:cNvPr id="11" name="object 11"/>
          <p:cNvSpPr txBox="1"/>
          <p:nvPr/>
        </p:nvSpPr>
        <p:spPr>
          <a:xfrm>
            <a:off x="2101916" y="852250"/>
            <a:ext cx="6737284" cy="4318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3400"/>
              </a:lnSpc>
              <a:spcBef>
                <a:spcPts val="170"/>
              </a:spcBef>
            </a:pPr>
            <a:r>
              <a:rPr sz="4800" spc="0" baseline="1706" dirty="0" smtClean="0">
                <a:solidFill>
                  <a:srgbClr val="7F7E7E"/>
                </a:solidFill>
                <a:latin typeface="+mj-lt"/>
                <a:cs typeface="Calibri"/>
              </a:rPr>
              <a:t>Randomly</a:t>
            </a:r>
            <a:r>
              <a:rPr lang="en-US" sz="4800" spc="0" baseline="1706" dirty="0" smtClean="0">
                <a:solidFill>
                  <a:srgbClr val="7F7E7E"/>
                </a:solidFill>
                <a:latin typeface="+mj-lt"/>
                <a:cs typeface="Calibri"/>
              </a:rPr>
              <a:t> assign two cluster centers</a:t>
            </a:r>
            <a:r>
              <a:rPr lang="en-US" sz="4800" spc="0" dirty="0" smtClean="0">
                <a:solidFill>
                  <a:srgbClr val="7F7E7E"/>
                </a:solidFill>
                <a:latin typeface="+mj-lt"/>
                <a:cs typeface="Calibri"/>
              </a:rPr>
              <a:t> </a:t>
            </a:r>
            <a:endParaRPr sz="4800" dirty="0">
              <a:latin typeface="+mj-lt"/>
              <a:cs typeface="Calibri"/>
            </a:endParaRPr>
          </a:p>
        </p:txBody>
      </p:sp>
      <p:sp>
        <p:nvSpPr>
          <p:cNvPr id="6" name="object 6"/>
          <p:cNvSpPr txBox="1"/>
          <p:nvPr/>
        </p:nvSpPr>
        <p:spPr>
          <a:xfrm>
            <a:off x="1332125" y="3759280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sp>
        <p:nvSpPr>
          <p:cNvPr id="5" name="object 5"/>
          <p:cNvSpPr txBox="1"/>
          <p:nvPr/>
        </p:nvSpPr>
        <p:spPr>
          <a:xfrm>
            <a:off x="5426815" y="6116930"/>
            <a:ext cx="542241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Age</a:t>
            </a:r>
            <a:endParaRPr sz="2400">
              <a:cs typeface="Calibri"/>
            </a:endParaRPr>
          </a:p>
        </p:txBody>
      </p:sp>
      <p:sp>
        <p:nvSpPr>
          <p:cNvPr id="3" name="object 3"/>
          <p:cNvSpPr txBox="1"/>
          <p:nvPr/>
        </p:nvSpPr>
        <p:spPr>
          <a:xfrm>
            <a:off x="6640250" y="4009392"/>
            <a:ext cx="394168" cy="38172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2" name="object 2"/>
          <p:cNvSpPr txBox="1"/>
          <p:nvPr/>
        </p:nvSpPr>
        <p:spPr>
          <a:xfrm>
            <a:off x="3528670" y="2656686"/>
            <a:ext cx="394167" cy="38172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grpSp>
        <p:nvGrpSpPr>
          <p:cNvPr id="93" name="Group 92"/>
          <p:cNvGrpSpPr/>
          <p:nvPr/>
        </p:nvGrpSpPr>
        <p:grpSpPr>
          <a:xfrm>
            <a:off x="2383438" y="1888930"/>
            <a:ext cx="6303362" cy="4054670"/>
            <a:chOff x="2343901" y="1923700"/>
            <a:chExt cx="6303362" cy="4054670"/>
          </a:xfrm>
        </p:grpSpPr>
        <p:sp>
          <p:nvSpPr>
            <p:cNvPr id="94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95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</p:spTree>
    <p:extLst>
      <p:ext uri="{BB962C8B-B14F-4D97-AF65-F5344CB8AC3E}">
        <p14:creationId xmlns:p14="http://schemas.microsoft.com/office/powerpoint/2010/main" val="540324788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3" name="object 10"/>
          <p:cNvSpPr txBox="1"/>
          <p:nvPr/>
        </p:nvSpPr>
        <p:spPr>
          <a:xfrm>
            <a:off x="2101916" y="369650"/>
            <a:ext cx="6296519" cy="4318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3400"/>
              </a:lnSpc>
              <a:spcBef>
                <a:spcPts val="170"/>
              </a:spcBef>
            </a:pPr>
            <a:r>
              <a:rPr lang="en-US" sz="4800" baseline="1706" dirty="0">
                <a:solidFill>
                  <a:srgbClr val="4E81BC"/>
                </a:solidFill>
                <a:latin typeface="+mj-lt"/>
                <a:cs typeface="Calibri"/>
              </a:rPr>
              <a:t>Agglomerative </a:t>
            </a:r>
            <a:r>
              <a:rPr sz="4800" spc="0" baseline="1706" dirty="0" smtClean="0">
                <a:solidFill>
                  <a:srgbClr val="4E81BC"/>
                </a:solidFill>
                <a:latin typeface="+mj-lt"/>
                <a:cs typeface="Calibri"/>
              </a:rPr>
              <a:t>Hierarchical Clustering</a:t>
            </a:r>
            <a:endParaRPr sz="3200" dirty="0">
              <a:latin typeface="+mj-lt"/>
              <a:cs typeface="Calibri"/>
            </a:endParaRPr>
          </a:p>
        </p:txBody>
      </p:sp>
      <p:sp>
        <p:nvSpPr>
          <p:cNvPr id="84" name="object 11"/>
          <p:cNvSpPr txBox="1"/>
          <p:nvPr/>
        </p:nvSpPr>
        <p:spPr>
          <a:xfrm>
            <a:off x="2101916" y="852250"/>
            <a:ext cx="6584884" cy="4318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>
            <a:defPPr>
              <a:defRPr lang="en-US"/>
            </a:defPPr>
            <a:lvl1pPr marL="12700">
              <a:lnSpc>
                <a:spcPts val="3400"/>
              </a:lnSpc>
              <a:spcBef>
                <a:spcPts val="170"/>
              </a:spcBef>
              <a:defRPr sz="4800" spc="0" baseline="1706">
                <a:solidFill>
                  <a:srgbClr val="7F7E7E"/>
                </a:solidFill>
                <a:latin typeface="Calibri"/>
                <a:cs typeface="Calibri"/>
              </a:defRPr>
            </a:lvl1pPr>
          </a:lstStyle>
          <a:p>
            <a:r>
              <a:rPr lang="en-US" dirty="0">
                <a:latin typeface="+mj-lt"/>
              </a:rPr>
              <a:t>If closest </a:t>
            </a:r>
            <a:r>
              <a:rPr lang="en-US" dirty="0" smtClean="0">
                <a:latin typeface="+mj-lt"/>
              </a:rPr>
              <a:t>pair are clusters, same: merge</a:t>
            </a:r>
            <a:endParaRPr dirty="0">
              <a:latin typeface="+mj-lt"/>
            </a:endParaRPr>
          </a:p>
        </p:txBody>
      </p:sp>
      <p:sp>
        <p:nvSpPr>
          <p:cNvPr id="85" name="object 82"/>
          <p:cNvSpPr/>
          <p:nvPr/>
        </p:nvSpPr>
        <p:spPr>
          <a:xfrm>
            <a:off x="4414372" y="54871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6" name="object 84"/>
          <p:cNvSpPr/>
          <p:nvPr/>
        </p:nvSpPr>
        <p:spPr>
          <a:xfrm>
            <a:off x="5399747" y="55212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7" name="object 86"/>
          <p:cNvSpPr/>
          <p:nvPr/>
        </p:nvSpPr>
        <p:spPr>
          <a:xfrm>
            <a:off x="6251551" y="55023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8" name="object 74"/>
          <p:cNvSpPr/>
          <p:nvPr/>
        </p:nvSpPr>
        <p:spPr>
          <a:xfrm>
            <a:off x="2668469" y="519520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7F1676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9" name="object 72"/>
          <p:cNvSpPr/>
          <p:nvPr/>
        </p:nvSpPr>
        <p:spPr>
          <a:xfrm>
            <a:off x="5959366" y="251737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40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80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0" name="object 70"/>
          <p:cNvSpPr/>
          <p:nvPr/>
        </p:nvSpPr>
        <p:spPr>
          <a:xfrm>
            <a:off x="5560113" y="213564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1" name="object 68"/>
          <p:cNvSpPr/>
          <p:nvPr/>
        </p:nvSpPr>
        <p:spPr>
          <a:xfrm>
            <a:off x="5148028" y="1723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2" name="object 66"/>
          <p:cNvSpPr/>
          <p:nvPr/>
        </p:nvSpPr>
        <p:spPr>
          <a:xfrm>
            <a:off x="6872003" y="34121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6094C9"/>
          </a:solidFill>
          <a:ln w="28575">
            <a:solidFill>
              <a:srgbClr val="46719B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3" name="object 63"/>
          <p:cNvSpPr/>
          <p:nvPr/>
        </p:nvSpPr>
        <p:spPr>
          <a:xfrm>
            <a:off x="5880842" y="502152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6"/>
                </a:lnTo>
                <a:lnTo>
                  <a:pt x="1583" y="198179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6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2"/>
                </a:lnTo>
                <a:lnTo>
                  <a:pt x="49876" y="299561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6"/>
                </a:lnTo>
                <a:lnTo>
                  <a:pt x="196530" y="342926"/>
                </a:lnTo>
                <a:lnTo>
                  <a:pt x="209650" y="339004"/>
                </a:lnTo>
                <a:lnTo>
                  <a:pt x="222295" y="333936"/>
                </a:lnTo>
                <a:lnTo>
                  <a:pt x="234413" y="327778"/>
                </a:lnTo>
                <a:lnTo>
                  <a:pt x="245953" y="320583"/>
                </a:lnTo>
                <a:lnTo>
                  <a:pt x="256864" y="312409"/>
                </a:lnTo>
                <a:lnTo>
                  <a:pt x="267095" y="303311"/>
                </a:lnTo>
                <a:lnTo>
                  <a:pt x="276595" y="293343"/>
                </a:lnTo>
                <a:lnTo>
                  <a:pt x="285312" y="282562"/>
                </a:lnTo>
                <a:lnTo>
                  <a:pt x="293195" y="271023"/>
                </a:lnTo>
                <a:lnTo>
                  <a:pt x="300193" y="258781"/>
                </a:lnTo>
                <a:lnTo>
                  <a:pt x="306255" y="245892"/>
                </a:lnTo>
                <a:lnTo>
                  <a:pt x="311330" y="232411"/>
                </a:lnTo>
                <a:lnTo>
                  <a:pt x="315366" y="218394"/>
                </a:lnTo>
                <a:lnTo>
                  <a:pt x="318312" y="203896"/>
                </a:lnTo>
                <a:lnTo>
                  <a:pt x="320117" y="188973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9" y="93485"/>
                </a:lnTo>
                <a:lnTo>
                  <a:pt x="296006" y="80986"/>
                </a:lnTo>
                <a:lnTo>
                  <a:pt x="288459" y="69169"/>
                </a:lnTo>
                <a:lnTo>
                  <a:pt x="280058" y="58089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4"/>
                </a:lnTo>
                <a:lnTo>
                  <a:pt x="86318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49B9CF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4" name="object 62"/>
          <p:cNvSpPr/>
          <p:nvPr/>
        </p:nvSpPr>
        <p:spPr>
          <a:xfrm>
            <a:off x="4326962" y="34938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5" name="object 60"/>
          <p:cNvSpPr/>
          <p:nvPr/>
        </p:nvSpPr>
        <p:spPr>
          <a:xfrm>
            <a:off x="3451263" y="457102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6" name="object 58"/>
          <p:cNvSpPr/>
          <p:nvPr/>
        </p:nvSpPr>
        <p:spPr>
          <a:xfrm>
            <a:off x="7513462" y="204543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4BAF39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7" name="object 56"/>
          <p:cNvSpPr/>
          <p:nvPr/>
        </p:nvSpPr>
        <p:spPr>
          <a:xfrm>
            <a:off x="6553321" y="196196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8" name="object 54"/>
          <p:cNvSpPr/>
          <p:nvPr/>
        </p:nvSpPr>
        <p:spPr>
          <a:xfrm>
            <a:off x="7353097" y="275391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9" name="object 52"/>
          <p:cNvSpPr/>
          <p:nvPr/>
        </p:nvSpPr>
        <p:spPr>
          <a:xfrm>
            <a:off x="4696124" y="412086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F04C4D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0" name="object 50"/>
          <p:cNvSpPr/>
          <p:nvPr/>
        </p:nvSpPr>
        <p:spPr>
          <a:xfrm>
            <a:off x="4441297" y="46123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F04C4D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1" name="object 48"/>
          <p:cNvSpPr/>
          <p:nvPr/>
        </p:nvSpPr>
        <p:spPr>
          <a:xfrm>
            <a:off x="3130532" y="40499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2" name="object 42"/>
          <p:cNvSpPr/>
          <p:nvPr/>
        </p:nvSpPr>
        <p:spPr>
          <a:xfrm>
            <a:off x="5748103" y="33118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3" name="object 44"/>
          <p:cNvSpPr/>
          <p:nvPr/>
        </p:nvSpPr>
        <p:spPr>
          <a:xfrm>
            <a:off x="5560113" y="25802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4" name="object 46"/>
          <p:cNvSpPr/>
          <p:nvPr/>
        </p:nvSpPr>
        <p:spPr>
          <a:xfrm>
            <a:off x="5421508" y="296447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5" name="object 40"/>
          <p:cNvSpPr/>
          <p:nvPr/>
        </p:nvSpPr>
        <p:spPr>
          <a:xfrm>
            <a:off x="5213120" y="49216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6" name="object 38"/>
          <p:cNvSpPr/>
          <p:nvPr/>
        </p:nvSpPr>
        <p:spPr>
          <a:xfrm>
            <a:off x="7032365" y="221911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7" name="object 36"/>
          <p:cNvSpPr/>
          <p:nvPr/>
        </p:nvSpPr>
        <p:spPr>
          <a:xfrm>
            <a:off x="7385165" y="340218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6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7"/>
                </a:lnTo>
                <a:lnTo>
                  <a:pt x="310251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6094C9"/>
          </a:solidFill>
          <a:ln w="28575">
            <a:solidFill>
              <a:srgbClr val="46719B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8" name="object 34"/>
          <p:cNvSpPr/>
          <p:nvPr/>
        </p:nvSpPr>
        <p:spPr>
          <a:xfrm>
            <a:off x="5038354" y="24830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9" name="object 32"/>
          <p:cNvSpPr/>
          <p:nvPr/>
        </p:nvSpPr>
        <p:spPr>
          <a:xfrm>
            <a:off x="7192732" y="159327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4BAF39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0" name="object 30"/>
          <p:cNvSpPr/>
          <p:nvPr/>
        </p:nvSpPr>
        <p:spPr>
          <a:xfrm>
            <a:off x="6201572" y="316997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1" name="object 28"/>
          <p:cNvSpPr/>
          <p:nvPr/>
        </p:nvSpPr>
        <p:spPr>
          <a:xfrm>
            <a:off x="4877989" y="532865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2" name="object 26"/>
          <p:cNvSpPr/>
          <p:nvPr/>
        </p:nvSpPr>
        <p:spPr>
          <a:xfrm>
            <a:off x="5581873" y="4521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49B9CF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3" name="object 24"/>
          <p:cNvSpPr/>
          <p:nvPr/>
        </p:nvSpPr>
        <p:spPr>
          <a:xfrm>
            <a:off x="3528670" y="35173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4" name="object 22"/>
          <p:cNvSpPr/>
          <p:nvPr/>
        </p:nvSpPr>
        <p:spPr>
          <a:xfrm>
            <a:off x="3252845" y="520650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7F1676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5" name="object 20"/>
          <p:cNvSpPr/>
          <p:nvPr/>
        </p:nvSpPr>
        <p:spPr>
          <a:xfrm>
            <a:off x="3849401" y="4051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6" name="object 18"/>
          <p:cNvSpPr/>
          <p:nvPr/>
        </p:nvSpPr>
        <p:spPr>
          <a:xfrm>
            <a:off x="6713687" y="269105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7" name="object 6"/>
          <p:cNvSpPr txBox="1"/>
          <p:nvPr/>
        </p:nvSpPr>
        <p:spPr>
          <a:xfrm>
            <a:off x="1332125" y="3759280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sp>
        <p:nvSpPr>
          <p:cNvPr id="118" name="object 5"/>
          <p:cNvSpPr txBox="1"/>
          <p:nvPr/>
        </p:nvSpPr>
        <p:spPr>
          <a:xfrm>
            <a:off x="5426815" y="6116930"/>
            <a:ext cx="542241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Age</a:t>
            </a:r>
            <a:endParaRPr sz="2400">
              <a:cs typeface="Calibri"/>
            </a:endParaRPr>
          </a:p>
        </p:txBody>
      </p:sp>
      <p:grpSp>
        <p:nvGrpSpPr>
          <p:cNvPr id="119" name="Group 118"/>
          <p:cNvGrpSpPr/>
          <p:nvPr/>
        </p:nvGrpSpPr>
        <p:grpSpPr>
          <a:xfrm>
            <a:off x="2383438" y="1888930"/>
            <a:ext cx="6303362" cy="4054670"/>
            <a:chOff x="2343901" y="1923700"/>
            <a:chExt cx="6303362" cy="4054670"/>
          </a:xfrm>
        </p:grpSpPr>
        <p:sp>
          <p:nvSpPr>
            <p:cNvPr id="120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121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</p:spTree>
    <p:extLst>
      <p:ext uri="{BB962C8B-B14F-4D97-AF65-F5344CB8AC3E}">
        <p14:creationId xmlns:p14="http://schemas.microsoft.com/office/powerpoint/2010/main" val="1422771626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3" name="object 10"/>
          <p:cNvSpPr txBox="1"/>
          <p:nvPr/>
        </p:nvSpPr>
        <p:spPr>
          <a:xfrm>
            <a:off x="2101916" y="369650"/>
            <a:ext cx="6296519" cy="4318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3400"/>
              </a:lnSpc>
              <a:spcBef>
                <a:spcPts val="170"/>
              </a:spcBef>
            </a:pPr>
            <a:r>
              <a:rPr lang="en-US" sz="4800" baseline="1706" dirty="0">
                <a:solidFill>
                  <a:srgbClr val="4E81BC"/>
                </a:solidFill>
                <a:latin typeface="+mj-lt"/>
                <a:cs typeface="Calibri"/>
              </a:rPr>
              <a:t>Agglomerative </a:t>
            </a:r>
            <a:r>
              <a:rPr sz="4800" spc="0" baseline="1706" dirty="0" smtClean="0">
                <a:solidFill>
                  <a:srgbClr val="4E81BC"/>
                </a:solidFill>
                <a:latin typeface="+mj-lt"/>
                <a:cs typeface="Calibri"/>
              </a:rPr>
              <a:t>Hierarchical Clustering</a:t>
            </a:r>
            <a:endParaRPr sz="3200" dirty="0">
              <a:latin typeface="+mj-lt"/>
              <a:cs typeface="Calibri"/>
            </a:endParaRPr>
          </a:p>
        </p:txBody>
      </p:sp>
      <p:sp>
        <p:nvSpPr>
          <p:cNvPr id="84" name="object 11"/>
          <p:cNvSpPr txBox="1"/>
          <p:nvPr/>
        </p:nvSpPr>
        <p:spPr>
          <a:xfrm>
            <a:off x="2101916" y="852250"/>
            <a:ext cx="6584884" cy="4318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>
            <a:defPPr>
              <a:defRPr lang="en-US"/>
            </a:defPPr>
            <a:lvl1pPr marL="12700">
              <a:lnSpc>
                <a:spcPts val="3400"/>
              </a:lnSpc>
              <a:spcBef>
                <a:spcPts val="170"/>
              </a:spcBef>
              <a:defRPr sz="4800" spc="0" baseline="1706">
                <a:solidFill>
                  <a:srgbClr val="7F7E7E"/>
                </a:solidFill>
                <a:latin typeface="Calibri"/>
                <a:cs typeface="Calibri"/>
              </a:defRPr>
            </a:lvl1pPr>
          </a:lstStyle>
          <a:p>
            <a:r>
              <a:rPr lang="en-US" dirty="0">
                <a:latin typeface="+mj-lt"/>
              </a:rPr>
              <a:t>If closest </a:t>
            </a:r>
            <a:r>
              <a:rPr lang="en-US" dirty="0" smtClean="0">
                <a:latin typeface="+mj-lt"/>
              </a:rPr>
              <a:t>pair are clusters, same: merge</a:t>
            </a:r>
            <a:endParaRPr dirty="0">
              <a:latin typeface="+mj-lt"/>
            </a:endParaRPr>
          </a:p>
        </p:txBody>
      </p:sp>
      <p:sp>
        <p:nvSpPr>
          <p:cNvPr id="85" name="object 82"/>
          <p:cNvSpPr/>
          <p:nvPr/>
        </p:nvSpPr>
        <p:spPr>
          <a:xfrm>
            <a:off x="4414372" y="54871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6" name="object 84"/>
          <p:cNvSpPr/>
          <p:nvPr/>
        </p:nvSpPr>
        <p:spPr>
          <a:xfrm>
            <a:off x="5399747" y="55212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7" name="object 86"/>
          <p:cNvSpPr/>
          <p:nvPr/>
        </p:nvSpPr>
        <p:spPr>
          <a:xfrm>
            <a:off x="6251551" y="55023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8" name="object 74"/>
          <p:cNvSpPr/>
          <p:nvPr/>
        </p:nvSpPr>
        <p:spPr>
          <a:xfrm>
            <a:off x="2668469" y="519520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7F1676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9" name="object 72"/>
          <p:cNvSpPr/>
          <p:nvPr/>
        </p:nvSpPr>
        <p:spPr>
          <a:xfrm>
            <a:off x="5959366" y="251737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40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80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0" name="object 70"/>
          <p:cNvSpPr/>
          <p:nvPr/>
        </p:nvSpPr>
        <p:spPr>
          <a:xfrm>
            <a:off x="5560113" y="213564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1" name="object 68"/>
          <p:cNvSpPr/>
          <p:nvPr/>
        </p:nvSpPr>
        <p:spPr>
          <a:xfrm>
            <a:off x="5148028" y="1723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2" name="object 66"/>
          <p:cNvSpPr/>
          <p:nvPr/>
        </p:nvSpPr>
        <p:spPr>
          <a:xfrm>
            <a:off x="6872003" y="34121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6094C9"/>
          </a:solidFill>
          <a:ln w="28575">
            <a:solidFill>
              <a:srgbClr val="46719B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3" name="object 63"/>
          <p:cNvSpPr/>
          <p:nvPr/>
        </p:nvSpPr>
        <p:spPr>
          <a:xfrm>
            <a:off x="5880842" y="502152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6"/>
                </a:lnTo>
                <a:lnTo>
                  <a:pt x="1583" y="198179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6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2"/>
                </a:lnTo>
                <a:lnTo>
                  <a:pt x="49876" y="299561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6"/>
                </a:lnTo>
                <a:lnTo>
                  <a:pt x="196530" y="342926"/>
                </a:lnTo>
                <a:lnTo>
                  <a:pt x="209650" y="339004"/>
                </a:lnTo>
                <a:lnTo>
                  <a:pt x="222295" y="333936"/>
                </a:lnTo>
                <a:lnTo>
                  <a:pt x="234413" y="327778"/>
                </a:lnTo>
                <a:lnTo>
                  <a:pt x="245953" y="320583"/>
                </a:lnTo>
                <a:lnTo>
                  <a:pt x="256864" y="312409"/>
                </a:lnTo>
                <a:lnTo>
                  <a:pt x="267095" y="303311"/>
                </a:lnTo>
                <a:lnTo>
                  <a:pt x="276595" y="293343"/>
                </a:lnTo>
                <a:lnTo>
                  <a:pt x="285312" y="282562"/>
                </a:lnTo>
                <a:lnTo>
                  <a:pt x="293195" y="271023"/>
                </a:lnTo>
                <a:lnTo>
                  <a:pt x="300193" y="258781"/>
                </a:lnTo>
                <a:lnTo>
                  <a:pt x="306255" y="245892"/>
                </a:lnTo>
                <a:lnTo>
                  <a:pt x="311330" y="232411"/>
                </a:lnTo>
                <a:lnTo>
                  <a:pt x="315366" y="218394"/>
                </a:lnTo>
                <a:lnTo>
                  <a:pt x="318312" y="203896"/>
                </a:lnTo>
                <a:lnTo>
                  <a:pt x="320117" y="188973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9" y="93485"/>
                </a:lnTo>
                <a:lnTo>
                  <a:pt x="296006" y="80986"/>
                </a:lnTo>
                <a:lnTo>
                  <a:pt x="288459" y="69169"/>
                </a:lnTo>
                <a:lnTo>
                  <a:pt x="280058" y="58089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4"/>
                </a:lnTo>
                <a:lnTo>
                  <a:pt x="86318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49B9CF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4" name="object 62"/>
          <p:cNvSpPr/>
          <p:nvPr/>
        </p:nvSpPr>
        <p:spPr>
          <a:xfrm>
            <a:off x="4326962" y="34938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5" name="object 60"/>
          <p:cNvSpPr/>
          <p:nvPr/>
        </p:nvSpPr>
        <p:spPr>
          <a:xfrm>
            <a:off x="3451263" y="457102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6" name="object 58"/>
          <p:cNvSpPr/>
          <p:nvPr/>
        </p:nvSpPr>
        <p:spPr>
          <a:xfrm>
            <a:off x="7513462" y="204543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4BAF39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7" name="object 56"/>
          <p:cNvSpPr/>
          <p:nvPr/>
        </p:nvSpPr>
        <p:spPr>
          <a:xfrm>
            <a:off x="6553321" y="196196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8" name="object 54"/>
          <p:cNvSpPr/>
          <p:nvPr/>
        </p:nvSpPr>
        <p:spPr>
          <a:xfrm>
            <a:off x="7353097" y="275391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9" name="object 52"/>
          <p:cNvSpPr/>
          <p:nvPr/>
        </p:nvSpPr>
        <p:spPr>
          <a:xfrm>
            <a:off x="4696124" y="412086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F04C4D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0" name="object 50"/>
          <p:cNvSpPr/>
          <p:nvPr/>
        </p:nvSpPr>
        <p:spPr>
          <a:xfrm>
            <a:off x="4441297" y="46123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F04C4D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1" name="object 48"/>
          <p:cNvSpPr/>
          <p:nvPr/>
        </p:nvSpPr>
        <p:spPr>
          <a:xfrm>
            <a:off x="3130532" y="40499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2" name="object 42"/>
          <p:cNvSpPr/>
          <p:nvPr/>
        </p:nvSpPr>
        <p:spPr>
          <a:xfrm>
            <a:off x="5748103" y="33118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3" name="object 44"/>
          <p:cNvSpPr/>
          <p:nvPr/>
        </p:nvSpPr>
        <p:spPr>
          <a:xfrm>
            <a:off x="5560113" y="25802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4" name="object 46"/>
          <p:cNvSpPr/>
          <p:nvPr/>
        </p:nvSpPr>
        <p:spPr>
          <a:xfrm>
            <a:off x="5421508" y="296447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5" name="object 40"/>
          <p:cNvSpPr/>
          <p:nvPr/>
        </p:nvSpPr>
        <p:spPr>
          <a:xfrm>
            <a:off x="5213120" y="49216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6" name="object 38"/>
          <p:cNvSpPr/>
          <p:nvPr/>
        </p:nvSpPr>
        <p:spPr>
          <a:xfrm>
            <a:off x="7032365" y="221911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7" name="object 36"/>
          <p:cNvSpPr/>
          <p:nvPr/>
        </p:nvSpPr>
        <p:spPr>
          <a:xfrm>
            <a:off x="7385165" y="340218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6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7"/>
                </a:lnTo>
                <a:lnTo>
                  <a:pt x="310251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6094C9"/>
          </a:solidFill>
          <a:ln w="28575">
            <a:solidFill>
              <a:srgbClr val="46719B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8" name="object 34"/>
          <p:cNvSpPr/>
          <p:nvPr/>
        </p:nvSpPr>
        <p:spPr>
          <a:xfrm>
            <a:off x="5038354" y="24830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9" name="object 32"/>
          <p:cNvSpPr/>
          <p:nvPr/>
        </p:nvSpPr>
        <p:spPr>
          <a:xfrm>
            <a:off x="7192732" y="159327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4BAF39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0" name="object 30"/>
          <p:cNvSpPr/>
          <p:nvPr/>
        </p:nvSpPr>
        <p:spPr>
          <a:xfrm>
            <a:off x="6201572" y="316997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1" name="object 28"/>
          <p:cNvSpPr/>
          <p:nvPr/>
        </p:nvSpPr>
        <p:spPr>
          <a:xfrm>
            <a:off x="4877989" y="532865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2" name="object 26"/>
          <p:cNvSpPr/>
          <p:nvPr/>
        </p:nvSpPr>
        <p:spPr>
          <a:xfrm>
            <a:off x="5581873" y="4521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49B9CF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3" name="object 24"/>
          <p:cNvSpPr/>
          <p:nvPr/>
        </p:nvSpPr>
        <p:spPr>
          <a:xfrm>
            <a:off x="3528670" y="35173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4" name="object 22"/>
          <p:cNvSpPr/>
          <p:nvPr/>
        </p:nvSpPr>
        <p:spPr>
          <a:xfrm>
            <a:off x="3252845" y="520650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7F1676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5" name="object 20"/>
          <p:cNvSpPr/>
          <p:nvPr/>
        </p:nvSpPr>
        <p:spPr>
          <a:xfrm>
            <a:off x="3849401" y="4051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6" name="object 18"/>
          <p:cNvSpPr/>
          <p:nvPr/>
        </p:nvSpPr>
        <p:spPr>
          <a:xfrm>
            <a:off x="6713687" y="269105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7" name="object 6"/>
          <p:cNvSpPr txBox="1"/>
          <p:nvPr/>
        </p:nvSpPr>
        <p:spPr>
          <a:xfrm>
            <a:off x="1332125" y="3759280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sp>
        <p:nvSpPr>
          <p:cNvPr id="118" name="object 5"/>
          <p:cNvSpPr txBox="1"/>
          <p:nvPr/>
        </p:nvSpPr>
        <p:spPr>
          <a:xfrm>
            <a:off x="5426815" y="6116930"/>
            <a:ext cx="542241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Age</a:t>
            </a:r>
            <a:endParaRPr sz="2400">
              <a:cs typeface="Calibri"/>
            </a:endParaRPr>
          </a:p>
        </p:txBody>
      </p:sp>
      <p:grpSp>
        <p:nvGrpSpPr>
          <p:cNvPr id="119" name="Group 118"/>
          <p:cNvGrpSpPr/>
          <p:nvPr/>
        </p:nvGrpSpPr>
        <p:grpSpPr>
          <a:xfrm>
            <a:off x="2383438" y="1888930"/>
            <a:ext cx="6303362" cy="4054670"/>
            <a:chOff x="2343901" y="1923700"/>
            <a:chExt cx="6303362" cy="4054670"/>
          </a:xfrm>
        </p:grpSpPr>
        <p:sp>
          <p:nvSpPr>
            <p:cNvPr id="120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121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</p:spTree>
    <p:extLst>
      <p:ext uri="{BB962C8B-B14F-4D97-AF65-F5344CB8AC3E}">
        <p14:creationId xmlns:p14="http://schemas.microsoft.com/office/powerpoint/2010/main" val="2126664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3" name="object 10"/>
          <p:cNvSpPr txBox="1"/>
          <p:nvPr/>
        </p:nvSpPr>
        <p:spPr>
          <a:xfrm>
            <a:off x="2101916" y="369650"/>
            <a:ext cx="6296519" cy="4318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3400"/>
              </a:lnSpc>
              <a:spcBef>
                <a:spcPts val="170"/>
              </a:spcBef>
            </a:pPr>
            <a:r>
              <a:rPr lang="en-US" sz="4800" baseline="1706" dirty="0">
                <a:solidFill>
                  <a:srgbClr val="4E81BC"/>
                </a:solidFill>
                <a:latin typeface="+mj-lt"/>
                <a:cs typeface="Calibri"/>
              </a:rPr>
              <a:t>Agglomerative </a:t>
            </a:r>
            <a:r>
              <a:rPr sz="4800" spc="0" baseline="1706" dirty="0" smtClean="0">
                <a:solidFill>
                  <a:srgbClr val="4E81BC"/>
                </a:solidFill>
                <a:latin typeface="+mj-lt"/>
                <a:cs typeface="Calibri"/>
              </a:rPr>
              <a:t>Hierarchical Clustering</a:t>
            </a:r>
            <a:endParaRPr sz="3200" dirty="0">
              <a:latin typeface="+mj-lt"/>
              <a:cs typeface="Calibri"/>
            </a:endParaRPr>
          </a:p>
        </p:txBody>
      </p:sp>
      <p:sp>
        <p:nvSpPr>
          <p:cNvPr id="84" name="object 11"/>
          <p:cNvSpPr txBox="1"/>
          <p:nvPr/>
        </p:nvSpPr>
        <p:spPr>
          <a:xfrm>
            <a:off x="2101916" y="852250"/>
            <a:ext cx="6584884" cy="4318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>
            <a:defPPr>
              <a:defRPr lang="en-US"/>
            </a:defPPr>
            <a:lvl1pPr marL="12700">
              <a:lnSpc>
                <a:spcPts val="3400"/>
              </a:lnSpc>
              <a:spcBef>
                <a:spcPts val="170"/>
              </a:spcBef>
              <a:defRPr sz="4800" spc="0" baseline="1706">
                <a:solidFill>
                  <a:srgbClr val="7F7E7E"/>
                </a:solidFill>
                <a:latin typeface="Calibri"/>
                <a:cs typeface="Calibri"/>
              </a:defRPr>
            </a:lvl1pPr>
          </a:lstStyle>
          <a:p>
            <a:r>
              <a:rPr lang="en-US" dirty="0">
                <a:latin typeface="+mj-lt"/>
              </a:rPr>
              <a:t>If closest </a:t>
            </a:r>
            <a:r>
              <a:rPr lang="en-US" dirty="0" smtClean="0">
                <a:latin typeface="+mj-lt"/>
              </a:rPr>
              <a:t>pair are clusters, same: merge</a:t>
            </a:r>
            <a:endParaRPr dirty="0">
              <a:latin typeface="+mj-lt"/>
            </a:endParaRPr>
          </a:p>
        </p:txBody>
      </p:sp>
      <p:sp>
        <p:nvSpPr>
          <p:cNvPr id="85" name="object 82"/>
          <p:cNvSpPr/>
          <p:nvPr/>
        </p:nvSpPr>
        <p:spPr>
          <a:xfrm>
            <a:off x="4414372" y="54871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6" name="object 84"/>
          <p:cNvSpPr/>
          <p:nvPr/>
        </p:nvSpPr>
        <p:spPr>
          <a:xfrm>
            <a:off x="5399747" y="55212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7" name="object 86"/>
          <p:cNvSpPr/>
          <p:nvPr/>
        </p:nvSpPr>
        <p:spPr>
          <a:xfrm>
            <a:off x="6251551" y="55023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8" name="object 74"/>
          <p:cNvSpPr/>
          <p:nvPr/>
        </p:nvSpPr>
        <p:spPr>
          <a:xfrm>
            <a:off x="2668469" y="519520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7F1676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9" name="object 72"/>
          <p:cNvSpPr/>
          <p:nvPr/>
        </p:nvSpPr>
        <p:spPr>
          <a:xfrm>
            <a:off x="5959366" y="251737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40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80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0" name="object 70"/>
          <p:cNvSpPr/>
          <p:nvPr/>
        </p:nvSpPr>
        <p:spPr>
          <a:xfrm>
            <a:off x="5560113" y="213564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1" name="object 68"/>
          <p:cNvSpPr/>
          <p:nvPr/>
        </p:nvSpPr>
        <p:spPr>
          <a:xfrm>
            <a:off x="5148028" y="1723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2" name="object 66"/>
          <p:cNvSpPr/>
          <p:nvPr/>
        </p:nvSpPr>
        <p:spPr>
          <a:xfrm>
            <a:off x="6872003" y="34121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6094C9"/>
          </a:solidFill>
          <a:ln w="28575">
            <a:solidFill>
              <a:srgbClr val="46719B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3" name="object 63"/>
          <p:cNvSpPr/>
          <p:nvPr/>
        </p:nvSpPr>
        <p:spPr>
          <a:xfrm>
            <a:off x="5880842" y="502152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6"/>
                </a:lnTo>
                <a:lnTo>
                  <a:pt x="1583" y="198179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6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2"/>
                </a:lnTo>
                <a:lnTo>
                  <a:pt x="49876" y="299561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6"/>
                </a:lnTo>
                <a:lnTo>
                  <a:pt x="196530" y="342926"/>
                </a:lnTo>
                <a:lnTo>
                  <a:pt x="209650" y="339004"/>
                </a:lnTo>
                <a:lnTo>
                  <a:pt x="222295" y="333936"/>
                </a:lnTo>
                <a:lnTo>
                  <a:pt x="234413" y="327778"/>
                </a:lnTo>
                <a:lnTo>
                  <a:pt x="245953" y="320583"/>
                </a:lnTo>
                <a:lnTo>
                  <a:pt x="256864" y="312409"/>
                </a:lnTo>
                <a:lnTo>
                  <a:pt x="267095" y="303311"/>
                </a:lnTo>
                <a:lnTo>
                  <a:pt x="276595" y="293343"/>
                </a:lnTo>
                <a:lnTo>
                  <a:pt x="285312" y="282562"/>
                </a:lnTo>
                <a:lnTo>
                  <a:pt x="293195" y="271023"/>
                </a:lnTo>
                <a:lnTo>
                  <a:pt x="300193" y="258781"/>
                </a:lnTo>
                <a:lnTo>
                  <a:pt x="306255" y="245892"/>
                </a:lnTo>
                <a:lnTo>
                  <a:pt x="311330" y="232411"/>
                </a:lnTo>
                <a:lnTo>
                  <a:pt x="315366" y="218394"/>
                </a:lnTo>
                <a:lnTo>
                  <a:pt x="318312" y="203896"/>
                </a:lnTo>
                <a:lnTo>
                  <a:pt x="320117" y="188973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9" y="93485"/>
                </a:lnTo>
                <a:lnTo>
                  <a:pt x="296006" y="80986"/>
                </a:lnTo>
                <a:lnTo>
                  <a:pt x="288459" y="69169"/>
                </a:lnTo>
                <a:lnTo>
                  <a:pt x="280058" y="58089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4"/>
                </a:lnTo>
                <a:lnTo>
                  <a:pt x="86318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4" name="object 62"/>
          <p:cNvSpPr/>
          <p:nvPr/>
        </p:nvSpPr>
        <p:spPr>
          <a:xfrm>
            <a:off x="4326962" y="34938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5" name="object 60"/>
          <p:cNvSpPr/>
          <p:nvPr/>
        </p:nvSpPr>
        <p:spPr>
          <a:xfrm>
            <a:off x="3451263" y="457102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6" name="object 58"/>
          <p:cNvSpPr/>
          <p:nvPr/>
        </p:nvSpPr>
        <p:spPr>
          <a:xfrm>
            <a:off x="7513462" y="204543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4BAF39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7" name="object 56"/>
          <p:cNvSpPr/>
          <p:nvPr/>
        </p:nvSpPr>
        <p:spPr>
          <a:xfrm>
            <a:off x="6553321" y="196196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8" name="object 54"/>
          <p:cNvSpPr/>
          <p:nvPr/>
        </p:nvSpPr>
        <p:spPr>
          <a:xfrm>
            <a:off x="7353097" y="275391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9" name="object 52"/>
          <p:cNvSpPr/>
          <p:nvPr/>
        </p:nvSpPr>
        <p:spPr>
          <a:xfrm>
            <a:off x="4696124" y="412086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F04C4D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0" name="object 50"/>
          <p:cNvSpPr/>
          <p:nvPr/>
        </p:nvSpPr>
        <p:spPr>
          <a:xfrm>
            <a:off x="4441297" y="46123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F04C4D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1" name="object 48"/>
          <p:cNvSpPr/>
          <p:nvPr/>
        </p:nvSpPr>
        <p:spPr>
          <a:xfrm>
            <a:off x="3130532" y="40499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2" name="object 42"/>
          <p:cNvSpPr/>
          <p:nvPr/>
        </p:nvSpPr>
        <p:spPr>
          <a:xfrm>
            <a:off x="5748103" y="33118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3" name="object 44"/>
          <p:cNvSpPr/>
          <p:nvPr/>
        </p:nvSpPr>
        <p:spPr>
          <a:xfrm>
            <a:off x="5560113" y="25802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4" name="object 46"/>
          <p:cNvSpPr/>
          <p:nvPr/>
        </p:nvSpPr>
        <p:spPr>
          <a:xfrm>
            <a:off x="5421508" y="296447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5" name="object 40"/>
          <p:cNvSpPr/>
          <p:nvPr/>
        </p:nvSpPr>
        <p:spPr>
          <a:xfrm>
            <a:off x="5213120" y="49216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6" name="object 38"/>
          <p:cNvSpPr/>
          <p:nvPr/>
        </p:nvSpPr>
        <p:spPr>
          <a:xfrm>
            <a:off x="7032365" y="221911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7" name="object 36"/>
          <p:cNvSpPr/>
          <p:nvPr/>
        </p:nvSpPr>
        <p:spPr>
          <a:xfrm>
            <a:off x="7385165" y="340218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6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7"/>
                </a:lnTo>
                <a:lnTo>
                  <a:pt x="310251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6094C9"/>
          </a:solidFill>
          <a:ln w="28575">
            <a:solidFill>
              <a:srgbClr val="46719B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8" name="object 34"/>
          <p:cNvSpPr/>
          <p:nvPr/>
        </p:nvSpPr>
        <p:spPr>
          <a:xfrm>
            <a:off x="5038354" y="24830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9" name="object 32"/>
          <p:cNvSpPr/>
          <p:nvPr/>
        </p:nvSpPr>
        <p:spPr>
          <a:xfrm>
            <a:off x="7192732" y="159327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4BAF39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0" name="object 30"/>
          <p:cNvSpPr/>
          <p:nvPr/>
        </p:nvSpPr>
        <p:spPr>
          <a:xfrm>
            <a:off x="6201572" y="316997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1" name="object 28"/>
          <p:cNvSpPr/>
          <p:nvPr/>
        </p:nvSpPr>
        <p:spPr>
          <a:xfrm>
            <a:off x="4877989" y="532865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2" name="object 26"/>
          <p:cNvSpPr/>
          <p:nvPr/>
        </p:nvSpPr>
        <p:spPr>
          <a:xfrm>
            <a:off x="5581873" y="4521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3" name="object 24"/>
          <p:cNvSpPr/>
          <p:nvPr/>
        </p:nvSpPr>
        <p:spPr>
          <a:xfrm>
            <a:off x="3528670" y="35173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4" name="object 22"/>
          <p:cNvSpPr/>
          <p:nvPr/>
        </p:nvSpPr>
        <p:spPr>
          <a:xfrm>
            <a:off x="3252845" y="520650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7F1676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5" name="object 20"/>
          <p:cNvSpPr/>
          <p:nvPr/>
        </p:nvSpPr>
        <p:spPr>
          <a:xfrm>
            <a:off x="3849401" y="4051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6" name="object 18"/>
          <p:cNvSpPr/>
          <p:nvPr/>
        </p:nvSpPr>
        <p:spPr>
          <a:xfrm>
            <a:off x="6713687" y="269105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7" name="object 6"/>
          <p:cNvSpPr txBox="1"/>
          <p:nvPr/>
        </p:nvSpPr>
        <p:spPr>
          <a:xfrm>
            <a:off x="1332125" y="3759280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sp>
        <p:nvSpPr>
          <p:cNvPr id="118" name="object 5"/>
          <p:cNvSpPr txBox="1"/>
          <p:nvPr/>
        </p:nvSpPr>
        <p:spPr>
          <a:xfrm>
            <a:off x="5426815" y="6116930"/>
            <a:ext cx="542241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Age</a:t>
            </a:r>
            <a:endParaRPr sz="2400">
              <a:cs typeface="Calibri"/>
            </a:endParaRPr>
          </a:p>
        </p:txBody>
      </p:sp>
      <p:grpSp>
        <p:nvGrpSpPr>
          <p:cNvPr id="119" name="Group 118"/>
          <p:cNvGrpSpPr/>
          <p:nvPr/>
        </p:nvGrpSpPr>
        <p:grpSpPr>
          <a:xfrm>
            <a:off x="2383438" y="1888930"/>
            <a:ext cx="6303362" cy="4054670"/>
            <a:chOff x="2343901" y="1923700"/>
            <a:chExt cx="6303362" cy="4054670"/>
          </a:xfrm>
        </p:grpSpPr>
        <p:sp>
          <p:nvSpPr>
            <p:cNvPr id="120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121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</p:spTree>
    <p:extLst>
      <p:ext uri="{BB962C8B-B14F-4D97-AF65-F5344CB8AC3E}">
        <p14:creationId xmlns:p14="http://schemas.microsoft.com/office/powerpoint/2010/main" val="3180313500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3" name="object 10"/>
          <p:cNvSpPr txBox="1"/>
          <p:nvPr/>
        </p:nvSpPr>
        <p:spPr>
          <a:xfrm>
            <a:off x="2101916" y="369650"/>
            <a:ext cx="6296519" cy="4318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3400"/>
              </a:lnSpc>
              <a:spcBef>
                <a:spcPts val="170"/>
              </a:spcBef>
            </a:pPr>
            <a:r>
              <a:rPr lang="en-US" sz="4800" baseline="1706" dirty="0">
                <a:solidFill>
                  <a:srgbClr val="4E81BC"/>
                </a:solidFill>
                <a:latin typeface="+mj-lt"/>
                <a:cs typeface="Calibri"/>
              </a:rPr>
              <a:t>Agglomerative </a:t>
            </a:r>
            <a:r>
              <a:rPr sz="4800" spc="0" baseline="1706" dirty="0" smtClean="0">
                <a:solidFill>
                  <a:srgbClr val="4E81BC"/>
                </a:solidFill>
                <a:latin typeface="+mj-lt"/>
                <a:cs typeface="Calibri"/>
              </a:rPr>
              <a:t>Hierarchical Clustering</a:t>
            </a:r>
            <a:endParaRPr sz="3200" dirty="0">
              <a:latin typeface="+mj-lt"/>
              <a:cs typeface="Calibri"/>
            </a:endParaRPr>
          </a:p>
        </p:txBody>
      </p:sp>
      <p:sp>
        <p:nvSpPr>
          <p:cNvPr id="84" name="object 11"/>
          <p:cNvSpPr txBox="1"/>
          <p:nvPr/>
        </p:nvSpPr>
        <p:spPr>
          <a:xfrm>
            <a:off x="2101916" y="852250"/>
            <a:ext cx="6584884" cy="4318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>
            <a:defPPr>
              <a:defRPr lang="en-US"/>
            </a:defPPr>
            <a:lvl1pPr marL="12700">
              <a:lnSpc>
                <a:spcPts val="3400"/>
              </a:lnSpc>
              <a:spcBef>
                <a:spcPts val="170"/>
              </a:spcBef>
              <a:defRPr sz="4800" spc="0" baseline="1706">
                <a:solidFill>
                  <a:srgbClr val="7F7E7E"/>
                </a:solidFill>
                <a:latin typeface="Calibri"/>
                <a:cs typeface="Calibri"/>
              </a:defRPr>
            </a:lvl1pPr>
          </a:lstStyle>
          <a:p>
            <a:r>
              <a:rPr lang="en-US" dirty="0">
                <a:latin typeface="+mj-lt"/>
              </a:rPr>
              <a:t>If closest </a:t>
            </a:r>
            <a:r>
              <a:rPr lang="en-US" dirty="0" smtClean="0">
                <a:latin typeface="+mj-lt"/>
              </a:rPr>
              <a:t>pair are clusters, same: merge</a:t>
            </a:r>
            <a:endParaRPr dirty="0">
              <a:latin typeface="+mj-lt"/>
            </a:endParaRPr>
          </a:p>
        </p:txBody>
      </p:sp>
      <p:sp>
        <p:nvSpPr>
          <p:cNvPr id="85" name="object 82"/>
          <p:cNvSpPr/>
          <p:nvPr/>
        </p:nvSpPr>
        <p:spPr>
          <a:xfrm>
            <a:off x="4414372" y="54871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6" name="object 84"/>
          <p:cNvSpPr/>
          <p:nvPr/>
        </p:nvSpPr>
        <p:spPr>
          <a:xfrm>
            <a:off x="5399747" y="55212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7" name="object 86"/>
          <p:cNvSpPr/>
          <p:nvPr/>
        </p:nvSpPr>
        <p:spPr>
          <a:xfrm>
            <a:off x="6251551" y="55023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8" name="object 74"/>
          <p:cNvSpPr/>
          <p:nvPr/>
        </p:nvSpPr>
        <p:spPr>
          <a:xfrm>
            <a:off x="2668469" y="519520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7F1676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9" name="object 72"/>
          <p:cNvSpPr/>
          <p:nvPr/>
        </p:nvSpPr>
        <p:spPr>
          <a:xfrm>
            <a:off x="5959366" y="251737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40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80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0" name="object 70"/>
          <p:cNvSpPr/>
          <p:nvPr/>
        </p:nvSpPr>
        <p:spPr>
          <a:xfrm>
            <a:off x="5560113" y="213564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1" name="object 68"/>
          <p:cNvSpPr/>
          <p:nvPr/>
        </p:nvSpPr>
        <p:spPr>
          <a:xfrm>
            <a:off x="5148028" y="1723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2" name="object 66"/>
          <p:cNvSpPr/>
          <p:nvPr/>
        </p:nvSpPr>
        <p:spPr>
          <a:xfrm>
            <a:off x="6872003" y="34121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6094C9"/>
          </a:solidFill>
          <a:ln w="28575">
            <a:solidFill>
              <a:srgbClr val="46719B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3" name="object 63"/>
          <p:cNvSpPr/>
          <p:nvPr/>
        </p:nvSpPr>
        <p:spPr>
          <a:xfrm>
            <a:off x="5880842" y="502152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6"/>
                </a:lnTo>
                <a:lnTo>
                  <a:pt x="1583" y="198179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6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2"/>
                </a:lnTo>
                <a:lnTo>
                  <a:pt x="49876" y="299561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6"/>
                </a:lnTo>
                <a:lnTo>
                  <a:pt x="196530" y="342926"/>
                </a:lnTo>
                <a:lnTo>
                  <a:pt x="209650" y="339004"/>
                </a:lnTo>
                <a:lnTo>
                  <a:pt x="222295" y="333936"/>
                </a:lnTo>
                <a:lnTo>
                  <a:pt x="234413" y="327778"/>
                </a:lnTo>
                <a:lnTo>
                  <a:pt x="245953" y="320583"/>
                </a:lnTo>
                <a:lnTo>
                  <a:pt x="256864" y="312409"/>
                </a:lnTo>
                <a:lnTo>
                  <a:pt x="267095" y="303311"/>
                </a:lnTo>
                <a:lnTo>
                  <a:pt x="276595" y="293343"/>
                </a:lnTo>
                <a:lnTo>
                  <a:pt x="285312" y="282562"/>
                </a:lnTo>
                <a:lnTo>
                  <a:pt x="293195" y="271023"/>
                </a:lnTo>
                <a:lnTo>
                  <a:pt x="300193" y="258781"/>
                </a:lnTo>
                <a:lnTo>
                  <a:pt x="306255" y="245892"/>
                </a:lnTo>
                <a:lnTo>
                  <a:pt x="311330" y="232411"/>
                </a:lnTo>
                <a:lnTo>
                  <a:pt x="315366" y="218394"/>
                </a:lnTo>
                <a:lnTo>
                  <a:pt x="318312" y="203896"/>
                </a:lnTo>
                <a:lnTo>
                  <a:pt x="320117" y="188973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9" y="93485"/>
                </a:lnTo>
                <a:lnTo>
                  <a:pt x="296006" y="80986"/>
                </a:lnTo>
                <a:lnTo>
                  <a:pt x="288459" y="69169"/>
                </a:lnTo>
                <a:lnTo>
                  <a:pt x="280058" y="58089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4"/>
                </a:lnTo>
                <a:lnTo>
                  <a:pt x="86318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4" name="object 62"/>
          <p:cNvSpPr/>
          <p:nvPr/>
        </p:nvSpPr>
        <p:spPr>
          <a:xfrm>
            <a:off x="4326962" y="34938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5" name="object 60"/>
          <p:cNvSpPr/>
          <p:nvPr/>
        </p:nvSpPr>
        <p:spPr>
          <a:xfrm>
            <a:off x="3451263" y="457102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6" name="object 58"/>
          <p:cNvSpPr/>
          <p:nvPr/>
        </p:nvSpPr>
        <p:spPr>
          <a:xfrm>
            <a:off x="7513462" y="204543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4BAF39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7" name="object 56"/>
          <p:cNvSpPr/>
          <p:nvPr/>
        </p:nvSpPr>
        <p:spPr>
          <a:xfrm>
            <a:off x="6553321" y="196196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8" name="object 54"/>
          <p:cNvSpPr/>
          <p:nvPr/>
        </p:nvSpPr>
        <p:spPr>
          <a:xfrm>
            <a:off x="7353097" y="275391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9" name="object 52"/>
          <p:cNvSpPr/>
          <p:nvPr/>
        </p:nvSpPr>
        <p:spPr>
          <a:xfrm>
            <a:off x="4696124" y="412086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F04C4D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0" name="object 50"/>
          <p:cNvSpPr/>
          <p:nvPr/>
        </p:nvSpPr>
        <p:spPr>
          <a:xfrm>
            <a:off x="4441297" y="46123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F04C4D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1" name="object 48"/>
          <p:cNvSpPr/>
          <p:nvPr/>
        </p:nvSpPr>
        <p:spPr>
          <a:xfrm>
            <a:off x="3130532" y="40499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2" name="object 42"/>
          <p:cNvSpPr/>
          <p:nvPr/>
        </p:nvSpPr>
        <p:spPr>
          <a:xfrm>
            <a:off x="5748103" y="33118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3" name="object 44"/>
          <p:cNvSpPr/>
          <p:nvPr/>
        </p:nvSpPr>
        <p:spPr>
          <a:xfrm>
            <a:off x="5560113" y="25802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4" name="object 46"/>
          <p:cNvSpPr/>
          <p:nvPr/>
        </p:nvSpPr>
        <p:spPr>
          <a:xfrm>
            <a:off x="5421508" y="296447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5" name="object 40"/>
          <p:cNvSpPr/>
          <p:nvPr/>
        </p:nvSpPr>
        <p:spPr>
          <a:xfrm>
            <a:off x="5213120" y="49216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6" name="object 38"/>
          <p:cNvSpPr/>
          <p:nvPr/>
        </p:nvSpPr>
        <p:spPr>
          <a:xfrm>
            <a:off x="7032365" y="221911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7" name="object 36"/>
          <p:cNvSpPr/>
          <p:nvPr/>
        </p:nvSpPr>
        <p:spPr>
          <a:xfrm>
            <a:off x="7385165" y="340218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6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7"/>
                </a:lnTo>
                <a:lnTo>
                  <a:pt x="310251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6094C9"/>
          </a:solidFill>
          <a:ln w="28575">
            <a:solidFill>
              <a:srgbClr val="46719B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8" name="object 34"/>
          <p:cNvSpPr/>
          <p:nvPr/>
        </p:nvSpPr>
        <p:spPr>
          <a:xfrm>
            <a:off x="5038354" y="24830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9" name="object 32"/>
          <p:cNvSpPr/>
          <p:nvPr/>
        </p:nvSpPr>
        <p:spPr>
          <a:xfrm>
            <a:off x="7192732" y="159327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4BAF39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0" name="object 30"/>
          <p:cNvSpPr/>
          <p:nvPr/>
        </p:nvSpPr>
        <p:spPr>
          <a:xfrm>
            <a:off x="6201572" y="316997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1" name="object 28"/>
          <p:cNvSpPr/>
          <p:nvPr/>
        </p:nvSpPr>
        <p:spPr>
          <a:xfrm>
            <a:off x="4877989" y="532865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2" name="object 26"/>
          <p:cNvSpPr/>
          <p:nvPr/>
        </p:nvSpPr>
        <p:spPr>
          <a:xfrm>
            <a:off x="5581873" y="4521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3" name="object 24"/>
          <p:cNvSpPr/>
          <p:nvPr/>
        </p:nvSpPr>
        <p:spPr>
          <a:xfrm>
            <a:off x="3528670" y="35173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4" name="object 22"/>
          <p:cNvSpPr/>
          <p:nvPr/>
        </p:nvSpPr>
        <p:spPr>
          <a:xfrm>
            <a:off x="3252845" y="520650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7F1676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5" name="object 20"/>
          <p:cNvSpPr/>
          <p:nvPr/>
        </p:nvSpPr>
        <p:spPr>
          <a:xfrm>
            <a:off x="3849401" y="4051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6" name="object 18"/>
          <p:cNvSpPr/>
          <p:nvPr/>
        </p:nvSpPr>
        <p:spPr>
          <a:xfrm>
            <a:off x="6713687" y="269105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7" name="object 6"/>
          <p:cNvSpPr txBox="1"/>
          <p:nvPr/>
        </p:nvSpPr>
        <p:spPr>
          <a:xfrm>
            <a:off x="1332125" y="3759280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sp>
        <p:nvSpPr>
          <p:cNvPr id="118" name="object 5"/>
          <p:cNvSpPr txBox="1"/>
          <p:nvPr/>
        </p:nvSpPr>
        <p:spPr>
          <a:xfrm>
            <a:off x="5426815" y="6116930"/>
            <a:ext cx="542241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Age</a:t>
            </a:r>
            <a:endParaRPr sz="2400">
              <a:cs typeface="Calibri"/>
            </a:endParaRPr>
          </a:p>
        </p:txBody>
      </p:sp>
      <p:grpSp>
        <p:nvGrpSpPr>
          <p:cNvPr id="119" name="Group 118"/>
          <p:cNvGrpSpPr/>
          <p:nvPr/>
        </p:nvGrpSpPr>
        <p:grpSpPr>
          <a:xfrm>
            <a:off x="2383438" y="1888930"/>
            <a:ext cx="6303362" cy="4054670"/>
            <a:chOff x="2343901" y="1923700"/>
            <a:chExt cx="6303362" cy="4054670"/>
          </a:xfrm>
        </p:grpSpPr>
        <p:sp>
          <p:nvSpPr>
            <p:cNvPr id="120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121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</p:spTree>
    <p:extLst>
      <p:ext uri="{BB962C8B-B14F-4D97-AF65-F5344CB8AC3E}">
        <p14:creationId xmlns:p14="http://schemas.microsoft.com/office/powerpoint/2010/main" val="4179046347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3" name="object 10"/>
          <p:cNvSpPr txBox="1"/>
          <p:nvPr/>
        </p:nvSpPr>
        <p:spPr>
          <a:xfrm>
            <a:off x="2101916" y="369650"/>
            <a:ext cx="6296519" cy="4318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3400"/>
              </a:lnSpc>
              <a:spcBef>
                <a:spcPts val="170"/>
              </a:spcBef>
            </a:pPr>
            <a:r>
              <a:rPr lang="en-US" sz="4800" baseline="1706" dirty="0">
                <a:solidFill>
                  <a:srgbClr val="4E81BC"/>
                </a:solidFill>
                <a:latin typeface="+mj-lt"/>
                <a:cs typeface="Calibri"/>
              </a:rPr>
              <a:t>Agglomerative </a:t>
            </a:r>
            <a:r>
              <a:rPr sz="4800" spc="0" baseline="1706" dirty="0" smtClean="0">
                <a:solidFill>
                  <a:srgbClr val="4E81BC"/>
                </a:solidFill>
                <a:latin typeface="+mj-lt"/>
                <a:cs typeface="Calibri"/>
              </a:rPr>
              <a:t>Hierarchical Clustering</a:t>
            </a:r>
            <a:endParaRPr sz="3200" dirty="0">
              <a:latin typeface="+mj-lt"/>
              <a:cs typeface="Calibri"/>
            </a:endParaRPr>
          </a:p>
        </p:txBody>
      </p:sp>
      <p:sp>
        <p:nvSpPr>
          <p:cNvPr id="84" name="object 11"/>
          <p:cNvSpPr txBox="1"/>
          <p:nvPr/>
        </p:nvSpPr>
        <p:spPr>
          <a:xfrm>
            <a:off x="2101916" y="852250"/>
            <a:ext cx="6584884" cy="4318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>
            <a:defPPr>
              <a:defRPr lang="en-US"/>
            </a:defPPr>
            <a:lvl1pPr marL="12700">
              <a:lnSpc>
                <a:spcPts val="3400"/>
              </a:lnSpc>
              <a:spcBef>
                <a:spcPts val="170"/>
              </a:spcBef>
              <a:defRPr sz="4800" spc="0" baseline="1706">
                <a:solidFill>
                  <a:srgbClr val="7F7E7E"/>
                </a:solidFill>
                <a:latin typeface="Calibri"/>
                <a:cs typeface="Calibri"/>
              </a:defRPr>
            </a:lvl1pPr>
          </a:lstStyle>
          <a:p>
            <a:r>
              <a:rPr lang="en-US" dirty="0">
                <a:latin typeface="+mj-lt"/>
              </a:rPr>
              <a:t>If closest </a:t>
            </a:r>
            <a:r>
              <a:rPr lang="en-US" dirty="0" smtClean="0">
                <a:latin typeface="+mj-lt"/>
              </a:rPr>
              <a:t>pair are clusters, same: merge</a:t>
            </a:r>
            <a:endParaRPr dirty="0">
              <a:latin typeface="+mj-lt"/>
            </a:endParaRPr>
          </a:p>
        </p:txBody>
      </p:sp>
      <p:sp>
        <p:nvSpPr>
          <p:cNvPr id="85" name="object 82"/>
          <p:cNvSpPr/>
          <p:nvPr/>
        </p:nvSpPr>
        <p:spPr>
          <a:xfrm>
            <a:off x="4414372" y="54871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6" name="object 84"/>
          <p:cNvSpPr/>
          <p:nvPr/>
        </p:nvSpPr>
        <p:spPr>
          <a:xfrm>
            <a:off x="5399747" y="55212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7" name="object 86"/>
          <p:cNvSpPr/>
          <p:nvPr/>
        </p:nvSpPr>
        <p:spPr>
          <a:xfrm>
            <a:off x="6251551" y="55023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8" name="object 74"/>
          <p:cNvSpPr/>
          <p:nvPr/>
        </p:nvSpPr>
        <p:spPr>
          <a:xfrm>
            <a:off x="2668469" y="519520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7F1676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9" name="object 72"/>
          <p:cNvSpPr/>
          <p:nvPr/>
        </p:nvSpPr>
        <p:spPr>
          <a:xfrm>
            <a:off x="5959366" y="251737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40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80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0" name="object 70"/>
          <p:cNvSpPr/>
          <p:nvPr/>
        </p:nvSpPr>
        <p:spPr>
          <a:xfrm>
            <a:off x="5560113" y="213564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1" name="object 68"/>
          <p:cNvSpPr/>
          <p:nvPr/>
        </p:nvSpPr>
        <p:spPr>
          <a:xfrm>
            <a:off x="5148028" y="1723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2" name="object 66"/>
          <p:cNvSpPr/>
          <p:nvPr/>
        </p:nvSpPr>
        <p:spPr>
          <a:xfrm>
            <a:off x="6872003" y="34121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6094C9"/>
          </a:solidFill>
          <a:ln w="28575">
            <a:solidFill>
              <a:srgbClr val="46719B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3" name="object 63"/>
          <p:cNvSpPr/>
          <p:nvPr/>
        </p:nvSpPr>
        <p:spPr>
          <a:xfrm>
            <a:off x="5880842" y="502152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6"/>
                </a:lnTo>
                <a:lnTo>
                  <a:pt x="1583" y="198179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6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2"/>
                </a:lnTo>
                <a:lnTo>
                  <a:pt x="49876" y="299561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6"/>
                </a:lnTo>
                <a:lnTo>
                  <a:pt x="196530" y="342926"/>
                </a:lnTo>
                <a:lnTo>
                  <a:pt x="209650" y="339004"/>
                </a:lnTo>
                <a:lnTo>
                  <a:pt x="222295" y="333936"/>
                </a:lnTo>
                <a:lnTo>
                  <a:pt x="234413" y="327778"/>
                </a:lnTo>
                <a:lnTo>
                  <a:pt x="245953" y="320583"/>
                </a:lnTo>
                <a:lnTo>
                  <a:pt x="256864" y="312409"/>
                </a:lnTo>
                <a:lnTo>
                  <a:pt x="267095" y="303311"/>
                </a:lnTo>
                <a:lnTo>
                  <a:pt x="276595" y="293343"/>
                </a:lnTo>
                <a:lnTo>
                  <a:pt x="285312" y="282562"/>
                </a:lnTo>
                <a:lnTo>
                  <a:pt x="293195" y="271023"/>
                </a:lnTo>
                <a:lnTo>
                  <a:pt x="300193" y="258781"/>
                </a:lnTo>
                <a:lnTo>
                  <a:pt x="306255" y="245892"/>
                </a:lnTo>
                <a:lnTo>
                  <a:pt x="311330" y="232411"/>
                </a:lnTo>
                <a:lnTo>
                  <a:pt x="315366" y="218394"/>
                </a:lnTo>
                <a:lnTo>
                  <a:pt x="318312" y="203896"/>
                </a:lnTo>
                <a:lnTo>
                  <a:pt x="320117" y="188973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9" y="93485"/>
                </a:lnTo>
                <a:lnTo>
                  <a:pt x="296006" y="80986"/>
                </a:lnTo>
                <a:lnTo>
                  <a:pt x="288459" y="69169"/>
                </a:lnTo>
                <a:lnTo>
                  <a:pt x="280058" y="58089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4"/>
                </a:lnTo>
                <a:lnTo>
                  <a:pt x="86318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4" name="object 62"/>
          <p:cNvSpPr/>
          <p:nvPr/>
        </p:nvSpPr>
        <p:spPr>
          <a:xfrm>
            <a:off x="4326962" y="34938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5" name="object 60"/>
          <p:cNvSpPr/>
          <p:nvPr/>
        </p:nvSpPr>
        <p:spPr>
          <a:xfrm>
            <a:off x="3451263" y="457102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6" name="object 58"/>
          <p:cNvSpPr/>
          <p:nvPr/>
        </p:nvSpPr>
        <p:spPr>
          <a:xfrm>
            <a:off x="7513462" y="204543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4BAF39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7" name="object 56"/>
          <p:cNvSpPr/>
          <p:nvPr/>
        </p:nvSpPr>
        <p:spPr>
          <a:xfrm>
            <a:off x="6553321" y="196196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8" name="object 54"/>
          <p:cNvSpPr/>
          <p:nvPr/>
        </p:nvSpPr>
        <p:spPr>
          <a:xfrm>
            <a:off x="7353097" y="275391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9" name="object 52"/>
          <p:cNvSpPr/>
          <p:nvPr/>
        </p:nvSpPr>
        <p:spPr>
          <a:xfrm>
            <a:off x="4696124" y="412086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F04C4D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0" name="object 50"/>
          <p:cNvSpPr/>
          <p:nvPr/>
        </p:nvSpPr>
        <p:spPr>
          <a:xfrm>
            <a:off x="4441297" y="46123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F04C4D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1" name="object 48"/>
          <p:cNvSpPr/>
          <p:nvPr/>
        </p:nvSpPr>
        <p:spPr>
          <a:xfrm>
            <a:off x="3130532" y="40499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2" name="object 42"/>
          <p:cNvSpPr/>
          <p:nvPr/>
        </p:nvSpPr>
        <p:spPr>
          <a:xfrm>
            <a:off x="5748103" y="33118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3" name="object 44"/>
          <p:cNvSpPr/>
          <p:nvPr/>
        </p:nvSpPr>
        <p:spPr>
          <a:xfrm>
            <a:off x="5560113" y="25802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4" name="object 46"/>
          <p:cNvSpPr/>
          <p:nvPr/>
        </p:nvSpPr>
        <p:spPr>
          <a:xfrm>
            <a:off x="5421508" y="296447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5" name="object 40"/>
          <p:cNvSpPr/>
          <p:nvPr/>
        </p:nvSpPr>
        <p:spPr>
          <a:xfrm>
            <a:off x="5213120" y="49216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6" name="object 38"/>
          <p:cNvSpPr/>
          <p:nvPr/>
        </p:nvSpPr>
        <p:spPr>
          <a:xfrm>
            <a:off x="7032365" y="221911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7" name="object 36"/>
          <p:cNvSpPr/>
          <p:nvPr/>
        </p:nvSpPr>
        <p:spPr>
          <a:xfrm>
            <a:off x="7385165" y="340218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6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7"/>
                </a:lnTo>
                <a:lnTo>
                  <a:pt x="310251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6094C9"/>
          </a:solidFill>
          <a:ln w="28575">
            <a:solidFill>
              <a:srgbClr val="46719B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8" name="object 34"/>
          <p:cNvSpPr/>
          <p:nvPr/>
        </p:nvSpPr>
        <p:spPr>
          <a:xfrm>
            <a:off x="5038354" y="24830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9" name="object 32"/>
          <p:cNvSpPr/>
          <p:nvPr/>
        </p:nvSpPr>
        <p:spPr>
          <a:xfrm>
            <a:off x="7192732" y="159327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4BAF39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0" name="object 30"/>
          <p:cNvSpPr/>
          <p:nvPr/>
        </p:nvSpPr>
        <p:spPr>
          <a:xfrm>
            <a:off x="6201572" y="316997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1" name="object 28"/>
          <p:cNvSpPr/>
          <p:nvPr/>
        </p:nvSpPr>
        <p:spPr>
          <a:xfrm>
            <a:off x="4877989" y="532865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2" name="object 26"/>
          <p:cNvSpPr/>
          <p:nvPr/>
        </p:nvSpPr>
        <p:spPr>
          <a:xfrm>
            <a:off x="5581873" y="4521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3" name="object 24"/>
          <p:cNvSpPr/>
          <p:nvPr/>
        </p:nvSpPr>
        <p:spPr>
          <a:xfrm>
            <a:off x="3528670" y="35173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4" name="object 22"/>
          <p:cNvSpPr/>
          <p:nvPr/>
        </p:nvSpPr>
        <p:spPr>
          <a:xfrm>
            <a:off x="3252845" y="520650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7F1676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5" name="object 20"/>
          <p:cNvSpPr/>
          <p:nvPr/>
        </p:nvSpPr>
        <p:spPr>
          <a:xfrm>
            <a:off x="3849401" y="4051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6" name="object 18"/>
          <p:cNvSpPr/>
          <p:nvPr/>
        </p:nvSpPr>
        <p:spPr>
          <a:xfrm>
            <a:off x="6713687" y="269105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7" name="object 6"/>
          <p:cNvSpPr txBox="1"/>
          <p:nvPr/>
        </p:nvSpPr>
        <p:spPr>
          <a:xfrm>
            <a:off x="1332125" y="3759280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sp>
        <p:nvSpPr>
          <p:cNvPr id="118" name="object 5"/>
          <p:cNvSpPr txBox="1"/>
          <p:nvPr/>
        </p:nvSpPr>
        <p:spPr>
          <a:xfrm>
            <a:off x="5426815" y="6116930"/>
            <a:ext cx="542241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Age</a:t>
            </a:r>
            <a:endParaRPr sz="2400">
              <a:cs typeface="Calibri"/>
            </a:endParaRPr>
          </a:p>
        </p:txBody>
      </p:sp>
      <p:grpSp>
        <p:nvGrpSpPr>
          <p:cNvPr id="119" name="Group 118"/>
          <p:cNvGrpSpPr/>
          <p:nvPr/>
        </p:nvGrpSpPr>
        <p:grpSpPr>
          <a:xfrm>
            <a:off x="2383438" y="1888930"/>
            <a:ext cx="6303362" cy="4054670"/>
            <a:chOff x="2343901" y="1923700"/>
            <a:chExt cx="6303362" cy="4054670"/>
          </a:xfrm>
        </p:grpSpPr>
        <p:sp>
          <p:nvSpPr>
            <p:cNvPr id="120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121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</p:spTree>
    <p:extLst>
      <p:ext uri="{BB962C8B-B14F-4D97-AF65-F5344CB8AC3E}">
        <p14:creationId xmlns:p14="http://schemas.microsoft.com/office/powerpoint/2010/main" val="985392110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3" name="object 10"/>
          <p:cNvSpPr txBox="1"/>
          <p:nvPr/>
        </p:nvSpPr>
        <p:spPr>
          <a:xfrm>
            <a:off x="2101916" y="369650"/>
            <a:ext cx="6296519" cy="4318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3400"/>
              </a:lnSpc>
              <a:spcBef>
                <a:spcPts val="170"/>
              </a:spcBef>
            </a:pPr>
            <a:r>
              <a:rPr lang="en-US" sz="4800" baseline="1706" dirty="0">
                <a:solidFill>
                  <a:srgbClr val="4E81BC"/>
                </a:solidFill>
                <a:latin typeface="+mj-lt"/>
                <a:cs typeface="Calibri"/>
              </a:rPr>
              <a:t>Agglomerative </a:t>
            </a:r>
            <a:r>
              <a:rPr sz="4800" spc="0" baseline="1706" dirty="0" smtClean="0">
                <a:solidFill>
                  <a:srgbClr val="4E81BC"/>
                </a:solidFill>
                <a:latin typeface="+mj-lt"/>
                <a:cs typeface="Calibri"/>
              </a:rPr>
              <a:t>Hierarchical Clustering</a:t>
            </a:r>
            <a:endParaRPr sz="3200" dirty="0">
              <a:latin typeface="+mj-lt"/>
              <a:cs typeface="Calibri"/>
            </a:endParaRPr>
          </a:p>
        </p:txBody>
      </p:sp>
      <p:sp>
        <p:nvSpPr>
          <p:cNvPr id="84" name="object 11"/>
          <p:cNvSpPr txBox="1"/>
          <p:nvPr/>
        </p:nvSpPr>
        <p:spPr>
          <a:xfrm>
            <a:off x="2101916" y="852250"/>
            <a:ext cx="6584884" cy="4318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>
            <a:defPPr>
              <a:defRPr lang="en-US"/>
            </a:defPPr>
            <a:lvl1pPr marL="12700">
              <a:lnSpc>
                <a:spcPts val="3400"/>
              </a:lnSpc>
              <a:spcBef>
                <a:spcPts val="170"/>
              </a:spcBef>
              <a:defRPr sz="4800" spc="0" baseline="1706">
                <a:solidFill>
                  <a:srgbClr val="7F7E7E"/>
                </a:solidFill>
                <a:latin typeface="Calibri"/>
                <a:cs typeface="Calibri"/>
              </a:defRPr>
            </a:lvl1pPr>
          </a:lstStyle>
          <a:p>
            <a:r>
              <a:rPr lang="en-US" dirty="0">
                <a:latin typeface="+mj-lt"/>
              </a:rPr>
              <a:t>If closest </a:t>
            </a:r>
            <a:r>
              <a:rPr lang="en-US" dirty="0" smtClean="0">
                <a:latin typeface="+mj-lt"/>
              </a:rPr>
              <a:t>pair are clusters, same: merge</a:t>
            </a:r>
            <a:endParaRPr dirty="0">
              <a:latin typeface="+mj-lt"/>
            </a:endParaRPr>
          </a:p>
        </p:txBody>
      </p:sp>
      <p:sp>
        <p:nvSpPr>
          <p:cNvPr id="85" name="object 82"/>
          <p:cNvSpPr/>
          <p:nvPr/>
        </p:nvSpPr>
        <p:spPr>
          <a:xfrm>
            <a:off x="4414372" y="54871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6" name="object 84"/>
          <p:cNvSpPr/>
          <p:nvPr/>
        </p:nvSpPr>
        <p:spPr>
          <a:xfrm>
            <a:off x="5399747" y="55212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7" name="object 86"/>
          <p:cNvSpPr/>
          <p:nvPr/>
        </p:nvSpPr>
        <p:spPr>
          <a:xfrm>
            <a:off x="6251551" y="55023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8" name="object 74"/>
          <p:cNvSpPr/>
          <p:nvPr/>
        </p:nvSpPr>
        <p:spPr>
          <a:xfrm>
            <a:off x="2668469" y="519520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7F1676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9" name="object 72"/>
          <p:cNvSpPr/>
          <p:nvPr/>
        </p:nvSpPr>
        <p:spPr>
          <a:xfrm>
            <a:off x="5959366" y="251737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40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80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0" name="object 70"/>
          <p:cNvSpPr/>
          <p:nvPr/>
        </p:nvSpPr>
        <p:spPr>
          <a:xfrm>
            <a:off x="5560113" y="213564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1" name="object 68"/>
          <p:cNvSpPr/>
          <p:nvPr/>
        </p:nvSpPr>
        <p:spPr>
          <a:xfrm>
            <a:off x="5148028" y="1723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2" name="object 66"/>
          <p:cNvSpPr/>
          <p:nvPr/>
        </p:nvSpPr>
        <p:spPr>
          <a:xfrm>
            <a:off x="6872003" y="34121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6094C9"/>
          </a:solidFill>
          <a:ln w="28575">
            <a:solidFill>
              <a:srgbClr val="46719B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3" name="object 63"/>
          <p:cNvSpPr/>
          <p:nvPr/>
        </p:nvSpPr>
        <p:spPr>
          <a:xfrm>
            <a:off x="5880842" y="502152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6"/>
                </a:lnTo>
                <a:lnTo>
                  <a:pt x="1583" y="198179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6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2"/>
                </a:lnTo>
                <a:lnTo>
                  <a:pt x="49876" y="299561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6"/>
                </a:lnTo>
                <a:lnTo>
                  <a:pt x="196530" y="342926"/>
                </a:lnTo>
                <a:lnTo>
                  <a:pt x="209650" y="339004"/>
                </a:lnTo>
                <a:lnTo>
                  <a:pt x="222295" y="333936"/>
                </a:lnTo>
                <a:lnTo>
                  <a:pt x="234413" y="327778"/>
                </a:lnTo>
                <a:lnTo>
                  <a:pt x="245953" y="320583"/>
                </a:lnTo>
                <a:lnTo>
                  <a:pt x="256864" y="312409"/>
                </a:lnTo>
                <a:lnTo>
                  <a:pt x="267095" y="303311"/>
                </a:lnTo>
                <a:lnTo>
                  <a:pt x="276595" y="293343"/>
                </a:lnTo>
                <a:lnTo>
                  <a:pt x="285312" y="282562"/>
                </a:lnTo>
                <a:lnTo>
                  <a:pt x="293195" y="271023"/>
                </a:lnTo>
                <a:lnTo>
                  <a:pt x="300193" y="258781"/>
                </a:lnTo>
                <a:lnTo>
                  <a:pt x="306255" y="245892"/>
                </a:lnTo>
                <a:lnTo>
                  <a:pt x="311330" y="232411"/>
                </a:lnTo>
                <a:lnTo>
                  <a:pt x="315366" y="218394"/>
                </a:lnTo>
                <a:lnTo>
                  <a:pt x="318312" y="203896"/>
                </a:lnTo>
                <a:lnTo>
                  <a:pt x="320117" y="188973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9" y="93485"/>
                </a:lnTo>
                <a:lnTo>
                  <a:pt x="296006" y="80986"/>
                </a:lnTo>
                <a:lnTo>
                  <a:pt x="288459" y="69169"/>
                </a:lnTo>
                <a:lnTo>
                  <a:pt x="280058" y="58089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4"/>
                </a:lnTo>
                <a:lnTo>
                  <a:pt x="86318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4" name="object 62"/>
          <p:cNvSpPr/>
          <p:nvPr/>
        </p:nvSpPr>
        <p:spPr>
          <a:xfrm>
            <a:off x="4326962" y="34938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5" name="object 60"/>
          <p:cNvSpPr/>
          <p:nvPr/>
        </p:nvSpPr>
        <p:spPr>
          <a:xfrm>
            <a:off x="3451263" y="457102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6" name="object 58"/>
          <p:cNvSpPr/>
          <p:nvPr/>
        </p:nvSpPr>
        <p:spPr>
          <a:xfrm>
            <a:off x="7513462" y="204543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4BAF39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7" name="object 56"/>
          <p:cNvSpPr/>
          <p:nvPr/>
        </p:nvSpPr>
        <p:spPr>
          <a:xfrm>
            <a:off x="6553321" y="196196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8" name="object 54"/>
          <p:cNvSpPr/>
          <p:nvPr/>
        </p:nvSpPr>
        <p:spPr>
          <a:xfrm>
            <a:off x="7353097" y="275391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9" name="object 52"/>
          <p:cNvSpPr/>
          <p:nvPr/>
        </p:nvSpPr>
        <p:spPr>
          <a:xfrm>
            <a:off x="4696124" y="412086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F04C4D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0" name="object 50"/>
          <p:cNvSpPr/>
          <p:nvPr/>
        </p:nvSpPr>
        <p:spPr>
          <a:xfrm>
            <a:off x="4441297" y="46123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F04C4D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1" name="object 48"/>
          <p:cNvSpPr/>
          <p:nvPr/>
        </p:nvSpPr>
        <p:spPr>
          <a:xfrm>
            <a:off x="3130532" y="40499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2" name="object 42"/>
          <p:cNvSpPr/>
          <p:nvPr/>
        </p:nvSpPr>
        <p:spPr>
          <a:xfrm>
            <a:off x="5748103" y="33118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3" name="object 44"/>
          <p:cNvSpPr/>
          <p:nvPr/>
        </p:nvSpPr>
        <p:spPr>
          <a:xfrm>
            <a:off x="5560113" y="25802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4" name="object 46"/>
          <p:cNvSpPr/>
          <p:nvPr/>
        </p:nvSpPr>
        <p:spPr>
          <a:xfrm>
            <a:off x="5421508" y="296447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5" name="object 40"/>
          <p:cNvSpPr/>
          <p:nvPr/>
        </p:nvSpPr>
        <p:spPr>
          <a:xfrm>
            <a:off x="5213120" y="49216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6" name="object 38"/>
          <p:cNvSpPr/>
          <p:nvPr/>
        </p:nvSpPr>
        <p:spPr>
          <a:xfrm>
            <a:off x="7032365" y="221911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7" name="object 36"/>
          <p:cNvSpPr/>
          <p:nvPr/>
        </p:nvSpPr>
        <p:spPr>
          <a:xfrm>
            <a:off x="7385165" y="340218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6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7"/>
                </a:lnTo>
                <a:lnTo>
                  <a:pt x="310251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6094C9"/>
          </a:solidFill>
          <a:ln w="28575">
            <a:solidFill>
              <a:srgbClr val="46719B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8" name="object 34"/>
          <p:cNvSpPr/>
          <p:nvPr/>
        </p:nvSpPr>
        <p:spPr>
          <a:xfrm>
            <a:off x="5038354" y="24830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9" name="object 32"/>
          <p:cNvSpPr/>
          <p:nvPr/>
        </p:nvSpPr>
        <p:spPr>
          <a:xfrm>
            <a:off x="7192732" y="159327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4BAF39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0" name="object 30"/>
          <p:cNvSpPr/>
          <p:nvPr/>
        </p:nvSpPr>
        <p:spPr>
          <a:xfrm>
            <a:off x="6201572" y="316997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1" name="object 28"/>
          <p:cNvSpPr/>
          <p:nvPr/>
        </p:nvSpPr>
        <p:spPr>
          <a:xfrm>
            <a:off x="4877989" y="532865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2" name="object 26"/>
          <p:cNvSpPr/>
          <p:nvPr/>
        </p:nvSpPr>
        <p:spPr>
          <a:xfrm>
            <a:off x="5581873" y="4521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3" name="object 24"/>
          <p:cNvSpPr/>
          <p:nvPr/>
        </p:nvSpPr>
        <p:spPr>
          <a:xfrm>
            <a:off x="3528670" y="35173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4" name="object 22"/>
          <p:cNvSpPr/>
          <p:nvPr/>
        </p:nvSpPr>
        <p:spPr>
          <a:xfrm>
            <a:off x="3252845" y="520650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7F1676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5" name="object 20"/>
          <p:cNvSpPr/>
          <p:nvPr/>
        </p:nvSpPr>
        <p:spPr>
          <a:xfrm>
            <a:off x="3849401" y="4051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6" name="object 18"/>
          <p:cNvSpPr/>
          <p:nvPr/>
        </p:nvSpPr>
        <p:spPr>
          <a:xfrm>
            <a:off x="6713687" y="269105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7" name="object 6"/>
          <p:cNvSpPr txBox="1"/>
          <p:nvPr/>
        </p:nvSpPr>
        <p:spPr>
          <a:xfrm>
            <a:off x="1332125" y="3759280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sp>
        <p:nvSpPr>
          <p:cNvPr id="118" name="object 5"/>
          <p:cNvSpPr txBox="1"/>
          <p:nvPr/>
        </p:nvSpPr>
        <p:spPr>
          <a:xfrm>
            <a:off x="5426815" y="6116930"/>
            <a:ext cx="542241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Age</a:t>
            </a:r>
            <a:endParaRPr sz="2400">
              <a:cs typeface="Calibri"/>
            </a:endParaRPr>
          </a:p>
        </p:txBody>
      </p:sp>
      <p:grpSp>
        <p:nvGrpSpPr>
          <p:cNvPr id="119" name="Group 118"/>
          <p:cNvGrpSpPr/>
          <p:nvPr/>
        </p:nvGrpSpPr>
        <p:grpSpPr>
          <a:xfrm>
            <a:off x="2383438" y="1888930"/>
            <a:ext cx="6303362" cy="4054670"/>
            <a:chOff x="2343901" y="1923700"/>
            <a:chExt cx="6303362" cy="4054670"/>
          </a:xfrm>
        </p:grpSpPr>
        <p:sp>
          <p:nvSpPr>
            <p:cNvPr id="120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121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</p:spTree>
    <p:extLst>
      <p:ext uri="{BB962C8B-B14F-4D97-AF65-F5344CB8AC3E}">
        <p14:creationId xmlns:p14="http://schemas.microsoft.com/office/powerpoint/2010/main" val="2067504645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" name="object 10"/>
          <p:cNvSpPr txBox="1"/>
          <p:nvPr/>
        </p:nvSpPr>
        <p:spPr>
          <a:xfrm>
            <a:off x="2101916" y="369650"/>
            <a:ext cx="6296519" cy="4318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3400"/>
              </a:lnSpc>
              <a:spcBef>
                <a:spcPts val="170"/>
              </a:spcBef>
            </a:pPr>
            <a:r>
              <a:rPr lang="en-US" sz="4800" baseline="1706" dirty="0">
                <a:solidFill>
                  <a:srgbClr val="4E81BC"/>
                </a:solidFill>
                <a:latin typeface="+mj-lt"/>
                <a:cs typeface="Calibri"/>
              </a:rPr>
              <a:t>Agglomerative </a:t>
            </a:r>
            <a:r>
              <a:rPr sz="4800" spc="0" baseline="1706" dirty="0" smtClean="0">
                <a:solidFill>
                  <a:srgbClr val="4E81BC"/>
                </a:solidFill>
                <a:latin typeface="+mj-lt"/>
                <a:cs typeface="Calibri"/>
              </a:rPr>
              <a:t>Hierarchical Clustering</a:t>
            </a:r>
            <a:endParaRPr sz="3200" dirty="0">
              <a:latin typeface="+mj-lt"/>
              <a:cs typeface="Calibri"/>
            </a:endParaRPr>
          </a:p>
        </p:txBody>
      </p:sp>
      <p:sp>
        <p:nvSpPr>
          <p:cNvPr id="82" name="object 11"/>
          <p:cNvSpPr txBox="1"/>
          <p:nvPr/>
        </p:nvSpPr>
        <p:spPr>
          <a:xfrm>
            <a:off x="2101916" y="852250"/>
            <a:ext cx="6584884" cy="4318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>
            <a:defPPr>
              <a:defRPr lang="en-US"/>
            </a:defPPr>
            <a:lvl1pPr marL="12700">
              <a:lnSpc>
                <a:spcPts val="3400"/>
              </a:lnSpc>
              <a:spcBef>
                <a:spcPts val="170"/>
              </a:spcBef>
              <a:defRPr sz="4800" spc="0" baseline="1706">
                <a:solidFill>
                  <a:srgbClr val="7F7E7E"/>
                </a:solidFill>
                <a:latin typeface="Calibri"/>
                <a:cs typeface="Calibri"/>
              </a:defRPr>
            </a:lvl1pPr>
          </a:lstStyle>
          <a:p>
            <a:r>
              <a:rPr lang="en-US" dirty="0" smtClean="0">
                <a:latin typeface="+mj-lt"/>
              </a:rPr>
              <a:t>Current </a:t>
            </a:r>
            <a:r>
              <a:rPr lang="en-US" dirty="0" err="1" smtClean="0">
                <a:solidFill>
                  <a:srgbClr val="F69545"/>
                </a:solidFill>
                <a:latin typeface="+mj-lt"/>
              </a:rPr>
              <a:t>num_clusters</a:t>
            </a:r>
            <a:r>
              <a:rPr lang="en-US" dirty="0" smtClean="0">
                <a:solidFill>
                  <a:srgbClr val="F69545"/>
                </a:solidFill>
                <a:latin typeface="+mj-lt"/>
              </a:rPr>
              <a:t> = 7</a:t>
            </a:r>
            <a:endParaRPr dirty="0">
              <a:solidFill>
                <a:srgbClr val="F69545"/>
              </a:solidFill>
              <a:latin typeface="+mj-lt"/>
            </a:endParaRPr>
          </a:p>
        </p:txBody>
      </p:sp>
      <p:sp>
        <p:nvSpPr>
          <p:cNvPr id="83" name="object 82"/>
          <p:cNvSpPr/>
          <p:nvPr/>
        </p:nvSpPr>
        <p:spPr>
          <a:xfrm>
            <a:off x="4414372" y="54871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4" name="object 84"/>
          <p:cNvSpPr/>
          <p:nvPr/>
        </p:nvSpPr>
        <p:spPr>
          <a:xfrm>
            <a:off x="5399747" y="55212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5" name="object 86"/>
          <p:cNvSpPr/>
          <p:nvPr/>
        </p:nvSpPr>
        <p:spPr>
          <a:xfrm>
            <a:off x="6251551" y="55023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6" name="object 74"/>
          <p:cNvSpPr/>
          <p:nvPr/>
        </p:nvSpPr>
        <p:spPr>
          <a:xfrm>
            <a:off x="2668469" y="519520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7F1676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7" name="object 72"/>
          <p:cNvSpPr/>
          <p:nvPr/>
        </p:nvSpPr>
        <p:spPr>
          <a:xfrm>
            <a:off x="5959366" y="251737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40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80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8" name="object 70"/>
          <p:cNvSpPr/>
          <p:nvPr/>
        </p:nvSpPr>
        <p:spPr>
          <a:xfrm>
            <a:off x="5560113" y="213564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9" name="object 68"/>
          <p:cNvSpPr/>
          <p:nvPr/>
        </p:nvSpPr>
        <p:spPr>
          <a:xfrm>
            <a:off x="5148028" y="1723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0" name="object 66"/>
          <p:cNvSpPr/>
          <p:nvPr/>
        </p:nvSpPr>
        <p:spPr>
          <a:xfrm>
            <a:off x="6872003" y="34121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6094C9"/>
          </a:solidFill>
          <a:ln w="28575">
            <a:solidFill>
              <a:srgbClr val="46719B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1" name="object 63"/>
          <p:cNvSpPr/>
          <p:nvPr/>
        </p:nvSpPr>
        <p:spPr>
          <a:xfrm>
            <a:off x="5880842" y="502152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6"/>
                </a:lnTo>
                <a:lnTo>
                  <a:pt x="1583" y="198179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6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2"/>
                </a:lnTo>
                <a:lnTo>
                  <a:pt x="49876" y="299561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6"/>
                </a:lnTo>
                <a:lnTo>
                  <a:pt x="196530" y="342926"/>
                </a:lnTo>
                <a:lnTo>
                  <a:pt x="209650" y="339004"/>
                </a:lnTo>
                <a:lnTo>
                  <a:pt x="222295" y="333936"/>
                </a:lnTo>
                <a:lnTo>
                  <a:pt x="234413" y="327778"/>
                </a:lnTo>
                <a:lnTo>
                  <a:pt x="245953" y="320583"/>
                </a:lnTo>
                <a:lnTo>
                  <a:pt x="256864" y="312409"/>
                </a:lnTo>
                <a:lnTo>
                  <a:pt x="267095" y="303311"/>
                </a:lnTo>
                <a:lnTo>
                  <a:pt x="276595" y="293343"/>
                </a:lnTo>
                <a:lnTo>
                  <a:pt x="285312" y="282562"/>
                </a:lnTo>
                <a:lnTo>
                  <a:pt x="293195" y="271023"/>
                </a:lnTo>
                <a:lnTo>
                  <a:pt x="300193" y="258781"/>
                </a:lnTo>
                <a:lnTo>
                  <a:pt x="306255" y="245892"/>
                </a:lnTo>
                <a:lnTo>
                  <a:pt x="311330" y="232411"/>
                </a:lnTo>
                <a:lnTo>
                  <a:pt x="315366" y="218394"/>
                </a:lnTo>
                <a:lnTo>
                  <a:pt x="318312" y="203896"/>
                </a:lnTo>
                <a:lnTo>
                  <a:pt x="320117" y="188973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9" y="93485"/>
                </a:lnTo>
                <a:lnTo>
                  <a:pt x="296006" y="80986"/>
                </a:lnTo>
                <a:lnTo>
                  <a:pt x="288459" y="69169"/>
                </a:lnTo>
                <a:lnTo>
                  <a:pt x="280058" y="58089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4"/>
                </a:lnTo>
                <a:lnTo>
                  <a:pt x="86318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2" name="object 62"/>
          <p:cNvSpPr/>
          <p:nvPr/>
        </p:nvSpPr>
        <p:spPr>
          <a:xfrm>
            <a:off x="4326962" y="34938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3" name="object 60"/>
          <p:cNvSpPr/>
          <p:nvPr/>
        </p:nvSpPr>
        <p:spPr>
          <a:xfrm>
            <a:off x="3451263" y="457102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4" name="object 58"/>
          <p:cNvSpPr/>
          <p:nvPr/>
        </p:nvSpPr>
        <p:spPr>
          <a:xfrm>
            <a:off x="7513462" y="204543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5" name="object 56"/>
          <p:cNvSpPr/>
          <p:nvPr/>
        </p:nvSpPr>
        <p:spPr>
          <a:xfrm>
            <a:off x="6553321" y="196196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6" name="object 54"/>
          <p:cNvSpPr/>
          <p:nvPr/>
        </p:nvSpPr>
        <p:spPr>
          <a:xfrm>
            <a:off x="7353097" y="275391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7" name="object 52"/>
          <p:cNvSpPr/>
          <p:nvPr/>
        </p:nvSpPr>
        <p:spPr>
          <a:xfrm>
            <a:off x="4696124" y="412086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F04C4D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8" name="object 50"/>
          <p:cNvSpPr/>
          <p:nvPr/>
        </p:nvSpPr>
        <p:spPr>
          <a:xfrm>
            <a:off x="4441297" y="46123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F04C4D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9" name="object 48"/>
          <p:cNvSpPr/>
          <p:nvPr/>
        </p:nvSpPr>
        <p:spPr>
          <a:xfrm>
            <a:off x="3130532" y="40499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0" name="object 42"/>
          <p:cNvSpPr/>
          <p:nvPr/>
        </p:nvSpPr>
        <p:spPr>
          <a:xfrm>
            <a:off x="5748103" y="33118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1" name="object 44"/>
          <p:cNvSpPr/>
          <p:nvPr/>
        </p:nvSpPr>
        <p:spPr>
          <a:xfrm>
            <a:off x="5560113" y="25802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2" name="object 46"/>
          <p:cNvSpPr/>
          <p:nvPr/>
        </p:nvSpPr>
        <p:spPr>
          <a:xfrm>
            <a:off x="5421508" y="296447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3" name="object 40"/>
          <p:cNvSpPr/>
          <p:nvPr/>
        </p:nvSpPr>
        <p:spPr>
          <a:xfrm>
            <a:off x="5213120" y="49216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4" name="object 38"/>
          <p:cNvSpPr/>
          <p:nvPr/>
        </p:nvSpPr>
        <p:spPr>
          <a:xfrm>
            <a:off x="7032365" y="221911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5" name="object 36"/>
          <p:cNvSpPr/>
          <p:nvPr/>
        </p:nvSpPr>
        <p:spPr>
          <a:xfrm>
            <a:off x="7385165" y="340218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6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7"/>
                </a:lnTo>
                <a:lnTo>
                  <a:pt x="310251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6094C9"/>
          </a:solidFill>
          <a:ln w="28575">
            <a:solidFill>
              <a:srgbClr val="46719B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6" name="object 34"/>
          <p:cNvSpPr/>
          <p:nvPr/>
        </p:nvSpPr>
        <p:spPr>
          <a:xfrm>
            <a:off x="5038354" y="24830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7" name="object 32"/>
          <p:cNvSpPr/>
          <p:nvPr/>
        </p:nvSpPr>
        <p:spPr>
          <a:xfrm>
            <a:off x="7192732" y="159327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8" name="object 30"/>
          <p:cNvSpPr/>
          <p:nvPr/>
        </p:nvSpPr>
        <p:spPr>
          <a:xfrm>
            <a:off x="6201572" y="316997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9" name="object 28"/>
          <p:cNvSpPr/>
          <p:nvPr/>
        </p:nvSpPr>
        <p:spPr>
          <a:xfrm>
            <a:off x="4877989" y="532865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0" name="object 26"/>
          <p:cNvSpPr/>
          <p:nvPr/>
        </p:nvSpPr>
        <p:spPr>
          <a:xfrm>
            <a:off x="5581873" y="4521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1" name="object 24"/>
          <p:cNvSpPr/>
          <p:nvPr/>
        </p:nvSpPr>
        <p:spPr>
          <a:xfrm>
            <a:off x="3528670" y="35173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2" name="object 22"/>
          <p:cNvSpPr/>
          <p:nvPr/>
        </p:nvSpPr>
        <p:spPr>
          <a:xfrm>
            <a:off x="3252845" y="520650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7F1676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3" name="object 20"/>
          <p:cNvSpPr/>
          <p:nvPr/>
        </p:nvSpPr>
        <p:spPr>
          <a:xfrm>
            <a:off x="3849401" y="4051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4" name="object 18"/>
          <p:cNvSpPr/>
          <p:nvPr/>
        </p:nvSpPr>
        <p:spPr>
          <a:xfrm>
            <a:off x="6713687" y="269105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5" name="object 6"/>
          <p:cNvSpPr txBox="1"/>
          <p:nvPr/>
        </p:nvSpPr>
        <p:spPr>
          <a:xfrm>
            <a:off x="1332125" y="3759280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sp>
        <p:nvSpPr>
          <p:cNvPr id="116" name="object 5"/>
          <p:cNvSpPr txBox="1"/>
          <p:nvPr/>
        </p:nvSpPr>
        <p:spPr>
          <a:xfrm>
            <a:off x="5426815" y="6116930"/>
            <a:ext cx="542241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Age</a:t>
            </a:r>
            <a:endParaRPr sz="2400">
              <a:cs typeface="Calibri"/>
            </a:endParaRPr>
          </a:p>
        </p:txBody>
      </p:sp>
      <p:grpSp>
        <p:nvGrpSpPr>
          <p:cNvPr id="117" name="Group 116"/>
          <p:cNvGrpSpPr/>
          <p:nvPr/>
        </p:nvGrpSpPr>
        <p:grpSpPr>
          <a:xfrm>
            <a:off x="2383438" y="1888930"/>
            <a:ext cx="6303362" cy="4054670"/>
            <a:chOff x="2343901" y="1923700"/>
            <a:chExt cx="6303362" cy="4054670"/>
          </a:xfrm>
        </p:grpSpPr>
        <p:sp>
          <p:nvSpPr>
            <p:cNvPr id="118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119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</p:spTree>
    <p:extLst>
      <p:ext uri="{BB962C8B-B14F-4D97-AF65-F5344CB8AC3E}">
        <p14:creationId xmlns:p14="http://schemas.microsoft.com/office/powerpoint/2010/main" val="3240296609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" name="object 10"/>
          <p:cNvSpPr txBox="1"/>
          <p:nvPr/>
        </p:nvSpPr>
        <p:spPr>
          <a:xfrm>
            <a:off x="2101916" y="369650"/>
            <a:ext cx="6296519" cy="4318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3400"/>
              </a:lnSpc>
              <a:spcBef>
                <a:spcPts val="170"/>
              </a:spcBef>
            </a:pPr>
            <a:r>
              <a:rPr lang="en-US" sz="4800" baseline="1706" dirty="0">
                <a:solidFill>
                  <a:srgbClr val="4E81BC"/>
                </a:solidFill>
                <a:latin typeface="+mj-lt"/>
                <a:cs typeface="Calibri"/>
              </a:rPr>
              <a:t>Agglomerative </a:t>
            </a:r>
            <a:r>
              <a:rPr sz="4800" spc="0" baseline="1706" dirty="0" smtClean="0">
                <a:solidFill>
                  <a:srgbClr val="4E81BC"/>
                </a:solidFill>
                <a:latin typeface="+mj-lt"/>
                <a:cs typeface="Calibri"/>
              </a:rPr>
              <a:t>Hierarchical Clustering</a:t>
            </a:r>
            <a:endParaRPr sz="3200" dirty="0">
              <a:latin typeface="+mj-lt"/>
              <a:cs typeface="Calibri"/>
            </a:endParaRPr>
          </a:p>
        </p:txBody>
      </p:sp>
      <p:sp>
        <p:nvSpPr>
          <p:cNvPr id="82" name="object 11"/>
          <p:cNvSpPr txBox="1"/>
          <p:nvPr/>
        </p:nvSpPr>
        <p:spPr>
          <a:xfrm>
            <a:off x="2101916" y="852250"/>
            <a:ext cx="6584884" cy="4318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>
            <a:defPPr>
              <a:defRPr lang="en-US"/>
            </a:defPPr>
            <a:lvl1pPr marL="12700">
              <a:lnSpc>
                <a:spcPts val="3400"/>
              </a:lnSpc>
              <a:spcBef>
                <a:spcPts val="170"/>
              </a:spcBef>
              <a:defRPr sz="4800" spc="0" baseline="1706">
                <a:solidFill>
                  <a:srgbClr val="7F7E7E"/>
                </a:solidFill>
                <a:latin typeface="Calibri"/>
                <a:cs typeface="Calibri"/>
              </a:defRPr>
            </a:lvl1pPr>
          </a:lstStyle>
          <a:p>
            <a:r>
              <a:rPr lang="en-US" dirty="0" smtClean="0">
                <a:latin typeface="+mj-lt"/>
              </a:rPr>
              <a:t>Current </a:t>
            </a:r>
            <a:r>
              <a:rPr lang="en-US" dirty="0" err="1" smtClean="0">
                <a:solidFill>
                  <a:srgbClr val="F69545"/>
                </a:solidFill>
                <a:latin typeface="+mj-lt"/>
              </a:rPr>
              <a:t>num_clusters</a:t>
            </a:r>
            <a:r>
              <a:rPr lang="en-US" dirty="0" smtClean="0">
                <a:solidFill>
                  <a:srgbClr val="F69545"/>
                </a:solidFill>
                <a:latin typeface="+mj-lt"/>
              </a:rPr>
              <a:t> = 6</a:t>
            </a:r>
            <a:endParaRPr dirty="0">
              <a:solidFill>
                <a:srgbClr val="F69545"/>
              </a:solidFill>
              <a:latin typeface="+mj-lt"/>
            </a:endParaRPr>
          </a:p>
        </p:txBody>
      </p:sp>
      <p:sp>
        <p:nvSpPr>
          <p:cNvPr id="83" name="object 82"/>
          <p:cNvSpPr/>
          <p:nvPr/>
        </p:nvSpPr>
        <p:spPr>
          <a:xfrm>
            <a:off x="4414372" y="54871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4" name="object 84"/>
          <p:cNvSpPr/>
          <p:nvPr/>
        </p:nvSpPr>
        <p:spPr>
          <a:xfrm>
            <a:off x="5399747" y="55212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5" name="object 86"/>
          <p:cNvSpPr/>
          <p:nvPr/>
        </p:nvSpPr>
        <p:spPr>
          <a:xfrm>
            <a:off x="6251551" y="55023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6" name="object 74"/>
          <p:cNvSpPr/>
          <p:nvPr/>
        </p:nvSpPr>
        <p:spPr>
          <a:xfrm>
            <a:off x="2668469" y="519520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7F1676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7" name="object 72"/>
          <p:cNvSpPr/>
          <p:nvPr/>
        </p:nvSpPr>
        <p:spPr>
          <a:xfrm>
            <a:off x="5959366" y="251737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40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80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8" name="object 70"/>
          <p:cNvSpPr/>
          <p:nvPr/>
        </p:nvSpPr>
        <p:spPr>
          <a:xfrm>
            <a:off x="5560113" y="213564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9" name="object 68"/>
          <p:cNvSpPr/>
          <p:nvPr/>
        </p:nvSpPr>
        <p:spPr>
          <a:xfrm>
            <a:off x="5148028" y="1723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0" name="object 66"/>
          <p:cNvSpPr/>
          <p:nvPr/>
        </p:nvSpPr>
        <p:spPr>
          <a:xfrm>
            <a:off x="6872003" y="34121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1" name="object 63"/>
          <p:cNvSpPr/>
          <p:nvPr/>
        </p:nvSpPr>
        <p:spPr>
          <a:xfrm>
            <a:off x="5880842" y="502152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6"/>
                </a:lnTo>
                <a:lnTo>
                  <a:pt x="1583" y="198179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6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2"/>
                </a:lnTo>
                <a:lnTo>
                  <a:pt x="49876" y="299561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6"/>
                </a:lnTo>
                <a:lnTo>
                  <a:pt x="196530" y="342926"/>
                </a:lnTo>
                <a:lnTo>
                  <a:pt x="209650" y="339004"/>
                </a:lnTo>
                <a:lnTo>
                  <a:pt x="222295" y="333936"/>
                </a:lnTo>
                <a:lnTo>
                  <a:pt x="234413" y="327778"/>
                </a:lnTo>
                <a:lnTo>
                  <a:pt x="245953" y="320583"/>
                </a:lnTo>
                <a:lnTo>
                  <a:pt x="256864" y="312409"/>
                </a:lnTo>
                <a:lnTo>
                  <a:pt x="267095" y="303311"/>
                </a:lnTo>
                <a:lnTo>
                  <a:pt x="276595" y="293343"/>
                </a:lnTo>
                <a:lnTo>
                  <a:pt x="285312" y="282562"/>
                </a:lnTo>
                <a:lnTo>
                  <a:pt x="293195" y="271023"/>
                </a:lnTo>
                <a:lnTo>
                  <a:pt x="300193" y="258781"/>
                </a:lnTo>
                <a:lnTo>
                  <a:pt x="306255" y="245892"/>
                </a:lnTo>
                <a:lnTo>
                  <a:pt x="311330" y="232411"/>
                </a:lnTo>
                <a:lnTo>
                  <a:pt x="315366" y="218394"/>
                </a:lnTo>
                <a:lnTo>
                  <a:pt x="318312" y="203896"/>
                </a:lnTo>
                <a:lnTo>
                  <a:pt x="320117" y="188973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9" y="93485"/>
                </a:lnTo>
                <a:lnTo>
                  <a:pt x="296006" y="80986"/>
                </a:lnTo>
                <a:lnTo>
                  <a:pt x="288459" y="69169"/>
                </a:lnTo>
                <a:lnTo>
                  <a:pt x="280058" y="58089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4"/>
                </a:lnTo>
                <a:lnTo>
                  <a:pt x="86318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2" name="object 62"/>
          <p:cNvSpPr/>
          <p:nvPr/>
        </p:nvSpPr>
        <p:spPr>
          <a:xfrm>
            <a:off x="4326962" y="34938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3" name="object 60"/>
          <p:cNvSpPr/>
          <p:nvPr/>
        </p:nvSpPr>
        <p:spPr>
          <a:xfrm>
            <a:off x="3451263" y="457102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4" name="object 58"/>
          <p:cNvSpPr/>
          <p:nvPr/>
        </p:nvSpPr>
        <p:spPr>
          <a:xfrm>
            <a:off x="7513462" y="204543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5" name="object 56"/>
          <p:cNvSpPr/>
          <p:nvPr/>
        </p:nvSpPr>
        <p:spPr>
          <a:xfrm>
            <a:off x="6553321" y="196196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6" name="object 54"/>
          <p:cNvSpPr/>
          <p:nvPr/>
        </p:nvSpPr>
        <p:spPr>
          <a:xfrm>
            <a:off x="7353097" y="275391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7" name="object 52"/>
          <p:cNvSpPr/>
          <p:nvPr/>
        </p:nvSpPr>
        <p:spPr>
          <a:xfrm>
            <a:off x="4696124" y="412086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F04C4D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8" name="object 50"/>
          <p:cNvSpPr/>
          <p:nvPr/>
        </p:nvSpPr>
        <p:spPr>
          <a:xfrm>
            <a:off x="4441297" y="46123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F04C4D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9" name="object 48"/>
          <p:cNvSpPr/>
          <p:nvPr/>
        </p:nvSpPr>
        <p:spPr>
          <a:xfrm>
            <a:off x="3130532" y="40499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0" name="object 42"/>
          <p:cNvSpPr/>
          <p:nvPr/>
        </p:nvSpPr>
        <p:spPr>
          <a:xfrm>
            <a:off x="5748103" y="33118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1" name="object 44"/>
          <p:cNvSpPr/>
          <p:nvPr/>
        </p:nvSpPr>
        <p:spPr>
          <a:xfrm>
            <a:off x="5560113" y="25802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2" name="object 46"/>
          <p:cNvSpPr/>
          <p:nvPr/>
        </p:nvSpPr>
        <p:spPr>
          <a:xfrm>
            <a:off x="5421508" y="296447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3" name="object 40"/>
          <p:cNvSpPr/>
          <p:nvPr/>
        </p:nvSpPr>
        <p:spPr>
          <a:xfrm>
            <a:off x="5213120" y="49216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4" name="object 38"/>
          <p:cNvSpPr/>
          <p:nvPr/>
        </p:nvSpPr>
        <p:spPr>
          <a:xfrm>
            <a:off x="7032365" y="221911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5" name="object 36"/>
          <p:cNvSpPr/>
          <p:nvPr/>
        </p:nvSpPr>
        <p:spPr>
          <a:xfrm>
            <a:off x="7385165" y="340218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6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7"/>
                </a:lnTo>
                <a:lnTo>
                  <a:pt x="310251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6" name="object 34"/>
          <p:cNvSpPr/>
          <p:nvPr/>
        </p:nvSpPr>
        <p:spPr>
          <a:xfrm>
            <a:off x="5038354" y="24830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7" name="object 32"/>
          <p:cNvSpPr/>
          <p:nvPr/>
        </p:nvSpPr>
        <p:spPr>
          <a:xfrm>
            <a:off x="7192732" y="159327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8" name="object 30"/>
          <p:cNvSpPr/>
          <p:nvPr/>
        </p:nvSpPr>
        <p:spPr>
          <a:xfrm>
            <a:off x="6201572" y="316997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9" name="object 28"/>
          <p:cNvSpPr/>
          <p:nvPr/>
        </p:nvSpPr>
        <p:spPr>
          <a:xfrm>
            <a:off x="4877989" y="532865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0" name="object 26"/>
          <p:cNvSpPr/>
          <p:nvPr/>
        </p:nvSpPr>
        <p:spPr>
          <a:xfrm>
            <a:off x="5581873" y="4521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1" name="object 24"/>
          <p:cNvSpPr/>
          <p:nvPr/>
        </p:nvSpPr>
        <p:spPr>
          <a:xfrm>
            <a:off x="3528670" y="35173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2" name="object 22"/>
          <p:cNvSpPr/>
          <p:nvPr/>
        </p:nvSpPr>
        <p:spPr>
          <a:xfrm>
            <a:off x="3252845" y="520650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7F1676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3" name="object 20"/>
          <p:cNvSpPr/>
          <p:nvPr/>
        </p:nvSpPr>
        <p:spPr>
          <a:xfrm>
            <a:off x="3849401" y="4051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4" name="object 18"/>
          <p:cNvSpPr/>
          <p:nvPr/>
        </p:nvSpPr>
        <p:spPr>
          <a:xfrm>
            <a:off x="6713687" y="269105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5" name="object 6"/>
          <p:cNvSpPr txBox="1"/>
          <p:nvPr/>
        </p:nvSpPr>
        <p:spPr>
          <a:xfrm>
            <a:off x="1332125" y="3759280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sp>
        <p:nvSpPr>
          <p:cNvPr id="116" name="object 5"/>
          <p:cNvSpPr txBox="1"/>
          <p:nvPr/>
        </p:nvSpPr>
        <p:spPr>
          <a:xfrm>
            <a:off x="5426815" y="6116930"/>
            <a:ext cx="542241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Age</a:t>
            </a:r>
            <a:endParaRPr sz="2400">
              <a:cs typeface="Calibri"/>
            </a:endParaRPr>
          </a:p>
        </p:txBody>
      </p:sp>
      <p:grpSp>
        <p:nvGrpSpPr>
          <p:cNvPr id="117" name="Group 116"/>
          <p:cNvGrpSpPr/>
          <p:nvPr/>
        </p:nvGrpSpPr>
        <p:grpSpPr>
          <a:xfrm>
            <a:off x="2383438" y="1888930"/>
            <a:ext cx="6303362" cy="4054670"/>
            <a:chOff x="2343901" y="1923700"/>
            <a:chExt cx="6303362" cy="4054670"/>
          </a:xfrm>
        </p:grpSpPr>
        <p:sp>
          <p:nvSpPr>
            <p:cNvPr id="118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119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</p:spTree>
    <p:extLst>
      <p:ext uri="{BB962C8B-B14F-4D97-AF65-F5344CB8AC3E}">
        <p14:creationId xmlns:p14="http://schemas.microsoft.com/office/powerpoint/2010/main" val="3621383531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" name="object 10"/>
          <p:cNvSpPr txBox="1"/>
          <p:nvPr/>
        </p:nvSpPr>
        <p:spPr>
          <a:xfrm>
            <a:off x="2101916" y="369650"/>
            <a:ext cx="6296519" cy="4318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3400"/>
              </a:lnSpc>
              <a:spcBef>
                <a:spcPts val="170"/>
              </a:spcBef>
            </a:pPr>
            <a:r>
              <a:rPr lang="en-US" sz="4800" baseline="1706" dirty="0">
                <a:solidFill>
                  <a:srgbClr val="4E81BC"/>
                </a:solidFill>
                <a:latin typeface="+mj-lt"/>
                <a:cs typeface="Calibri"/>
              </a:rPr>
              <a:t>Agglomerative </a:t>
            </a:r>
            <a:r>
              <a:rPr sz="4800" spc="0" baseline="1706" dirty="0" smtClean="0">
                <a:solidFill>
                  <a:srgbClr val="4E81BC"/>
                </a:solidFill>
                <a:latin typeface="+mj-lt"/>
                <a:cs typeface="Calibri"/>
              </a:rPr>
              <a:t>Hierarchical Clustering</a:t>
            </a:r>
            <a:endParaRPr sz="3200" dirty="0">
              <a:latin typeface="+mj-lt"/>
              <a:cs typeface="Calibri"/>
            </a:endParaRPr>
          </a:p>
        </p:txBody>
      </p:sp>
      <p:sp>
        <p:nvSpPr>
          <p:cNvPr id="82" name="object 11"/>
          <p:cNvSpPr txBox="1"/>
          <p:nvPr/>
        </p:nvSpPr>
        <p:spPr>
          <a:xfrm>
            <a:off x="2101916" y="852250"/>
            <a:ext cx="6584884" cy="4318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>
            <a:defPPr>
              <a:defRPr lang="en-US"/>
            </a:defPPr>
            <a:lvl1pPr marL="12700">
              <a:lnSpc>
                <a:spcPts val="3400"/>
              </a:lnSpc>
              <a:spcBef>
                <a:spcPts val="170"/>
              </a:spcBef>
              <a:defRPr sz="4800" spc="0" baseline="1706">
                <a:solidFill>
                  <a:srgbClr val="7F7E7E"/>
                </a:solidFill>
                <a:latin typeface="Calibri"/>
                <a:cs typeface="Calibri"/>
              </a:defRPr>
            </a:lvl1pPr>
          </a:lstStyle>
          <a:p>
            <a:r>
              <a:rPr lang="en-US" dirty="0" smtClean="0">
                <a:latin typeface="+mj-lt"/>
              </a:rPr>
              <a:t>Current </a:t>
            </a:r>
            <a:r>
              <a:rPr lang="en-US" dirty="0" err="1" smtClean="0">
                <a:solidFill>
                  <a:srgbClr val="F69545"/>
                </a:solidFill>
                <a:latin typeface="+mj-lt"/>
              </a:rPr>
              <a:t>num_clusters</a:t>
            </a:r>
            <a:r>
              <a:rPr lang="en-US" dirty="0" smtClean="0">
                <a:solidFill>
                  <a:srgbClr val="F69545"/>
                </a:solidFill>
                <a:latin typeface="+mj-lt"/>
              </a:rPr>
              <a:t> = 5</a:t>
            </a:r>
            <a:endParaRPr dirty="0">
              <a:solidFill>
                <a:srgbClr val="F69545"/>
              </a:solidFill>
              <a:latin typeface="+mj-lt"/>
            </a:endParaRPr>
          </a:p>
        </p:txBody>
      </p:sp>
      <p:sp>
        <p:nvSpPr>
          <p:cNvPr id="83" name="object 82"/>
          <p:cNvSpPr/>
          <p:nvPr/>
        </p:nvSpPr>
        <p:spPr>
          <a:xfrm>
            <a:off x="4414372" y="54871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4" name="object 84"/>
          <p:cNvSpPr/>
          <p:nvPr/>
        </p:nvSpPr>
        <p:spPr>
          <a:xfrm>
            <a:off x="5399747" y="55212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5" name="object 86"/>
          <p:cNvSpPr/>
          <p:nvPr/>
        </p:nvSpPr>
        <p:spPr>
          <a:xfrm>
            <a:off x="6251551" y="55023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6" name="object 74"/>
          <p:cNvSpPr/>
          <p:nvPr/>
        </p:nvSpPr>
        <p:spPr>
          <a:xfrm>
            <a:off x="2668469" y="519520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7F1676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7" name="object 72"/>
          <p:cNvSpPr/>
          <p:nvPr/>
        </p:nvSpPr>
        <p:spPr>
          <a:xfrm>
            <a:off x="5959366" y="251737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40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80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8" name="object 70"/>
          <p:cNvSpPr/>
          <p:nvPr/>
        </p:nvSpPr>
        <p:spPr>
          <a:xfrm>
            <a:off x="5560113" y="213564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9" name="object 68"/>
          <p:cNvSpPr/>
          <p:nvPr/>
        </p:nvSpPr>
        <p:spPr>
          <a:xfrm>
            <a:off x="5148028" y="1723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0" name="object 66"/>
          <p:cNvSpPr/>
          <p:nvPr/>
        </p:nvSpPr>
        <p:spPr>
          <a:xfrm>
            <a:off x="6872003" y="34121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1" name="object 63"/>
          <p:cNvSpPr/>
          <p:nvPr/>
        </p:nvSpPr>
        <p:spPr>
          <a:xfrm>
            <a:off x="5880842" y="502152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6"/>
                </a:lnTo>
                <a:lnTo>
                  <a:pt x="1583" y="198179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6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2"/>
                </a:lnTo>
                <a:lnTo>
                  <a:pt x="49876" y="299561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6"/>
                </a:lnTo>
                <a:lnTo>
                  <a:pt x="196530" y="342926"/>
                </a:lnTo>
                <a:lnTo>
                  <a:pt x="209650" y="339004"/>
                </a:lnTo>
                <a:lnTo>
                  <a:pt x="222295" y="333936"/>
                </a:lnTo>
                <a:lnTo>
                  <a:pt x="234413" y="327778"/>
                </a:lnTo>
                <a:lnTo>
                  <a:pt x="245953" y="320583"/>
                </a:lnTo>
                <a:lnTo>
                  <a:pt x="256864" y="312409"/>
                </a:lnTo>
                <a:lnTo>
                  <a:pt x="267095" y="303311"/>
                </a:lnTo>
                <a:lnTo>
                  <a:pt x="276595" y="293343"/>
                </a:lnTo>
                <a:lnTo>
                  <a:pt x="285312" y="282562"/>
                </a:lnTo>
                <a:lnTo>
                  <a:pt x="293195" y="271023"/>
                </a:lnTo>
                <a:lnTo>
                  <a:pt x="300193" y="258781"/>
                </a:lnTo>
                <a:lnTo>
                  <a:pt x="306255" y="245892"/>
                </a:lnTo>
                <a:lnTo>
                  <a:pt x="311330" y="232411"/>
                </a:lnTo>
                <a:lnTo>
                  <a:pt x="315366" y="218394"/>
                </a:lnTo>
                <a:lnTo>
                  <a:pt x="318312" y="203896"/>
                </a:lnTo>
                <a:lnTo>
                  <a:pt x="320117" y="188973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9" y="93485"/>
                </a:lnTo>
                <a:lnTo>
                  <a:pt x="296006" y="80986"/>
                </a:lnTo>
                <a:lnTo>
                  <a:pt x="288459" y="69169"/>
                </a:lnTo>
                <a:lnTo>
                  <a:pt x="280058" y="58089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4"/>
                </a:lnTo>
                <a:lnTo>
                  <a:pt x="86318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2" name="object 62"/>
          <p:cNvSpPr/>
          <p:nvPr/>
        </p:nvSpPr>
        <p:spPr>
          <a:xfrm>
            <a:off x="4326962" y="34938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3" name="object 60"/>
          <p:cNvSpPr/>
          <p:nvPr/>
        </p:nvSpPr>
        <p:spPr>
          <a:xfrm>
            <a:off x="3451263" y="457102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4" name="object 58"/>
          <p:cNvSpPr/>
          <p:nvPr/>
        </p:nvSpPr>
        <p:spPr>
          <a:xfrm>
            <a:off x="7513462" y="204543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5" name="object 56"/>
          <p:cNvSpPr/>
          <p:nvPr/>
        </p:nvSpPr>
        <p:spPr>
          <a:xfrm>
            <a:off x="6553321" y="196196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6" name="object 54"/>
          <p:cNvSpPr/>
          <p:nvPr/>
        </p:nvSpPr>
        <p:spPr>
          <a:xfrm>
            <a:off x="7353097" y="275391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7" name="object 52"/>
          <p:cNvSpPr/>
          <p:nvPr/>
        </p:nvSpPr>
        <p:spPr>
          <a:xfrm>
            <a:off x="4696124" y="412086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8" name="object 50"/>
          <p:cNvSpPr/>
          <p:nvPr/>
        </p:nvSpPr>
        <p:spPr>
          <a:xfrm>
            <a:off x="4441297" y="46123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9" name="object 48"/>
          <p:cNvSpPr/>
          <p:nvPr/>
        </p:nvSpPr>
        <p:spPr>
          <a:xfrm>
            <a:off x="3130532" y="40499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0" name="object 42"/>
          <p:cNvSpPr/>
          <p:nvPr/>
        </p:nvSpPr>
        <p:spPr>
          <a:xfrm>
            <a:off x="5748103" y="33118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1" name="object 44"/>
          <p:cNvSpPr/>
          <p:nvPr/>
        </p:nvSpPr>
        <p:spPr>
          <a:xfrm>
            <a:off x="5560113" y="25802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2" name="object 46"/>
          <p:cNvSpPr/>
          <p:nvPr/>
        </p:nvSpPr>
        <p:spPr>
          <a:xfrm>
            <a:off x="5421508" y="296447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3" name="object 40"/>
          <p:cNvSpPr/>
          <p:nvPr/>
        </p:nvSpPr>
        <p:spPr>
          <a:xfrm>
            <a:off x="5213120" y="49216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4" name="object 38"/>
          <p:cNvSpPr/>
          <p:nvPr/>
        </p:nvSpPr>
        <p:spPr>
          <a:xfrm>
            <a:off x="7032365" y="221911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5" name="object 36"/>
          <p:cNvSpPr/>
          <p:nvPr/>
        </p:nvSpPr>
        <p:spPr>
          <a:xfrm>
            <a:off x="7385165" y="340218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6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7"/>
                </a:lnTo>
                <a:lnTo>
                  <a:pt x="310251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6" name="object 34"/>
          <p:cNvSpPr/>
          <p:nvPr/>
        </p:nvSpPr>
        <p:spPr>
          <a:xfrm>
            <a:off x="5038354" y="24830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7" name="object 32"/>
          <p:cNvSpPr/>
          <p:nvPr/>
        </p:nvSpPr>
        <p:spPr>
          <a:xfrm>
            <a:off x="7192732" y="159327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8" name="object 30"/>
          <p:cNvSpPr/>
          <p:nvPr/>
        </p:nvSpPr>
        <p:spPr>
          <a:xfrm>
            <a:off x="6201572" y="316997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9" name="object 28"/>
          <p:cNvSpPr/>
          <p:nvPr/>
        </p:nvSpPr>
        <p:spPr>
          <a:xfrm>
            <a:off x="4877989" y="532865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0" name="object 26"/>
          <p:cNvSpPr/>
          <p:nvPr/>
        </p:nvSpPr>
        <p:spPr>
          <a:xfrm>
            <a:off x="5581873" y="4521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1" name="object 24"/>
          <p:cNvSpPr/>
          <p:nvPr/>
        </p:nvSpPr>
        <p:spPr>
          <a:xfrm>
            <a:off x="3528670" y="35173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2" name="object 22"/>
          <p:cNvSpPr/>
          <p:nvPr/>
        </p:nvSpPr>
        <p:spPr>
          <a:xfrm>
            <a:off x="3252845" y="520650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7F1676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3" name="object 20"/>
          <p:cNvSpPr/>
          <p:nvPr/>
        </p:nvSpPr>
        <p:spPr>
          <a:xfrm>
            <a:off x="3849401" y="4051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4" name="object 18"/>
          <p:cNvSpPr/>
          <p:nvPr/>
        </p:nvSpPr>
        <p:spPr>
          <a:xfrm>
            <a:off x="6713687" y="269105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5" name="object 6"/>
          <p:cNvSpPr txBox="1"/>
          <p:nvPr/>
        </p:nvSpPr>
        <p:spPr>
          <a:xfrm>
            <a:off x="1332125" y="3759280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sp>
        <p:nvSpPr>
          <p:cNvPr id="116" name="object 5"/>
          <p:cNvSpPr txBox="1"/>
          <p:nvPr/>
        </p:nvSpPr>
        <p:spPr>
          <a:xfrm>
            <a:off x="5426815" y="6116930"/>
            <a:ext cx="542241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Age</a:t>
            </a:r>
            <a:endParaRPr sz="2400">
              <a:cs typeface="Calibri"/>
            </a:endParaRPr>
          </a:p>
        </p:txBody>
      </p:sp>
      <p:grpSp>
        <p:nvGrpSpPr>
          <p:cNvPr id="117" name="Group 116"/>
          <p:cNvGrpSpPr/>
          <p:nvPr/>
        </p:nvGrpSpPr>
        <p:grpSpPr>
          <a:xfrm>
            <a:off x="2383438" y="1888930"/>
            <a:ext cx="6303362" cy="4054670"/>
            <a:chOff x="2343901" y="1923700"/>
            <a:chExt cx="6303362" cy="4054670"/>
          </a:xfrm>
        </p:grpSpPr>
        <p:sp>
          <p:nvSpPr>
            <p:cNvPr id="118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119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</p:spTree>
    <p:extLst>
      <p:ext uri="{BB962C8B-B14F-4D97-AF65-F5344CB8AC3E}">
        <p14:creationId xmlns:p14="http://schemas.microsoft.com/office/powerpoint/2010/main" val="3525932695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" name="object 10"/>
          <p:cNvSpPr txBox="1"/>
          <p:nvPr/>
        </p:nvSpPr>
        <p:spPr>
          <a:xfrm>
            <a:off x="2101916" y="369650"/>
            <a:ext cx="6296519" cy="4318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3400"/>
              </a:lnSpc>
              <a:spcBef>
                <a:spcPts val="170"/>
              </a:spcBef>
            </a:pPr>
            <a:r>
              <a:rPr lang="en-US" sz="4800" baseline="1706" dirty="0">
                <a:solidFill>
                  <a:srgbClr val="4E81BC"/>
                </a:solidFill>
                <a:latin typeface="+mj-lt"/>
                <a:cs typeface="Calibri"/>
              </a:rPr>
              <a:t>Agglomerative </a:t>
            </a:r>
            <a:r>
              <a:rPr sz="4800" spc="0" baseline="1706" dirty="0" smtClean="0">
                <a:solidFill>
                  <a:srgbClr val="4E81BC"/>
                </a:solidFill>
                <a:latin typeface="+mj-lt"/>
                <a:cs typeface="Calibri"/>
              </a:rPr>
              <a:t>Hierarchical Clustering</a:t>
            </a:r>
            <a:endParaRPr sz="3200" dirty="0">
              <a:latin typeface="+mj-lt"/>
              <a:cs typeface="Calibri"/>
            </a:endParaRPr>
          </a:p>
        </p:txBody>
      </p:sp>
      <p:sp>
        <p:nvSpPr>
          <p:cNvPr id="82" name="object 11"/>
          <p:cNvSpPr txBox="1"/>
          <p:nvPr/>
        </p:nvSpPr>
        <p:spPr>
          <a:xfrm>
            <a:off x="2101916" y="852250"/>
            <a:ext cx="6584884" cy="4318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>
            <a:defPPr>
              <a:defRPr lang="en-US"/>
            </a:defPPr>
            <a:lvl1pPr marL="12700">
              <a:lnSpc>
                <a:spcPts val="3400"/>
              </a:lnSpc>
              <a:spcBef>
                <a:spcPts val="170"/>
              </a:spcBef>
              <a:defRPr sz="4800" spc="0" baseline="1706">
                <a:solidFill>
                  <a:srgbClr val="7F7E7E"/>
                </a:solidFill>
                <a:latin typeface="Calibri"/>
                <a:cs typeface="Calibri"/>
              </a:defRPr>
            </a:lvl1pPr>
          </a:lstStyle>
          <a:p>
            <a:r>
              <a:rPr lang="en-US" dirty="0" smtClean="0">
                <a:latin typeface="+mj-lt"/>
              </a:rPr>
              <a:t>Current </a:t>
            </a:r>
            <a:r>
              <a:rPr lang="en-US" dirty="0" err="1" smtClean="0">
                <a:solidFill>
                  <a:srgbClr val="F69545"/>
                </a:solidFill>
                <a:latin typeface="+mj-lt"/>
              </a:rPr>
              <a:t>num_clusters</a:t>
            </a:r>
            <a:r>
              <a:rPr lang="en-US" dirty="0" smtClean="0">
                <a:solidFill>
                  <a:srgbClr val="F69545"/>
                </a:solidFill>
                <a:latin typeface="+mj-lt"/>
              </a:rPr>
              <a:t> = 4</a:t>
            </a:r>
            <a:endParaRPr dirty="0">
              <a:solidFill>
                <a:srgbClr val="F69545"/>
              </a:solidFill>
              <a:latin typeface="+mj-lt"/>
            </a:endParaRPr>
          </a:p>
        </p:txBody>
      </p:sp>
      <p:sp>
        <p:nvSpPr>
          <p:cNvPr id="83" name="object 82"/>
          <p:cNvSpPr/>
          <p:nvPr/>
        </p:nvSpPr>
        <p:spPr>
          <a:xfrm>
            <a:off x="4414372" y="54871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4" name="object 84"/>
          <p:cNvSpPr/>
          <p:nvPr/>
        </p:nvSpPr>
        <p:spPr>
          <a:xfrm>
            <a:off x="5399747" y="55212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5" name="object 86"/>
          <p:cNvSpPr/>
          <p:nvPr/>
        </p:nvSpPr>
        <p:spPr>
          <a:xfrm>
            <a:off x="6251551" y="55023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6" name="object 74"/>
          <p:cNvSpPr/>
          <p:nvPr/>
        </p:nvSpPr>
        <p:spPr>
          <a:xfrm>
            <a:off x="2668469" y="519520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7" name="object 72"/>
          <p:cNvSpPr/>
          <p:nvPr/>
        </p:nvSpPr>
        <p:spPr>
          <a:xfrm>
            <a:off x="5959366" y="251737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40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80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8" name="object 70"/>
          <p:cNvSpPr/>
          <p:nvPr/>
        </p:nvSpPr>
        <p:spPr>
          <a:xfrm>
            <a:off x="5560113" y="213564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9" name="object 68"/>
          <p:cNvSpPr/>
          <p:nvPr/>
        </p:nvSpPr>
        <p:spPr>
          <a:xfrm>
            <a:off x="5148028" y="1723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0" name="object 66"/>
          <p:cNvSpPr/>
          <p:nvPr/>
        </p:nvSpPr>
        <p:spPr>
          <a:xfrm>
            <a:off x="6872003" y="34121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1" name="object 63"/>
          <p:cNvSpPr/>
          <p:nvPr/>
        </p:nvSpPr>
        <p:spPr>
          <a:xfrm>
            <a:off x="5880842" y="502152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6"/>
                </a:lnTo>
                <a:lnTo>
                  <a:pt x="1583" y="198179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6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2"/>
                </a:lnTo>
                <a:lnTo>
                  <a:pt x="49876" y="299561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6"/>
                </a:lnTo>
                <a:lnTo>
                  <a:pt x="196530" y="342926"/>
                </a:lnTo>
                <a:lnTo>
                  <a:pt x="209650" y="339004"/>
                </a:lnTo>
                <a:lnTo>
                  <a:pt x="222295" y="333936"/>
                </a:lnTo>
                <a:lnTo>
                  <a:pt x="234413" y="327778"/>
                </a:lnTo>
                <a:lnTo>
                  <a:pt x="245953" y="320583"/>
                </a:lnTo>
                <a:lnTo>
                  <a:pt x="256864" y="312409"/>
                </a:lnTo>
                <a:lnTo>
                  <a:pt x="267095" y="303311"/>
                </a:lnTo>
                <a:lnTo>
                  <a:pt x="276595" y="293343"/>
                </a:lnTo>
                <a:lnTo>
                  <a:pt x="285312" y="282562"/>
                </a:lnTo>
                <a:lnTo>
                  <a:pt x="293195" y="271023"/>
                </a:lnTo>
                <a:lnTo>
                  <a:pt x="300193" y="258781"/>
                </a:lnTo>
                <a:lnTo>
                  <a:pt x="306255" y="245892"/>
                </a:lnTo>
                <a:lnTo>
                  <a:pt x="311330" y="232411"/>
                </a:lnTo>
                <a:lnTo>
                  <a:pt x="315366" y="218394"/>
                </a:lnTo>
                <a:lnTo>
                  <a:pt x="318312" y="203896"/>
                </a:lnTo>
                <a:lnTo>
                  <a:pt x="320117" y="188973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9" y="93485"/>
                </a:lnTo>
                <a:lnTo>
                  <a:pt x="296006" y="80986"/>
                </a:lnTo>
                <a:lnTo>
                  <a:pt x="288459" y="69169"/>
                </a:lnTo>
                <a:lnTo>
                  <a:pt x="280058" y="58089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4"/>
                </a:lnTo>
                <a:lnTo>
                  <a:pt x="86318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2" name="object 62"/>
          <p:cNvSpPr/>
          <p:nvPr/>
        </p:nvSpPr>
        <p:spPr>
          <a:xfrm>
            <a:off x="4326962" y="34938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3" name="object 60"/>
          <p:cNvSpPr/>
          <p:nvPr/>
        </p:nvSpPr>
        <p:spPr>
          <a:xfrm>
            <a:off x="3451263" y="457102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4" name="object 58"/>
          <p:cNvSpPr/>
          <p:nvPr/>
        </p:nvSpPr>
        <p:spPr>
          <a:xfrm>
            <a:off x="7513462" y="204543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5" name="object 56"/>
          <p:cNvSpPr/>
          <p:nvPr/>
        </p:nvSpPr>
        <p:spPr>
          <a:xfrm>
            <a:off x="6553321" y="196196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6" name="object 54"/>
          <p:cNvSpPr/>
          <p:nvPr/>
        </p:nvSpPr>
        <p:spPr>
          <a:xfrm>
            <a:off x="7353097" y="275391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7" name="object 52"/>
          <p:cNvSpPr/>
          <p:nvPr/>
        </p:nvSpPr>
        <p:spPr>
          <a:xfrm>
            <a:off x="4696124" y="412086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8" name="object 50"/>
          <p:cNvSpPr/>
          <p:nvPr/>
        </p:nvSpPr>
        <p:spPr>
          <a:xfrm>
            <a:off x="4441297" y="46123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9" name="object 48"/>
          <p:cNvSpPr/>
          <p:nvPr/>
        </p:nvSpPr>
        <p:spPr>
          <a:xfrm>
            <a:off x="3130532" y="40499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0" name="object 42"/>
          <p:cNvSpPr/>
          <p:nvPr/>
        </p:nvSpPr>
        <p:spPr>
          <a:xfrm>
            <a:off x="5748103" y="33118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1" name="object 44"/>
          <p:cNvSpPr/>
          <p:nvPr/>
        </p:nvSpPr>
        <p:spPr>
          <a:xfrm>
            <a:off x="5560113" y="25802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2" name="object 46"/>
          <p:cNvSpPr/>
          <p:nvPr/>
        </p:nvSpPr>
        <p:spPr>
          <a:xfrm>
            <a:off x="5421508" y="296447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3" name="object 40"/>
          <p:cNvSpPr/>
          <p:nvPr/>
        </p:nvSpPr>
        <p:spPr>
          <a:xfrm>
            <a:off x="5213120" y="49216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4" name="object 38"/>
          <p:cNvSpPr/>
          <p:nvPr/>
        </p:nvSpPr>
        <p:spPr>
          <a:xfrm>
            <a:off x="7032365" y="221911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5" name="object 36"/>
          <p:cNvSpPr/>
          <p:nvPr/>
        </p:nvSpPr>
        <p:spPr>
          <a:xfrm>
            <a:off x="7385165" y="340218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6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7"/>
                </a:lnTo>
                <a:lnTo>
                  <a:pt x="310251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6" name="object 34"/>
          <p:cNvSpPr/>
          <p:nvPr/>
        </p:nvSpPr>
        <p:spPr>
          <a:xfrm>
            <a:off x="5038354" y="24830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7" name="object 32"/>
          <p:cNvSpPr/>
          <p:nvPr/>
        </p:nvSpPr>
        <p:spPr>
          <a:xfrm>
            <a:off x="7192732" y="159327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8" name="object 30"/>
          <p:cNvSpPr/>
          <p:nvPr/>
        </p:nvSpPr>
        <p:spPr>
          <a:xfrm>
            <a:off x="6201572" y="316997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9" name="object 28"/>
          <p:cNvSpPr/>
          <p:nvPr/>
        </p:nvSpPr>
        <p:spPr>
          <a:xfrm>
            <a:off x="4877989" y="532865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0" name="object 26"/>
          <p:cNvSpPr/>
          <p:nvPr/>
        </p:nvSpPr>
        <p:spPr>
          <a:xfrm>
            <a:off x="5581873" y="4521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1" name="object 24"/>
          <p:cNvSpPr/>
          <p:nvPr/>
        </p:nvSpPr>
        <p:spPr>
          <a:xfrm>
            <a:off x="3528670" y="35173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2" name="object 22"/>
          <p:cNvSpPr/>
          <p:nvPr/>
        </p:nvSpPr>
        <p:spPr>
          <a:xfrm>
            <a:off x="3252845" y="520650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3" name="object 20"/>
          <p:cNvSpPr/>
          <p:nvPr/>
        </p:nvSpPr>
        <p:spPr>
          <a:xfrm>
            <a:off x="3849401" y="4051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4" name="object 18"/>
          <p:cNvSpPr/>
          <p:nvPr/>
        </p:nvSpPr>
        <p:spPr>
          <a:xfrm>
            <a:off x="6713687" y="269105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5" name="object 6"/>
          <p:cNvSpPr txBox="1"/>
          <p:nvPr/>
        </p:nvSpPr>
        <p:spPr>
          <a:xfrm>
            <a:off x="1332125" y="3759280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sp>
        <p:nvSpPr>
          <p:cNvPr id="116" name="object 5"/>
          <p:cNvSpPr txBox="1"/>
          <p:nvPr/>
        </p:nvSpPr>
        <p:spPr>
          <a:xfrm>
            <a:off x="5426815" y="6116930"/>
            <a:ext cx="542241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Age</a:t>
            </a:r>
            <a:endParaRPr sz="2400">
              <a:cs typeface="Calibri"/>
            </a:endParaRPr>
          </a:p>
        </p:txBody>
      </p:sp>
      <p:grpSp>
        <p:nvGrpSpPr>
          <p:cNvPr id="117" name="Group 116"/>
          <p:cNvGrpSpPr/>
          <p:nvPr/>
        </p:nvGrpSpPr>
        <p:grpSpPr>
          <a:xfrm>
            <a:off x="2383438" y="1888930"/>
            <a:ext cx="6303362" cy="4054670"/>
            <a:chOff x="2343901" y="1923700"/>
            <a:chExt cx="6303362" cy="4054670"/>
          </a:xfrm>
        </p:grpSpPr>
        <p:sp>
          <p:nvSpPr>
            <p:cNvPr id="118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119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</p:spTree>
    <p:extLst>
      <p:ext uri="{BB962C8B-B14F-4D97-AF65-F5344CB8AC3E}">
        <p14:creationId xmlns:p14="http://schemas.microsoft.com/office/powerpoint/2010/main" val="1385631230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3" name="object 83"/>
          <p:cNvSpPr/>
          <p:nvPr/>
        </p:nvSpPr>
        <p:spPr>
          <a:xfrm>
            <a:off x="4414372" y="54871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5" name="object 85"/>
          <p:cNvSpPr/>
          <p:nvPr/>
        </p:nvSpPr>
        <p:spPr>
          <a:xfrm>
            <a:off x="5399747" y="55212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7" name="object 87"/>
          <p:cNvSpPr/>
          <p:nvPr/>
        </p:nvSpPr>
        <p:spPr>
          <a:xfrm>
            <a:off x="6251551" y="55023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5" name="object 75"/>
          <p:cNvSpPr/>
          <p:nvPr/>
        </p:nvSpPr>
        <p:spPr>
          <a:xfrm>
            <a:off x="2668469" y="519520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3" name="object 73"/>
          <p:cNvSpPr/>
          <p:nvPr/>
        </p:nvSpPr>
        <p:spPr>
          <a:xfrm>
            <a:off x="5959366" y="251737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40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80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1" name="object 71"/>
          <p:cNvSpPr/>
          <p:nvPr/>
        </p:nvSpPr>
        <p:spPr>
          <a:xfrm>
            <a:off x="5560113" y="213564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9" name="object 69"/>
          <p:cNvSpPr/>
          <p:nvPr/>
        </p:nvSpPr>
        <p:spPr>
          <a:xfrm>
            <a:off x="5148028" y="1723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7" name="object 67"/>
          <p:cNvSpPr/>
          <p:nvPr/>
        </p:nvSpPr>
        <p:spPr>
          <a:xfrm>
            <a:off x="6872003" y="34121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5" name="object 65"/>
          <p:cNvSpPr/>
          <p:nvPr/>
        </p:nvSpPr>
        <p:spPr>
          <a:xfrm>
            <a:off x="5880841" y="502152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3" name="object 63"/>
          <p:cNvSpPr/>
          <p:nvPr/>
        </p:nvSpPr>
        <p:spPr>
          <a:xfrm>
            <a:off x="4326962" y="34938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1" name="object 61"/>
          <p:cNvSpPr/>
          <p:nvPr/>
        </p:nvSpPr>
        <p:spPr>
          <a:xfrm>
            <a:off x="3451263" y="457102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9" name="object 59"/>
          <p:cNvSpPr/>
          <p:nvPr/>
        </p:nvSpPr>
        <p:spPr>
          <a:xfrm>
            <a:off x="7513462" y="204543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7" name="object 57"/>
          <p:cNvSpPr/>
          <p:nvPr/>
        </p:nvSpPr>
        <p:spPr>
          <a:xfrm>
            <a:off x="6553321" y="196196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5" name="object 55"/>
          <p:cNvSpPr/>
          <p:nvPr/>
        </p:nvSpPr>
        <p:spPr>
          <a:xfrm>
            <a:off x="7353097" y="275391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3" name="object 53"/>
          <p:cNvSpPr/>
          <p:nvPr/>
        </p:nvSpPr>
        <p:spPr>
          <a:xfrm>
            <a:off x="4696124" y="412086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1" name="object 51"/>
          <p:cNvSpPr/>
          <p:nvPr/>
        </p:nvSpPr>
        <p:spPr>
          <a:xfrm>
            <a:off x="4441297" y="46123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9" name="object 49"/>
          <p:cNvSpPr/>
          <p:nvPr/>
        </p:nvSpPr>
        <p:spPr>
          <a:xfrm>
            <a:off x="3130532" y="40499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3" name="object 43"/>
          <p:cNvSpPr/>
          <p:nvPr/>
        </p:nvSpPr>
        <p:spPr>
          <a:xfrm>
            <a:off x="5748103" y="33118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5" name="object 45"/>
          <p:cNvSpPr/>
          <p:nvPr/>
        </p:nvSpPr>
        <p:spPr>
          <a:xfrm>
            <a:off x="5560113" y="25802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6" name="object 46"/>
          <p:cNvSpPr/>
          <p:nvPr/>
        </p:nvSpPr>
        <p:spPr>
          <a:xfrm>
            <a:off x="5421507" y="296447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1"/>
                </a:moveTo>
                <a:lnTo>
                  <a:pt x="232" y="183108"/>
                </a:lnTo>
                <a:lnTo>
                  <a:pt x="1583" y="198181"/>
                </a:lnTo>
                <a:lnTo>
                  <a:pt x="4094" y="212849"/>
                </a:lnTo>
                <a:lnTo>
                  <a:pt x="7715" y="227059"/>
                </a:lnTo>
                <a:lnTo>
                  <a:pt x="12395" y="240753"/>
                </a:lnTo>
                <a:lnTo>
                  <a:pt x="18082" y="253878"/>
                </a:lnTo>
                <a:lnTo>
                  <a:pt x="24724" y="266376"/>
                </a:lnTo>
                <a:lnTo>
                  <a:pt x="32272" y="278193"/>
                </a:lnTo>
                <a:lnTo>
                  <a:pt x="40673" y="289273"/>
                </a:lnTo>
                <a:lnTo>
                  <a:pt x="49876" y="299562"/>
                </a:lnTo>
                <a:lnTo>
                  <a:pt x="59830" y="309003"/>
                </a:lnTo>
                <a:lnTo>
                  <a:pt x="70485" y="317540"/>
                </a:lnTo>
                <a:lnTo>
                  <a:pt x="81788" y="325120"/>
                </a:lnTo>
                <a:lnTo>
                  <a:pt x="93689" y="331685"/>
                </a:lnTo>
                <a:lnTo>
                  <a:pt x="106136" y="337181"/>
                </a:lnTo>
                <a:lnTo>
                  <a:pt x="119079" y="341552"/>
                </a:lnTo>
                <a:lnTo>
                  <a:pt x="132465" y="344743"/>
                </a:lnTo>
                <a:lnTo>
                  <a:pt x="146244" y="346698"/>
                </a:lnTo>
                <a:lnTo>
                  <a:pt x="160365" y="347362"/>
                </a:lnTo>
                <a:lnTo>
                  <a:pt x="169068" y="347111"/>
                </a:lnTo>
                <a:lnTo>
                  <a:pt x="182985" y="345648"/>
                </a:lnTo>
                <a:lnTo>
                  <a:pt x="196529" y="342928"/>
                </a:lnTo>
                <a:lnTo>
                  <a:pt x="209649" y="339006"/>
                </a:lnTo>
                <a:lnTo>
                  <a:pt x="222294" y="333938"/>
                </a:lnTo>
                <a:lnTo>
                  <a:pt x="234412" y="327779"/>
                </a:lnTo>
                <a:lnTo>
                  <a:pt x="245952" y="320585"/>
                </a:lnTo>
                <a:lnTo>
                  <a:pt x="256863" y="312411"/>
                </a:lnTo>
                <a:lnTo>
                  <a:pt x="267094" y="303312"/>
                </a:lnTo>
                <a:lnTo>
                  <a:pt x="276594" y="293345"/>
                </a:lnTo>
                <a:lnTo>
                  <a:pt x="285311" y="282564"/>
                </a:lnTo>
                <a:lnTo>
                  <a:pt x="293194" y="271025"/>
                </a:lnTo>
                <a:lnTo>
                  <a:pt x="300192" y="258783"/>
                </a:lnTo>
                <a:lnTo>
                  <a:pt x="306254" y="245894"/>
                </a:lnTo>
                <a:lnTo>
                  <a:pt x="311328" y="232413"/>
                </a:lnTo>
                <a:lnTo>
                  <a:pt x="315364" y="218396"/>
                </a:lnTo>
                <a:lnTo>
                  <a:pt x="318311" y="203898"/>
                </a:lnTo>
                <a:lnTo>
                  <a:pt x="320116" y="188974"/>
                </a:lnTo>
                <a:lnTo>
                  <a:pt x="320729" y="173681"/>
                </a:lnTo>
                <a:lnTo>
                  <a:pt x="320497" y="164255"/>
                </a:lnTo>
                <a:lnTo>
                  <a:pt x="319146" y="149182"/>
                </a:lnTo>
                <a:lnTo>
                  <a:pt x="316635" y="134513"/>
                </a:lnTo>
                <a:lnTo>
                  <a:pt x="313014" y="120304"/>
                </a:lnTo>
                <a:lnTo>
                  <a:pt x="308334" y="106609"/>
                </a:lnTo>
                <a:lnTo>
                  <a:pt x="302648" y="93485"/>
                </a:lnTo>
                <a:lnTo>
                  <a:pt x="296005" y="80986"/>
                </a:lnTo>
                <a:lnTo>
                  <a:pt x="288458" y="69169"/>
                </a:lnTo>
                <a:lnTo>
                  <a:pt x="280057" y="58089"/>
                </a:lnTo>
                <a:lnTo>
                  <a:pt x="270854" y="47800"/>
                </a:lnTo>
                <a:lnTo>
                  <a:pt x="260899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1" y="251"/>
                </a:lnTo>
                <a:lnTo>
                  <a:pt x="137744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5" y="13424"/>
                </a:lnTo>
                <a:lnTo>
                  <a:pt x="86317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50"/>
                </a:lnTo>
                <a:lnTo>
                  <a:pt x="44135" y="54017"/>
                </a:lnTo>
                <a:lnTo>
                  <a:pt x="35418" y="64798"/>
                </a:lnTo>
                <a:lnTo>
                  <a:pt x="27535" y="76338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9"/>
                </a:lnTo>
                <a:lnTo>
                  <a:pt x="5364" y="128966"/>
                </a:lnTo>
                <a:lnTo>
                  <a:pt x="2418" y="143464"/>
                </a:lnTo>
                <a:lnTo>
                  <a:pt x="613" y="158388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1" name="object 41"/>
          <p:cNvSpPr/>
          <p:nvPr/>
        </p:nvSpPr>
        <p:spPr>
          <a:xfrm>
            <a:off x="5213120" y="49216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9" name="object 39"/>
          <p:cNvSpPr/>
          <p:nvPr/>
        </p:nvSpPr>
        <p:spPr>
          <a:xfrm>
            <a:off x="7032365" y="221911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7" name="object 37"/>
          <p:cNvSpPr/>
          <p:nvPr/>
        </p:nvSpPr>
        <p:spPr>
          <a:xfrm>
            <a:off x="7385165" y="340218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6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7"/>
                </a:lnTo>
                <a:lnTo>
                  <a:pt x="310251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5" name="object 35"/>
          <p:cNvSpPr/>
          <p:nvPr/>
        </p:nvSpPr>
        <p:spPr>
          <a:xfrm>
            <a:off x="5038354" y="24830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2" name="object 32"/>
          <p:cNvSpPr/>
          <p:nvPr/>
        </p:nvSpPr>
        <p:spPr>
          <a:xfrm>
            <a:off x="7192732" y="159327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6"/>
                </a:lnTo>
                <a:lnTo>
                  <a:pt x="1583" y="198179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6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2"/>
                </a:lnTo>
                <a:lnTo>
                  <a:pt x="49876" y="299561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6"/>
                </a:lnTo>
                <a:lnTo>
                  <a:pt x="196530" y="342926"/>
                </a:lnTo>
                <a:lnTo>
                  <a:pt x="209650" y="339004"/>
                </a:lnTo>
                <a:lnTo>
                  <a:pt x="222295" y="333936"/>
                </a:lnTo>
                <a:lnTo>
                  <a:pt x="234413" y="327778"/>
                </a:lnTo>
                <a:lnTo>
                  <a:pt x="245953" y="320583"/>
                </a:lnTo>
                <a:lnTo>
                  <a:pt x="256864" y="312409"/>
                </a:lnTo>
                <a:lnTo>
                  <a:pt x="267095" y="303311"/>
                </a:lnTo>
                <a:lnTo>
                  <a:pt x="276595" y="293343"/>
                </a:lnTo>
                <a:lnTo>
                  <a:pt x="285312" y="282562"/>
                </a:lnTo>
                <a:lnTo>
                  <a:pt x="293195" y="271023"/>
                </a:lnTo>
                <a:lnTo>
                  <a:pt x="300193" y="258781"/>
                </a:lnTo>
                <a:lnTo>
                  <a:pt x="306255" y="245892"/>
                </a:lnTo>
                <a:lnTo>
                  <a:pt x="311330" y="232411"/>
                </a:lnTo>
                <a:lnTo>
                  <a:pt x="315366" y="218394"/>
                </a:lnTo>
                <a:lnTo>
                  <a:pt x="318312" y="203896"/>
                </a:lnTo>
                <a:lnTo>
                  <a:pt x="320117" y="188973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9" y="93485"/>
                </a:lnTo>
                <a:lnTo>
                  <a:pt x="296006" y="80986"/>
                </a:lnTo>
                <a:lnTo>
                  <a:pt x="288459" y="69169"/>
                </a:lnTo>
                <a:lnTo>
                  <a:pt x="280058" y="58089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4"/>
                </a:lnTo>
                <a:lnTo>
                  <a:pt x="86318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1" name="object 31"/>
          <p:cNvSpPr/>
          <p:nvPr/>
        </p:nvSpPr>
        <p:spPr>
          <a:xfrm>
            <a:off x="6201572" y="316997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9" name="object 29"/>
          <p:cNvSpPr/>
          <p:nvPr/>
        </p:nvSpPr>
        <p:spPr>
          <a:xfrm>
            <a:off x="4877989" y="532865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7" name="object 27"/>
          <p:cNvSpPr/>
          <p:nvPr/>
        </p:nvSpPr>
        <p:spPr>
          <a:xfrm>
            <a:off x="5581873" y="4521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5" name="object 25"/>
          <p:cNvSpPr/>
          <p:nvPr/>
        </p:nvSpPr>
        <p:spPr>
          <a:xfrm>
            <a:off x="3528670" y="35173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3" name="object 23"/>
          <p:cNvSpPr/>
          <p:nvPr/>
        </p:nvSpPr>
        <p:spPr>
          <a:xfrm>
            <a:off x="3252845" y="520650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1" name="object 21"/>
          <p:cNvSpPr/>
          <p:nvPr/>
        </p:nvSpPr>
        <p:spPr>
          <a:xfrm>
            <a:off x="3849401" y="4051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9" name="object 19"/>
          <p:cNvSpPr/>
          <p:nvPr/>
        </p:nvSpPr>
        <p:spPr>
          <a:xfrm>
            <a:off x="6713687" y="269105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7" name="object 17"/>
          <p:cNvSpPr/>
          <p:nvPr/>
        </p:nvSpPr>
        <p:spPr>
          <a:xfrm>
            <a:off x="3528670" y="2656686"/>
            <a:ext cx="394167" cy="381727"/>
          </a:xfrm>
          <a:custGeom>
            <a:avLst/>
            <a:gdLst/>
            <a:ahLst/>
            <a:cxnLst/>
            <a:rect l="l" t="t" r="r" b="b"/>
            <a:pathLst>
              <a:path w="394167" h="381727">
                <a:moveTo>
                  <a:pt x="0" y="0"/>
                </a:moveTo>
                <a:lnTo>
                  <a:pt x="394167" y="0"/>
                </a:lnTo>
                <a:lnTo>
                  <a:pt x="394167" y="381727"/>
                </a:lnTo>
                <a:lnTo>
                  <a:pt x="0" y="381727"/>
                </a:lnTo>
                <a:lnTo>
                  <a:pt x="0" y="0"/>
                </a:lnTo>
                <a:close/>
              </a:path>
            </a:pathLst>
          </a:custGeom>
          <a:solidFill>
            <a:srgbClr val="AAC56C"/>
          </a:solidFill>
          <a:ln w="57150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5" name="object 15"/>
          <p:cNvSpPr/>
          <p:nvPr/>
        </p:nvSpPr>
        <p:spPr>
          <a:xfrm>
            <a:off x="6640250" y="4009392"/>
            <a:ext cx="394168" cy="381727"/>
          </a:xfrm>
          <a:custGeom>
            <a:avLst/>
            <a:gdLst/>
            <a:ahLst/>
            <a:cxnLst/>
            <a:rect l="l" t="t" r="r" b="b"/>
            <a:pathLst>
              <a:path w="394168" h="381727">
                <a:moveTo>
                  <a:pt x="0" y="0"/>
                </a:moveTo>
                <a:lnTo>
                  <a:pt x="394168" y="0"/>
                </a:lnTo>
                <a:lnTo>
                  <a:pt x="394168" y="381727"/>
                </a:lnTo>
                <a:lnTo>
                  <a:pt x="0" y="381727"/>
                </a:lnTo>
                <a:lnTo>
                  <a:pt x="0" y="0"/>
                </a:lnTo>
                <a:close/>
              </a:path>
            </a:pathLst>
          </a:custGeom>
          <a:solidFill>
            <a:srgbClr val="59BAD1"/>
          </a:solidFill>
          <a:ln w="57150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" name="object 13"/>
          <p:cNvSpPr txBox="1"/>
          <p:nvPr/>
        </p:nvSpPr>
        <p:spPr>
          <a:xfrm>
            <a:off x="2101915" y="369650"/>
            <a:ext cx="6280085" cy="436017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>
              <a:lnSpc>
                <a:spcPts val="3400"/>
              </a:lnSpc>
              <a:spcBef>
                <a:spcPts val="170"/>
              </a:spcBef>
            </a:pPr>
            <a:r>
              <a:rPr sz="4800" baseline="1706" dirty="0" smtClean="0">
                <a:solidFill>
                  <a:srgbClr val="4E81BC"/>
                </a:solidFill>
                <a:latin typeface="+mj-lt"/>
                <a:cs typeface="Calibri"/>
              </a:rPr>
              <a:t>K-­Means </a:t>
            </a:r>
            <a:r>
              <a:rPr sz="4800" spc="0" baseline="1706" dirty="0" smtClean="0">
                <a:solidFill>
                  <a:srgbClr val="F69545"/>
                </a:solidFill>
                <a:latin typeface="+mj-lt"/>
                <a:cs typeface="Calibri"/>
              </a:rPr>
              <a:t>K=2</a:t>
            </a:r>
            <a:endParaRPr sz="3200" dirty="0">
              <a:latin typeface="+mj-lt"/>
              <a:cs typeface="Calibri"/>
            </a:endParaRPr>
          </a:p>
        </p:txBody>
      </p:sp>
      <p:sp>
        <p:nvSpPr>
          <p:cNvPr id="12" name="object 12"/>
          <p:cNvSpPr txBox="1"/>
          <p:nvPr/>
        </p:nvSpPr>
        <p:spPr>
          <a:xfrm>
            <a:off x="2101915" y="852250"/>
            <a:ext cx="6280085" cy="4318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3400"/>
              </a:lnSpc>
              <a:spcBef>
                <a:spcPts val="170"/>
              </a:spcBef>
            </a:pPr>
            <a:r>
              <a:rPr sz="4800" spc="0" baseline="1706" dirty="0" smtClean="0">
                <a:solidFill>
                  <a:srgbClr val="7F7E7E"/>
                </a:solidFill>
                <a:latin typeface="+mj-lt"/>
                <a:cs typeface="Calibri"/>
              </a:rPr>
              <a:t>Each</a:t>
            </a:r>
            <a:r>
              <a:rPr lang="en-US" sz="4800" spc="0" baseline="1706" dirty="0" smtClean="0">
                <a:solidFill>
                  <a:srgbClr val="7F7E7E"/>
                </a:solidFill>
                <a:latin typeface="+mj-lt"/>
                <a:cs typeface="Calibri"/>
              </a:rPr>
              <a:t> point belongs to closest center</a:t>
            </a:r>
            <a:endParaRPr sz="3200" dirty="0">
              <a:latin typeface="+mj-lt"/>
              <a:cs typeface="Calibri"/>
            </a:endParaRPr>
          </a:p>
        </p:txBody>
      </p:sp>
      <p:sp>
        <p:nvSpPr>
          <p:cNvPr id="6" name="object 6"/>
          <p:cNvSpPr txBox="1"/>
          <p:nvPr/>
        </p:nvSpPr>
        <p:spPr>
          <a:xfrm>
            <a:off x="1332125" y="3759280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sp>
        <p:nvSpPr>
          <p:cNvPr id="5" name="object 5"/>
          <p:cNvSpPr txBox="1"/>
          <p:nvPr/>
        </p:nvSpPr>
        <p:spPr>
          <a:xfrm>
            <a:off x="5426815" y="6116930"/>
            <a:ext cx="542241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Age</a:t>
            </a:r>
            <a:endParaRPr sz="2400">
              <a:cs typeface="Calibri"/>
            </a:endParaRPr>
          </a:p>
        </p:txBody>
      </p:sp>
      <p:sp>
        <p:nvSpPr>
          <p:cNvPr id="4" name="object 4"/>
          <p:cNvSpPr txBox="1"/>
          <p:nvPr/>
        </p:nvSpPr>
        <p:spPr>
          <a:xfrm>
            <a:off x="2343901" y="1923700"/>
            <a:ext cx="6303362" cy="405467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3" name="object 3"/>
          <p:cNvSpPr txBox="1"/>
          <p:nvPr/>
        </p:nvSpPr>
        <p:spPr>
          <a:xfrm>
            <a:off x="6640250" y="4009392"/>
            <a:ext cx="394168" cy="38172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2" name="object 2"/>
          <p:cNvSpPr txBox="1"/>
          <p:nvPr/>
        </p:nvSpPr>
        <p:spPr>
          <a:xfrm>
            <a:off x="3528670" y="2656686"/>
            <a:ext cx="394167" cy="38172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grpSp>
        <p:nvGrpSpPr>
          <p:cNvPr id="88" name="Group 87"/>
          <p:cNvGrpSpPr/>
          <p:nvPr/>
        </p:nvGrpSpPr>
        <p:grpSpPr>
          <a:xfrm>
            <a:off x="2383438" y="1888930"/>
            <a:ext cx="6303362" cy="4054670"/>
            <a:chOff x="2343901" y="1923700"/>
            <a:chExt cx="6303362" cy="4054670"/>
          </a:xfrm>
        </p:grpSpPr>
        <p:sp>
          <p:nvSpPr>
            <p:cNvPr id="89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90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</p:spTree>
    <p:extLst>
      <p:ext uri="{BB962C8B-B14F-4D97-AF65-F5344CB8AC3E}">
        <p14:creationId xmlns:p14="http://schemas.microsoft.com/office/powerpoint/2010/main" val="2862279138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" name="object 10"/>
          <p:cNvSpPr txBox="1"/>
          <p:nvPr/>
        </p:nvSpPr>
        <p:spPr>
          <a:xfrm>
            <a:off x="2101916" y="369650"/>
            <a:ext cx="6296519" cy="4318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3400"/>
              </a:lnSpc>
              <a:spcBef>
                <a:spcPts val="170"/>
              </a:spcBef>
            </a:pPr>
            <a:r>
              <a:rPr lang="en-US" sz="4800" baseline="1706" dirty="0">
                <a:solidFill>
                  <a:srgbClr val="4E81BC"/>
                </a:solidFill>
                <a:latin typeface="+mj-lt"/>
                <a:cs typeface="Calibri"/>
              </a:rPr>
              <a:t>Agglomerative </a:t>
            </a:r>
            <a:r>
              <a:rPr sz="4800" spc="0" baseline="1706" dirty="0" smtClean="0">
                <a:solidFill>
                  <a:srgbClr val="4E81BC"/>
                </a:solidFill>
                <a:latin typeface="+mj-lt"/>
                <a:cs typeface="Calibri"/>
              </a:rPr>
              <a:t>Hierarchical Clustering</a:t>
            </a:r>
            <a:endParaRPr sz="3200" dirty="0">
              <a:latin typeface="+mj-lt"/>
              <a:cs typeface="Calibri"/>
            </a:endParaRPr>
          </a:p>
        </p:txBody>
      </p:sp>
      <p:sp>
        <p:nvSpPr>
          <p:cNvPr id="82" name="object 11"/>
          <p:cNvSpPr txBox="1"/>
          <p:nvPr/>
        </p:nvSpPr>
        <p:spPr>
          <a:xfrm>
            <a:off x="2101916" y="852250"/>
            <a:ext cx="6584884" cy="4318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>
            <a:defPPr>
              <a:defRPr lang="en-US"/>
            </a:defPPr>
            <a:lvl1pPr marL="12700">
              <a:lnSpc>
                <a:spcPts val="3400"/>
              </a:lnSpc>
              <a:spcBef>
                <a:spcPts val="170"/>
              </a:spcBef>
              <a:defRPr sz="4800" spc="0" baseline="1706">
                <a:solidFill>
                  <a:srgbClr val="7F7E7E"/>
                </a:solidFill>
                <a:latin typeface="Calibri"/>
                <a:cs typeface="Calibri"/>
              </a:defRPr>
            </a:lvl1pPr>
          </a:lstStyle>
          <a:p>
            <a:r>
              <a:rPr lang="en-US" dirty="0" smtClean="0">
                <a:latin typeface="+mj-lt"/>
              </a:rPr>
              <a:t>Current </a:t>
            </a:r>
            <a:r>
              <a:rPr lang="en-US" dirty="0" err="1" smtClean="0">
                <a:solidFill>
                  <a:srgbClr val="F69545"/>
                </a:solidFill>
                <a:latin typeface="+mj-lt"/>
              </a:rPr>
              <a:t>num_clusters</a:t>
            </a:r>
            <a:r>
              <a:rPr lang="en-US" dirty="0" smtClean="0">
                <a:solidFill>
                  <a:srgbClr val="F69545"/>
                </a:solidFill>
                <a:latin typeface="+mj-lt"/>
              </a:rPr>
              <a:t> = 3</a:t>
            </a:r>
            <a:endParaRPr dirty="0">
              <a:solidFill>
                <a:srgbClr val="F69545"/>
              </a:solidFill>
              <a:latin typeface="+mj-lt"/>
            </a:endParaRPr>
          </a:p>
        </p:txBody>
      </p:sp>
      <p:sp>
        <p:nvSpPr>
          <p:cNvPr id="83" name="object 82"/>
          <p:cNvSpPr/>
          <p:nvPr/>
        </p:nvSpPr>
        <p:spPr>
          <a:xfrm>
            <a:off x="4414372" y="54871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4" name="object 84"/>
          <p:cNvSpPr/>
          <p:nvPr/>
        </p:nvSpPr>
        <p:spPr>
          <a:xfrm>
            <a:off x="5399747" y="55212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5" name="object 86"/>
          <p:cNvSpPr/>
          <p:nvPr/>
        </p:nvSpPr>
        <p:spPr>
          <a:xfrm>
            <a:off x="6251551" y="55023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6" name="object 74"/>
          <p:cNvSpPr/>
          <p:nvPr/>
        </p:nvSpPr>
        <p:spPr>
          <a:xfrm>
            <a:off x="2668469" y="519520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7" name="object 72"/>
          <p:cNvSpPr/>
          <p:nvPr/>
        </p:nvSpPr>
        <p:spPr>
          <a:xfrm>
            <a:off x="5959366" y="251737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40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80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8" name="object 70"/>
          <p:cNvSpPr/>
          <p:nvPr/>
        </p:nvSpPr>
        <p:spPr>
          <a:xfrm>
            <a:off x="5560113" y="213564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9" name="object 68"/>
          <p:cNvSpPr/>
          <p:nvPr/>
        </p:nvSpPr>
        <p:spPr>
          <a:xfrm>
            <a:off x="5148028" y="1723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0" name="object 66"/>
          <p:cNvSpPr/>
          <p:nvPr/>
        </p:nvSpPr>
        <p:spPr>
          <a:xfrm>
            <a:off x="6872003" y="34121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1" name="object 63"/>
          <p:cNvSpPr/>
          <p:nvPr/>
        </p:nvSpPr>
        <p:spPr>
          <a:xfrm>
            <a:off x="5880842" y="502152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6"/>
                </a:lnTo>
                <a:lnTo>
                  <a:pt x="1583" y="198179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6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2"/>
                </a:lnTo>
                <a:lnTo>
                  <a:pt x="49876" y="299561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6"/>
                </a:lnTo>
                <a:lnTo>
                  <a:pt x="196530" y="342926"/>
                </a:lnTo>
                <a:lnTo>
                  <a:pt x="209650" y="339004"/>
                </a:lnTo>
                <a:lnTo>
                  <a:pt x="222295" y="333936"/>
                </a:lnTo>
                <a:lnTo>
                  <a:pt x="234413" y="327778"/>
                </a:lnTo>
                <a:lnTo>
                  <a:pt x="245953" y="320583"/>
                </a:lnTo>
                <a:lnTo>
                  <a:pt x="256864" y="312409"/>
                </a:lnTo>
                <a:lnTo>
                  <a:pt x="267095" y="303311"/>
                </a:lnTo>
                <a:lnTo>
                  <a:pt x="276595" y="293343"/>
                </a:lnTo>
                <a:lnTo>
                  <a:pt x="285312" y="282562"/>
                </a:lnTo>
                <a:lnTo>
                  <a:pt x="293195" y="271023"/>
                </a:lnTo>
                <a:lnTo>
                  <a:pt x="300193" y="258781"/>
                </a:lnTo>
                <a:lnTo>
                  <a:pt x="306255" y="245892"/>
                </a:lnTo>
                <a:lnTo>
                  <a:pt x="311330" y="232411"/>
                </a:lnTo>
                <a:lnTo>
                  <a:pt x="315366" y="218394"/>
                </a:lnTo>
                <a:lnTo>
                  <a:pt x="318312" y="203896"/>
                </a:lnTo>
                <a:lnTo>
                  <a:pt x="320117" y="188973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9" y="93485"/>
                </a:lnTo>
                <a:lnTo>
                  <a:pt x="296006" y="80986"/>
                </a:lnTo>
                <a:lnTo>
                  <a:pt x="288459" y="69169"/>
                </a:lnTo>
                <a:lnTo>
                  <a:pt x="280058" y="58089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4"/>
                </a:lnTo>
                <a:lnTo>
                  <a:pt x="86318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2" name="object 62"/>
          <p:cNvSpPr/>
          <p:nvPr/>
        </p:nvSpPr>
        <p:spPr>
          <a:xfrm>
            <a:off x="4326962" y="34938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3" name="object 60"/>
          <p:cNvSpPr/>
          <p:nvPr/>
        </p:nvSpPr>
        <p:spPr>
          <a:xfrm>
            <a:off x="3451263" y="457102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4" name="object 58"/>
          <p:cNvSpPr/>
          <p:nvPr/>
        </p:nvSpPr>
        <p:spPr>
          <a:xfrm>
            <a:off x="7513462" y="204543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5" name="object 56"/>
          <p:cNvSpPr/>
          <p:nvPr/>
        </p:nvSpPr>
        <p:spPr>
          <a:xfrm>
            <a:off x="6553321" y="196196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6" name="object 54"/>
          <p:cNvSpPr/>
          <p:nvPr/>
        </p:nvSpPr>
        <p:spPr>
          <a:xfrm>
            <a:off x="7353097" y="275391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7" name="object 52"/>
          <p:cNvSpPr/>
          <p:nvPr/>
        </p:nvSpPr>
        <p:spPr>
          <a:xfrm>
            <a:off x="4696124" y="412086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8" name="object 50"/>
          <p:cNvSpPr/>
          <p:nvPr/>
        </p:nvSpPr>
        <p:spPr>
          <a:xfrm>
            <a:off x="4441297" y="46123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9" name="object 48"/>
          <p:cNvSpPr/>
          <p:nvPr/>
        </p:nvSpPr>
        <p:spPr>
          <a:xfrm>
            <a:off x="3130532" y="40499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0" name="object 42"/>
          <p:cNvSpPr/>
          <p:nvPr/>
        </p:nvSpPr>
        <p:spPr>
          <a:xfrm>
            <a:off x="5748103" y="33118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1" name="object 44"/>
          <p:cNvSpPr/>
          <p:nvPr/>
        </p:nvSpPr>
        <p:spPr>
          <a:xfrm>
            <a:off x="5560113" y="25802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2" name="object 46"/>
          <p:cNvSpPr/>
          <p:nvPr/>
        </p:nvSpPr>
        <p:spPr>
          <a:xfrm>
            <a:off x="5421508" y="296447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3" name="object 40"/>
          <p:cNvSpPr/>
          <p:nvPr/>
        </p:nvSpPr>
        <p:spPr>
          <a:xfrm>
            <a:off x="5213120" y="49216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4" name="object 38"/>
          <p:cNvSpPr/>
          <p:nvPr/>
        </p:nvSpPr>
        <p:spPr>
          <a:xfrm>
            <a:off x="7032365" y="221911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5" name="object 36"/>
          <p:cNvSpPr/>
          <p:nvPr/>
        </p:nvSpPr>
        <p:spPr>
          <a:xfrm>
            <a:off x="7385165" y="340218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6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7"/>
                </a:lnTo>
                <a:lnTo>
                  <a:pt x="310251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6" name="object 34"/>
          <p:cNvSpPr/>
          <p:nvPr/>
        </p:nvSpPr>
        <p:spPr>
          <a:xfrm>
            <a:off x="5038354" y="24830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7" name="object 32"/>
          <p:cNvSpPr/>
          <p:nvPr/>
        </p:nvSpPr>
        <p:spPr>
          <a:xfrm>
            <a:off x="7192732" y="159327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8" name="object 30"/>
          <p:cNvSpPr/>
          <p:nvPr/>
        </p:nvSpPr>
        <p:spPr>
          <a:xfrm>
            <a:off x="6201572" y="316997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9" name="object 28"/>
          <p:cNvSpPr/>
          <p:nvPr/>
        </p:nvSpPr>
        <p:spPr>
          <a:xfrm>
            <a:off x="4877989" y="532865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0" name="object 26"/>
          <p:cNvSpPr/>
          <p:nvPr/>
        </p:nvSpPr>
        <p:spPr>
          <a:xfrm>
            <a:off x="5581873" y="4521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1" name="object 24"/>
          <p:cNvSpPr/>
          <p:nvPr/>
        </p:nvSpPr>
        <p:spPr>
          <a:xfrm>
            <a:off x="3528670" y="35173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2" name="object 22"/>
          <p:cNvSpPr/>
          <p:nvPr/>
        </p:nvSpPr>
        <p:spPr>
          <a:xfrm>
            <a:off x="3252845" y="520650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3" name="object 20"/>
          <p:cNvSpPr/>
          <p:nvPr/>
        </p:nvSpPr>
        <p:spPr>
          <a:xfrm>
            <a:off x="3849401" y="4051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4" name="object 18"/>
          <p:cNvSpPr/>
          <p:nvPr/>
        </p:nvSpPr>
        <p:spPr>
          <a:xfrm>
            <a:off x="6713687" y="269105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5" name="object 6"/>
          <p:cNvSpPr txBox="1"/>
          <p:nvPr/>
        </p:nvSpPr>
        <p:spPr>
          <a:xfrm>
            <a:off x="1332125" y="3759280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sp>
        <p:nvSpPr>
          <p:cNvPr id="116" name="object 5"/>
          <p:cNvSpPr txBox="1"/>
          <p:nvPr/>
        </p:nvSpPr>
        <p:spPr>
          <a:xfrm>
            <a:off x="5426815" y="6116930"/>
            <a:ext cx="542241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Age</a:t>
            </a:r>
            <a:endParaRPr sz="2400">
              <a:cs typeface="Calibri"/>
            </a:endParaRPr>
          </a:p>
        </p:txBody>
      </p:sp>
      <p:grpSp>
        <p:nvGrpSpPr>
          <p:cNvPr id="117" name="Group 116"/>
          <p:cNvGrpSpPr/>
          <p:nvPr/>
        </p:nvGrpSpPr>
        <p:grpSpPr>
          <a:xfrm>
            <a:off x="2383438" y="1888930"/>
            <a:ext cx="6303362" cy="4054670"/>
            <a:chOff x="2343901" y="1923700"/>
            <a:chExt cx="6303362" cy="4054670"/>
          </a:xfrm>
        </p:grpSpPr>
        <p:sp>
          <p:nvSpPr>
            <p:cNvPr id="118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119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</p:spTree>
    <p:extLst>
      <p:ext uri="{BB962C8B-B14F-4D97-AF65-F5344CB8AC3E}">
        <p14:creationId xmlns:p14="http://schemas.microsoft.com/office/powerpoint/2010/main" val="3080101760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" name="object 10"/>
          <p:cNvSpPr txBox="1"/>
          <p:nvPr/>
        </p:nvSpPr>
        <p:spPr>
          <a:xfrm>
            <a:off x="2101916" y="369650"/>
            <a:ext cx="6296519" cy="4318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3400"/>
              </a:lnSpc>
              <a:spcBef>
                <a:spcPts val="170"/>
              </a:spcBef>
            </a:pPr>
            <a:r>
              <a:rPr lang="en-US" sz="4800" baseline="1706" dirty="0">
                <a:solidFill>
                  <a:srgbClr val="4E81BC"/>
                </a:solidFill>
                <a:latin typeface="+mj-lt"/>
                <a:cs typeface="Calibri"/>
              </a:rPr>
              <a:t>Agglomerative </a:t>
            </a:r>
            <a:r>
              <a:rPr sz="4800" spc="0" baseline="1706" dirty="0" smtClean="0">
                <a:solidFill>
                  <a:srgbClr val="4E81BC"/>
                </a:solidFill>
                <a:latin typeface="+mj-lt"/>
                <a:cs typeface="Calibri"/>
              </a:rPr>
              <a:t>Hierarchical Clustering</a:t>
            </a:r>
            <a:endParaRPr sz="3200" dirty="0">
              <a:latin typeface="+mj-lt"/>
              <a:cs typeface="Calibri"/>
            </a:endParaRPr>
          </a:p>
        </p:txBody>
      </p:sp>
      <p:sp>
        <p:nvSpPr>
          <p:cNvPr id="82" name="object 11"/>
          <p:cNvSpPr txBox="1"/>
          <p:nvPr/>
        </p:nvSpPr>
        <p:spPr>
          <a:xfrm>
            <a:off x="2101916" y="852250"/>
            <a:ext cx="6584884" cy="4318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>
            <a:defPPr>
              <a:defRPr lang="en-US"/>
            </a:defPPr>
            <a:lvl1pPr marL="12700">
              <a:lnSpc>
                <a:spcPts val="3400"/>
              </a:lnSpc>
              <a:spcBef>
                <a:spcPts val="170"/>
              </a:spcBef>
              <a:defRPr sz="4800" spc="0" baseline="1706">
                <a:solidFill>
                  <a:srgbClr val="7F7E7E"/>
                </a:solidFill>
                <a:latin typeface="Calibri"/>
                <a:cs typeface="Calibri"/>
              </a:defRPr>
            </a:lvl1pPr>
          </a:lstStyle>
          <a:p>
            <a:r>
              <a:rPr lang="en-US" dirty="0" smtClean="0">
                <a:latin typeface="+mj-lt"/>
              </a:rPr>
              <a:t>Current </a:t>
            </a:r>
            <a:r>
              <a:rPr lang="en-US" dirty="0" err="1" smtClean="0">
                <a:solidFill>
                  <a:srgbClr val="F69545"/>
                </a:solidFill>
                <a:latin typeface="+mj-lt"/>
              </a:rPr>
              <a:t>num_clusters</a:t>
            </a:r>
            <a:r>
              <a:rPr lang="en-US" dirty="0" smtClean="0">
                <a:solidFill>
                  <a:srgbClr val="F69545"/>
                </a:solidFill>
                <a:latin typeface="+mj-lt"/>
              </a:rPr>
              <a:t> = 2</a:t>
            </a:r>
            <a:endParaRPr dirty="0">
              <a:solidFill>
                <a:srgbClr val="F69545"/>
              </a:solidFill>
              <a:latin typeface="+mj-lt"/>
            </a:endParaRPr>
          </a:p>
        </p:txBody>
      </p:sp>
      <p:sp>
        <p:nvSpPr>
          <p:cNvPr id="83" name="object 82"/>
          <p:cNvSpPr/>
          <p:nvPr/>
        </p:nvSpPr>
        <p:spPr>
          <a:xfrm>
            <a:off x="4414372" y="54871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4" name="object 84"/>
          <p:cNvSpPr/>
          <p:nvPr/>
        </p:nvSpPr>
        <p:spPr>
          <a:xfrm>
            <a:off x="5399747" y="55212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5" name="object 86"/>
          <p:cNvSpPr/>
          <p:nvPr/>
        </p:nvSpPr>
        <p:spPr>
          <a:xfrm>
            <a:off x="6251551" y="55023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6" name="object 74"/>
          <p:cNvSpPr/>
          <p:nvPr/>
        </p:nvSpPr>
        <p:spPr>
          <a:xfrm>
            <a:off x="2668469" y="519520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7" name="object 72"/>
          <p:cNvSpPr/>
          <p:nvPr/>
        </p:nvSpPr>
        <p:spPr>
          <a:xfrm>
            <a:off x="5959366" y="251737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40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80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8" name="object 70"/>
          <p:cNvSpPr/>
          <p:nvPr/>
        </p:nvSpPr>
        <p:spPr>
          <a:xfrm>
            <a:off x="5560113" y="213564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9" name="object 68"/>
          <p:cNvSpPr/>
          <p:nvPr/>
        </p:nvSpPr>
        <p:spPr>
          <a:xfrm>
            <a:off x="5148028" y="1723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0" name="object 66"/>
          <p:cNvSpPr/>
          <p:nvPr/>
        </p:nvSpPr>
        <p:spPr>
          <a:xfrm>
            <a:off x="6872003" y="34121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1" name="object 63"/>
          <p:cNvSpPr/>
          <p:nvPr/>
        </p:nvSpPr>
        <p:spPr>
          <a:xfrm>
            <a:off x="5880842" y="502152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6"/>
                </a:lnTo>
                <a:lnTo>
                  <a:pt x="1583" y="198179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6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2"/>
                </a:lnTo>
                <a:lnTo>
                  <a:pt x="49876" y="299561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6"/>
                </a:lnTo>
                <a:lnTo>
                  <a:pt x="196530" y="342926"/>
                </a:lnTo>
                <a:lnTo>
                  <a:pt x="209650" y="339004"/>
                </a:lnTo>
                <a:lnTo>
                  <a:pt x="222295" y="333936"/>
                </a:lnTo>
                <a:lnTo>
                  <a:pt x="234413" y="327778"/>
                </a:lnTo>
                <a:lnTo>
                  <a:pt x="245953" y="320583"/>
                </a:lnTo>
                <a:lnTo>
                  <a:pt x="256864" y="312409"/>
                </a:lnTo>
                <a:lnTo>
                  <a:pt x="267095" y="303311"/>
                </a:lnTo>
                <a:lnTo>
                  <a:pt x="276595" y="293343"/>
                </a:lnTo>
                <a:lnTo>
                  <a:pt x="285312" y="282562"/>
                </a:lnTo>
                <a:lnTo>
                  <a:pt x="293195" y="271023"/>
                </a:lnTo>
                <a:lnTo>
                  <a:pt x="300193" y="258781"/>
                </a:lnTo>
                <a:lnTo>
                  <a:pt x="306255" y="245892"/>
                </a:lnTo>
                <a:lnTo>
                  <a:pt x="311330" y="232411"/>
                </a:lnTo>
                <a:lnTo>
                  <a:pt x="315366" y="218394"/>
                </a:lnTo>
                <a:lnTo>
                  <a:pt x="318312" y="203896"/>
                </a:lnTo>
                <a:lnTo>
                  <a:pt x="320117" y="188973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9" y="93485"/>
                </a:lnTo>
                <a:lnTo>
                  <a:pt x="296006" y="80986"/>
                </a:lnTo>
                <a:lnTo>
                  <a:pt x="288459" y="69169"/>
                </a:lnTo>
                <a:lnTo>
                  <a:pt x="280058" y="58089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4"/>
                </a:lnTo>
                <a:lnTo>
                  <a:pt x="86318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2" name="object 62"/>
          <p:cNvSpPr/>
          <p:nvPr/>
        </p:nvSpPr>
        <p:spPr>
          <a:xfrm>
            <a:off x="4326962" y="34938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3" name="object 60"/>
          <p:cNvSpPr/>
          <p:nvPr/>
        </p:nvSpPr>
        <p:spPr>
          <a:xfrm>
            <a:off x="3451263" y="457102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4" name="object 58"/>
          <p:cNvSpPr/>
          <p:nvPr/>
        </p:nvSpPr>
        <p:spPr>
          <a:xfrm>
            <a:off x="7513462" y="204543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5" name="object 56"/>
          <p:cNvSpPr/>
          <p:nvPr/>
        </p:nvSpPr>
        <p:spPr>
          <a:xfrm>
            <a:off x="6553321" y="196196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6" name="object 54"/>
          <p:cNvSpPr/>
          <p:nvPr/>
        </p:nvSpPr>
        <p:spPr>
          <a:xfrm>
            <a:off x="7353097" y="275391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7" name="object 52"/>
          <p:cNvSpPr/>
          <p:nvPr/>
        </p:nvSpPr>
        <p:spPr>
          <a:xfrm>
            <a:off x="4696124" y="412086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8" name="object 50"/>
          <p:cNvSpPr/>
          <p:nvPr/>
        </p:nvSpPr>
        <p:spPr>
          <a:xfrm>
            <a:off x="4441297" y="46123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9" name="object 48"/>
          <p:cNvSpPr/>
          <p:nvPr/>
        </p:nvSpPr>
        <p:spPr>
          <a:xfrm>
            <a:off x="3130532" y="40499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0" name="object 42"/>
          <p:cNvSpPr/>
          <p:nvPr/>
        </p:nvSpPr>
        <p:spPr>
          <a:xfrm>
            <a:off x="5748103" y="33118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1" name="object 44"/>
          <p:cNvSpPr/>
          <p:nvPr/>
        </p:nvSpPr>
        <p:spPr>
          <a:xfrm>
            <a:off x="5560113" y="25802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2" name="object 46"/>
          <p:cNvSpPr/>
          <p:nvPr/>
        </p:nvSpPr>
        <p:spPr>
          <a:xfrm>
            <a:off x="5421508" y="296447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3" name="object 40"/>
          <p:cNvSpPr/>
          <p:nvPr/>
        </p:nvSpPr>
        <p:spPr>
          <a:xfrm>
            <a:off x="5213120" y="49216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4" name="object 38"/>
          <p:cNvSpPr/>
          <p:nvPr/>
        </p:nvSpPr>
        <p:spPr>
          <a:xfrm>
            <a:off x="7032365" y="221911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5" name="object 36"/>
          <p:cNvSpPr/>
          <p:nvPr/>
        </p:nvSpPr>
        <p:spPr>
          <a:xfrm>
            <a:off x="7385165" y="340218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6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7"/>
                </a:lnTo>
                <a:lnTo>
                  <a:pt x="310251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6" name="object 34"/>
          <p:cNvSpPr/>
          <p:nvPr/>
        </p:nvSpPr>
        <p:spPr>
          <a:xfrm>
            <a:off x="5038354" y="24830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7" name="object 32"/>
          <p:cNvSpPr/>
          <p:nvPr/>
        </p:nvSpPr>
        <p:spPr>
          <a:xfrm>
            <a:off x="7192732" y="159327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8" name="object 30"/>
          <p:cNvSpPr/>
          <p:nvPr/>
        </p:nvSpPr>
        <p:spPr>
          <a:xfrm>
            <a:off x="6201572" y="316997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9" name="object 28"/>
          <p:cNvSpPr/>
          <p:nvPr/>
        </p:nvSpPr>
        <p:spPr>
          <a:xfrm>
            <a:off x="4877989" y="532865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0" name="object 26"/>
          <p:cNvSpPr/>
          <p:nvPr/>
        </p:nvSpPr>
        <p:spPr>
          <a:xfrm>
            <a:off x="5581873" y="4521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1" name="object 24"/>
          <p:cNvSpPr/>
          <p:nvPr/>
        </p:nvSpPr>
        <p:spPr>
          <a:xfrm>
            <a:off x="3528670" y="35173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2" name="object 22"/>
          <p:cNvSpPr/>
          <p:nvPr/>
        </p:nvSpPr>
        <p:spPr>
          <a:xfrm>
            <a:off x="3252845" y="520650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3" name="object 20"/>
          <p:cNvSpPr/>
          <p:nvPr/>
        </p:nvSpPr>
        <p:spPr>
          <a:xfrm>
            <a:off x="3849401" y="4051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4" name="object 18"/>
          <p:cNvSpPr/>
          <p:nvPr/>
        </p:nvSpPr>
        <p:spPr>
          <a:xfrm>
            <a:off x="6713687" y="269105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5" name="object 6"/>
          <p:cNvSpPr txBox="1"/>
          <p:nvPr/>
        </p:nvSpPr>
        <p:spPr>
          <a:xfrm>
            <a:off x="1332125" y="3759280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sp>
        <p:nvSpPr>
          <p:cNvPr id="116" name="object 5"/>
          <p:cNvSpPr txBox="1"/>
          <p:nvPr/>
        </p:nvSpPr>
        <p:spPr>
          <a:xfrm>
            <a:off x="5426815" y="6116930"/>
            <a:ext cx="542241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Age</a:t>
            </a:r>
            <a:endParaRPr sz="2400">
              <a:cs typeface="Calibri"/>
            </a:endParaRPr>
          </a:p>
        </p:txBody>
      </p:sp>
      <p:grpSp>
        <p:nvGrpSpPr>
          <p:cNvPr id="117" name="Group 116"/>
          <p:cNvGrpSpPr/>
          <p:nvPr/>
        </p:nvGrpSpPr>
        <p:grpSpPr>
          <a:xfrm>
            <a:off x="2383438" y="1888930"/>
            <a:ext cx="6303362" cy="4054670"/>
            <a:chOff x="2343901" y="1923700"/>
            <a:chExt cx="6303362" cy="4054670"/>
          </a:xfrm>
        </p:grpSpPr>
        <p:sp>
          <p:nvSpPr>
            <p:cNvPr id="118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119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</p:spTree>
    <p:extLst>
      <p:ext uri="{BB962C8B-B14F-4D97-AF65-F5344CB8AC3E}">
        <p14:creationId xmlns:p14="http://schemas.microsoft.com/office/powerpoint/2010/main" val="2771096490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" name="object 10"/>
          <p:cNvSpPr txBox="1"/>
          <p:nvPr/>
        </p:nvSpPr>
        <p:spPr>
          <a:xfrm>
            <a:off x="2101916" y="369650"/>
            <a:ext cx="6296519" cy="4318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3400"/>
              </a:lnSpc>
              <a:spcBef>
                <a:spcPts val="170"/>
              </a:spcBef>
            </a:pPr>
            <a:r>
              <a:rPr lang="en-US" sz="4800" baseline="1706" dirty="0">
                <a:solidFill>
                  <a:srgbClr val="4E81BC"/>
                </a:solidFill>
                <a:latin typeface="+mj-lt"/>
                <a:cs typeface="Calibri"/>
              </a:rPr>
              <a:t>Agglomerative </a:t>
            </a:r>
            <a:r>
              <a:rPr sz="4800" spc="0" baseline="1706" dirty="0" smtClean="0">
                <a:solidFill>
                  <a:srgbClr val="4E81BC"/>
                </a:solidFill>
                <a:latin typeface="+mj-lt"/>
                <a:cs typeface="Calibri"/>
              </a:rPr>
              <a:t>Hierarchical Clustering</a:t>
            </a:r>
            <a:endParaRPr sz="3200" dirty="0">
              <a:latin typeface="+mj-lt"/>
              <a:cs typeface="Calibri"/>
            </a:endParaRPr>
          </a:p>
        </p:txBody>
      </p:sp>
      <p:sp>
        <p:nvSpPr>
          <p:cNvPr id="82" name="object 11"/>
          <p:cNvSpPr txBox="1"/>
          <p:nvPr/>
        </p:nvSpPr>
        <p:spPr>
          <a:xfrm>
            <a:off x="2101916" y="852250"/>
            <a:ext cx="6584884" cy="4318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>
            <a:defPPr>
              <a:defRPr lang="en-US"/>
            </a:defPPr>
            <a:lvl1pPr marL="12700">
              <a:lnSpc>
                <a:spcPts val="3400"/>
              </a:lnSpc>
              <a:spcBef>
                <a:spcPts val="170"/>
              </a:spcBef>
              <a:defRPr sz="4800" spc="0" baseline="1706">
                <a:solidFill>
                  <a:srgbClr val="7F7E7E"/>
                </a:solidFill>
                <a:latin typeface="Calibri"/>
                <a:cs typeface="Calibri"/>
              </a:defRPr>
            </a:lvl1pPr>
          </a:lstStyle>
          <a:p>
            <a:r>
              <a:rPr lang="en-US" dirty="0" smtClean="0">
                <a:latin typeface="+mj-lt"/>
              </a:rPr>
              <a:t>Current </a:t>
            </a:r>
            <a:r>
              <a:rPr lang="en-US" dirty="0" err="1" smtClean="0">
                <a:solidFill>
                  <a:srgbClr val="F69545"/>
                </a:solidFill>
                <a:latin typeface="+mj-lt"/>
              </a:rPr>
              <a:t>num_clusters</a:t>
            </a:r>
            <a:r>
              <a:rPr lang="en-US" dirty="0" smtClean="0">
                <a:solidFill>
                  <a:srgbClr val="F69545"/>
                </a:solidFill>
                <a:latin typeface="+mj-lt"/>
              </a:rPr>
              <a:t> = 1</a:t>
            </a:r>
            <a:endParaRPr dirty="0">
              <a:solidFill>
                <a:srgbClr val="F69545"/>
              </a:solidFill>
              <a:latin typeface="+mj-lt"/>
            </a:endParaRPr>
          </a:p>
        </p:txBody>
      </p:sp>
      <p:sp>
        <p:nvSpPr>
          <p:cNvPr id="83" name="object 82"/>
          <p:cNvSpPr/>
          <p:nvPr/>
        </p:nvSpPr>
        <p:spPr>
          <a:xfrm>
            <a:off x="4414372" y="54871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4" name="object 84"/>
          <p:cNvSpPr/>
          <p:nvPr/>
        </p:nvSpPr>
        <p:spPr>
          <a:xfrm>
            <a:off x="5399747" y="55212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5" name="object 86"/>
          <p:cNvSpPr/>
          <p:nvPr/>
        </p:nvSpPr>
        <p:spPr>
          <a:xfrm>
            <a:off x="6251551" y="55023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6" name="object 74"/>
          <p:cNvSpPr/>
          <p:nvPr/>
        </p:nvSpPr>
        <p:spPr>
          <a:xfrm>
            <a:off x="2668469" y="519520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7" name="object 72"/>
          <p:cNvSpPr/>
          <p:nvPr/>
        </p:nvSpPr>
        <p:spPr>
          <a:xfrm>
            <a:off x="5959366" y="251737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40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80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8" name="object 70"/>
          <p:cNvSpPr/>
          <p:nvPr/>
        </p:nvSpPr>
        <p:spPr>
          <a:xfrm>
            <a:off x="5560113" y="213564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9" name="object 68"/>
          <p:cNvSpPr/>
          <p:nvPr/>
        </p:nvSpPr>
        <p:spPr>
          <a:xfrm>
            <a:off x="5148028" y="1723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0" name="object 66"/>
          <p:cNvSpPr/>
          <p:nvPr/>
        </p:nvSpPr>
        <p:spPr>
          <a:xfrm>
            <a:off x="6872003" y="34121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1" name="object 63"/>
          <p:cNvSpPr/>
          <p:nvPr/>
        </p:nvSpPr>
        <p:spPr>
          <a:xfrm>
            <a:off x="5880842" y="502152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6"/>
                </a:lnTo>
                <a:lnTo>
                  <a:pt x="1583" y="198179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6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2"/>
                </a:lnTo>
                <a:lnTo>
                  <a:pt x="49876" y="299561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6"/>
                </a:lnTo>
                <a:lnTo>
                  <a:pt x="196530" y="342926"/>
                </a:lnTo>
                <a:lnTo>
                  <a:pt x="209650" y="339004"/>
                </a:lnTo>
                <a:lnTo>
                  <a:pt x="222295" y="333936"/>
                </a:lnTo>
                <a:lnTo>
                  <a:pt x="234413" y="327778"/>
                </a:lnTo>
                <a:lnTo>
                  <a:pt x="245953" y="320583"/>
                </a:lnTo>
                <a:lnTo>
                  <a:pt x="256864" y="312409"/>
                </a:lnTo>
                <a:lnTo>
                  <a:pt x="267095" y="303311"/>
                </a:lnTo>
                <a:lnTo>
                  <a:pt x="276595" y="293343"/>
                </a:lnTo>
                <a:lnTo>
                  <a:pt x="285312" y="282562"/>
                </a:lnTo>
                <a:lnTo>
                  <a:pt x="293195" y="271023"/>
                </a:lnTo>
                <a:lnTo>
                  <a:pt x="300193" y="258781"/>
                </a:lnTo>
                <a:lnTo>
                  <a:pt x="306255" y="245892"/>
                </a:lnTo>
                <a:lnTo>
                  <a:pt x="311330" y="232411"/>
                </a:lnTo>
                <a:lnTo>
                  <a:pt x="315366" y="218394"/>
                </a:lnTo>
                <a:lnTo>
                  <a:pt x="318312" y="203896"/>
                </a:lnTo>
                <a:lnTo>
                  <a:pt x="320117" y="188973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9" y="93485"/>
                </a:lnTo>
                <a:lnTo>
                  <a:pt x="296006" y="80986"/>
                </a:lnTo>
                <a:lnTo>
                  <a:pt x="288459" y="69169"/>
                </a:lnTo>
                <a:lnTo>
                  <a:pt x="280058" y="58089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4"/>
                </a:lnTo>
                <a:lnTo>
                  <a:pt x="86318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2" name="object 62"/>
          <p:cNvSpPr/>
          <p:nvPr/>
        </p:nvSpPr>
        <p:spPr>
          <a:xfrm>
            <a:off x="4326962" y="34938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3" name="object 60"/>
          <p:cNvSpPr/>
          <p:nvPr/>
        </p:nvSpPr>
        <p:spPr>
          <a:xfrm>
            <a:off x="3451263" y="457102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4" name="object 58"/>
          <p:cNvSpPr/>
          <p:nvPr/>
        </p:nvSpPr>
        <p:spPr>
          <a:xfrm>
            <a:off x="7513462" y="204543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5" name="object 56"/>
          <p:cNvSpPr/>
          <p:nvPr/>
        </p:nvSpPr>
        <p:spPr>
          <a:xfrm>
            <a:off x="6553321" y="196196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6" name="object 54"/>
          <p:cNvSpPr/>
          <p:nvPr/>
        </p:nvSpPr>
        <p:spPr>
          <a:xfrm>
            <a:off x="7353097" y="275391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7" name="object 52"/>
          <p:cNvSpPr/>
          <p:nvPr/>
        </p:nvSpPr>
        <p:spPr>
          <a:xfrm>
            <a:off x="4696124" y="412086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8" name="object 50"/>
          <p:cNvSpPr/>
          <p:nvPr/>
        </p:nvSpPr>
        <p:spPr>
          <a:xfrm>
            <a:off x="4441297" y="46123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9" name="object 48"/>
          <p:cNvSpPr/>
          <p:nvPr/>
        </p:nvSpPr>
        <p:spPr>
          <a:xfrm>
            <a:off x="3130532" y="40499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0" name="object 42"/>
          <p:cNvSpPr/>
          <p:nvPr/>
        </p:nvSpPr>
        <p:spPr>
          <a:xfrm>
            <a:off x="5748103" y="33118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1" name="object 44"/>
          <p:cNvSpPr/>
          <p:nvPr/>
        </p:nvSpPr>
        <p:spPr>
          <a:xfrm>
            <a:off x="5560113" y="25802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2" name="object 46"/>
          <p:cNvSpPr/>
          <p:nvPr/>
        </p:nvSpPr>
        <p:spPr>
          <a:xfrm>
            <a:off x="5421508" y="296447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3" name="object 40"/>
          <p:cNvSpPr/>
          <p:nvPr/>
        </p:nvSpPr>
        <p:spPr>
          <a:xfrm>
            <a:off x="5213120" y="49216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4" name="object 38"/>
          <p:cNvSpPr/>
          <p:nvPr/>
        </p:nvSpPr>
        <p:spPr>
          <a:xfrm>
            <a:off x="7032365" y="221911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5" name="object 36"/>
          <p:cNvSpPr/>
          <p:nvPr/>
        </p:nvSpPr>
        <p:spPr>
          <a:xfrm>
            <a:off x="7385165" y="340218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6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7"/>
                </a:lnTo>
                <a:lnTo>
                  <a:pt x="310251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6" name="object 34"/>
          <p:cNvSpPr/>
          <p:nvPr/>
        </p:nvSpPr>
        <p:spPr>
          <a:xfrm>
            <a:off x="5038354" y="24830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7" name="object 32"/>
          <p:cNvSpPr/>
          <p:nvPr/>
        </p:nvSpPr>
        <p:spPr>
          <a:xfrm>
            <a:off x="7192732" y="159327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8" name="object 30"/>
          <p:cNvSpPr/>
          <p:nvPr/>
        </p:nvSpPr>
        <p:spPr>
          <a:xfrm>
            <a:off x="6201572" y="316997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9" name="object 28"/>
          <p:cNvSpPr/>
          <p:nvPr/>
        </p:nvSpPr>
        <p:spPr>
          <a:xfrm>
            <a:off x="4877989" y="532865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0" name="object 26"/>
          <p:cNvSpPr/>
          <p:nvPr/>
        </p:nvSpPr>
        <p:spPr>
          <a:xfrm>
            <a:off x="5581873" y="4521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1" name="object 24"/>
          <p:cNvSpPr/>
          <p:nvPr/>
        </p:nvSpPr>
        <p:spPr>
          <a:xfrm>
            <a:off x="3528670" y="35173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2" name="object 22"/>
          <p:cNvSpPr/>
          <p:nvPr/>
        </p:nvSpPr>
        <p:spPr>
          <a:xfrm>
            <a:off x="3252845" y="520650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3" name="object 20"/>
          <p:cNvSpPr/>
          <p:nvPr/>
        </p:nvSpPr>
        <p:spPr>
          <a:xfrm>
            <a:off x="3849401" y="4051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4" name="object 18"/>
          <p:cNvSpPr/>
          <p:nvPr/>
        </p:nvSpPr>
        <p:spPr>
          <a:xfrm>
            <a:off x="6713687" y="269105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5" name="object 6"/>
          <p:cNvSpPr txBox="1"/>
          <p:nvPr/>
        </p:nvSpPr>
        <p:spPr>
          <a:xfrm>
            <a:off x="1332125" y="3759280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sp>
        <p:nvSpPr>
          <p:cNvPr id="116" name="object 5"/>
          <p:cNvSpPr txBox="1"/>
          <p:nvPr/>
        </p:nvSpPr>
        <p:spPr>
          <a:xfrm>
            <a:off x="5426815" y="6116930"/>
            <a:ext cx="542241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Age</a:t>
            </a:r>
            <a:endParaRPr sz="2400">
              <a:cs typeface="Calibri"/>
            </a:endParaRPr>
          </a:p>
        </p:txBody>
      </p:sp>
      <p:grpSp>
        <p:nvGrpSpPr>
          <p:cNvPr id="117" name="Group 116"/>
          <p:cNvGrpSpPr/>
          <p:nvPr/>
        </p:nvGrpSpPr>
        <p:grpSpPr>
          <a:xfrm>
            <a:off x="2383438" y="1888930"/>
            <a:ext cx="6303362" cy="4054670"/>
            <a:chOff x="2343901" y="1923700"/>
            <a:chExt cx="6303362" cy="4054670"/>
          </a:xfrm>
        </p:grpSpPr>
        <p:sp>
          <p:nvSpPr>
            <p:cNvPr id="118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119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</p:spTree>
    <p:extLst>
      <p:ext uri="{BB962C8B-B14F-4D97-AF65-F5344CB8AC3E}">
        <p14:creationId xmlns:p14="http://schemas.microsoft.com/office/powerpoint/2010/main" val="1893621114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ject 9"/>
          <p:cNvSpPr txBox="1"/>
          <p:nvPr/>
        </p:nvSpPr>
        <p:spPr>
          <a:xfrm>
            <a:off x="1311123" y="1334850"/>
            <a:ext cx="7604526" cy="4567532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>
              <a:lnSpc>
                <a:spcPts val="3400"/>
              </a:lnSpc>
              <a:spcBef>
                <a:spcPts val="170"/>
              </a:spcBef>
            </a:pPr>
            <a:r>
              <a:rPr sz="4800" spc="0" baseline="1706" dirty="0" smtClean="0">
                <a:solidFill>
                  <a:srgbClr val="7F7E7E"/>
                </a:solidFill>
                <a:cs typeface="Calibri"/>
              </a:rPr>
              <a:t>Stop eithe</a:t>
            </a:r>
            <a:r>
              <a:rPr lang="en-US" sz="4800" baseline="1706" dirty="0" smtClean="0">
                <a:solidFill>
                  <a:srgbClr val="7F7E7E"/>
                </a:solidFill>
                <a:cs typeface="Calibri"/>
              </a:rPr>
              <a:t>r</a:t>
            </a:r>
          </a:p>
          <a:p>
            <a:pPr marL="12700">
              <a:lnSpc>
                <a:spcPts val="3400"/>
              </a:lnSpc>
              <a:spcBef>
                <a:spcPts val="170"/>
              </a:spcBef>
            </a:pPr>
            <a:endParaRPr lang="en-US" sz="4800" baseline="1706" dirty="0" smtClean="0">
              <a:solidFill>
                <a:srgbClr val="7F7E7E"/>
              </a:solidFill>
              <a:cs typeface="Calibri"/>
            </a:endParaRPr>
          </a:p>
          <a:p>
            <a:pPr marL="496888" lvl="2" indent="-496888">
              <a:lnSpc>
                <a:spcPts val="3400"/>
              </a:lnSpc>
              <a:spcBef>
                <a:spcPts val="170"/>
              </a:spcBef>
              <a:buSzPct val="80000"/>
              <a:buFont typeface="Calibri" panose="020F0502020204030204" pitchFamily="34" charset="0"/>
              <a:buChar char="−"/>
            </a:pPr>
            <a:r>
              <a:rPr lang="en-US" sz="4800" baseline="2560" dirty="0">
                <a:solidFill>
                  <a:srgbClr val="7F7E7E"/>
                </a:solidFill>
                <a:cs typeface="Calibri"/>
              </a:rPr>
              <a:t>when you reach the correct </a:t>
            </a:r>
            <a:r>
              <a:rPr lang="en-US" sz="4800" baseline="2560" dirty="0" err="1">
                <a:solidFill>
                  <a:srgbClr val="F69545"/>
                </a:solidFill>
                <a:cs typeface="Calibri"/>
              </a:rPr>
              <a:t>num_clusters</a:t>
            </a:r>
            <a:r>
              <a:rPr lang="en-US" sz="4800" baseline="2560" dirty="0">
                <a:solidFill>
                  <a:srgbClr val="F69545"/>
                </a:solidFill>
                <a:cs typeface="Calibri"/>
              </a:rPr>
              <a:t> </a:t>
            </a:r>
            <a:r>
              <a:rPr lang="en-US" sz="4000" baseline="1365" dirty="0">
                <a:solidFill>
                  <a:srgbClr val="7F7E7E"/>
                </a:solidFill>
                <a:cs typeface="Calibri"/>
              </a:rPr>
              <a:t>(next step would mean fewer clusters than desired</a:t>
            </a:r>
            <a:r>
              <a:rPr lang="en-US" sz="4000" baseline="1365" dirty="0" smtClean="0">
                <a:solidFill>
                  <a:srgbClr val="7F7E7E"/>
                </a:solidFill>
                <a:cs typeface="Calibri"/>
              </a:rPr>
              <a:t>)</a:t>
            </a:r>
          </a:p>
          <a:p>
            <a:pPr marL="496888" lvl="2" indent="-496888">
              <a:lnSpc>
                <a:spcPts val="3400"/>
              </a:lnSpc>
              <a:spcBef>
                <a:spcPts val="170"/>
              </a:spcBef>
              <a:buSzPct val="80000"/>
              <a:buFont typeface="Calibri" panose="020F0502020204030204" pitchFamily="34" charset="0"/>
              <a:buChar char="−"/>
            </a:pPr>
            <a:endParaRPr lang="en-US" sz="4800" baseline="1365" dirty="0" smtClean="0">
              <a:solidFill>
                <a:srgbClr val="7F7E7E"/>
              </a:solidFill>
              <a:cs typeface="Calibri"/>
            </a:endParaRPr>
          </a:p>
          <a:p>
            <a:pPr marL="0" lvl="2">
              <a:lnSpc>
                <a:spcPts val="3400"/>
              </a:lnSpc>
              <a:spcBef>
                <a:spcPts val="170"/>
              </a:spcBef>
              <a:buSzPct val="80000"/>
            </a:pPr>
            <a:r>
              <a:rPr lang="en-US" sz="4800" baseline="1365" dirty="0" smtClean="0">
                <a:solidFill>
                  <a:srgbClr val="7F7E7E"/>
                </a:solidFill>
                <a:cs typeface="Calibri"/>
              </a:rPr>
              <a:t>Or</a:t>
            </a:r>
          </a:p>
          <a:p>
            <a:pPr marL="0" lvl="2">
              <a:lnSpc>
                <a:spcPts val="3400"/>
              </a:lnSpc>
              <a:spcBef>
                <a:spcPts val="170"/>
              </a:spcBef>
              <a:buSzPct val="80000"/>
            </a:pPr>
            <a:endParaRPr lang="en-US" sz="4800" baseline="1365" dirty="0" smtClean="0">
              <a:solidFill>
                <a:srgbClr val="7F7E7E"/>
              </a:solidFill>
              <a:cs typeface="Calibri"/>
            </a:endParaRPr>
          </a:p>
          <a:p>
            <a:pPr marL="496888" lvl="2" indent="-496888">
              <a:lnSpc>
                <a:spcPts val="3400"/>
              </a:lnSpc>
              <a:spcBef>
                <a:spcPts val="170"/>
              </a:spcBef>
              <a:buSzPct val="80000"/>
              <a:buFont typeface="Calibri" panose="020F0502020204030204" pitchFamily="34" charset="0"/>
              <a:buChar char="−"/>
            </a:pPr>
            <a:r>
              <a:rPr lang="en-US" sz="4800" baseline="2560" dirty="0" smtClean="0">
                <a:solidFill>
                  <a:srgbClr val="7F7E7E"/>
                </a:solidFill>
                <a:cs typeface="Calibri"/>
              </a:rPr>
              <a:t>when </a:t>
            </a:r>
            <a:r>
              <a:rPr lang="en-US" sz="4800" baseline="2560" dirty="0">
                <a:solidFill>
                  <a:srgbClr val="9BBA58"/>
                </a:solidFill>
                <a:cs typeface="Calibri"/>
              </a:rPr>
              <a:t>min cluster distance </a:t>
            </a:r>
            <a:r>
              <a:rPr lang="en-US" sz="4800" baseline="2560" dirty="0">
                <a:solidFill>
                  <a:srgbClr val="7F7E7E"/>
                </a:solidFill>
                <a:cs typeface="Calibri"/>
              </a:rPr>
              <a:t>reaches a </a:t>
            </a:r>
            <a:r>
              <a:rPr lang="en-US" sz="4800" baseline="2560" dirty="0" smtClean="0">
                <a:solidFill>
                  <a:srgbClr val="7F7E7E"/>
                </a:solidFill>
                <a:cs typeface="Calibri"/>
              </a:rPr>
              <a:t>set value</a:t>
            </a:r>
            <a:r>
              <a:rPr lang="en-US" sz="4800" dirty="0" smtClean="0">
                <a:cs typeface="Calibri"/>
              </a:rPr>
              <a:t> </a:t>
            </a:r>
            <a:r>
              <a:rPr lang="en-US" sz="4000" baseline="2730" dirty="0" smtClean="0">
                <a:solidFill>
                  <a:srgbClr val="7F7E7E"/>
                </a:solidFill>
                <a:cs typeface="Calibri"/>
              </a:rPr>
              <a:t>(next </a:t>
            </a:r>
            <a:r>
              <a:rPr lang="en-US" sz="4000" baseline="2730" dirty="0">
                <a:solidFill>
                  <a:srgbClr val="7F7E7E"/>
                </a:solidFill>
                <a:cs typeface="Calibri"/>
              </a:rPr>
              <a:t>step would mean merging along too large a distance</a:t>
            </a:r>
            <a:r>
              <a:rPr lang="en-US" sz="4000" baseline="2730" dirty="0" smtClean="0">
                <a:solidFill>
                  <a:srgbClr val="7F7E7E"/>
                </a:solidFill>
                <a:cs typeface="Calibri"/>
              </a:rPr>
              <a:t>)</a:t>
            </a:r>
            <a:endParaRPr lang="en-US" sz="4000" dirty="0">
              <a:cs typeface="Calibri"/>
            </a:endParaRPr>
          </a:p>
        </p:txBody>
      </p:sp>
      <p:sp>
        <p:nvSpPr>
          <p:cNvPr id="12" name="object 10"/>
          <p:cNvSpPr txBox="1"/>
          <p:nvPr/>
        </p:nvSpPr>
        <p:spPr>
          <a:xfrm>
            <a:off x="1311123" y="369650"/>
            <a:ext cx="7528076" cy="4191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3400"/>
              </a:lnSpc>
              <a:spcBef>
                <a:spcPts val="170"/>
              </a:spcBef>
            </a:pPr>
            <a:r>
              <a:rPr sz="4800" spc="0" baseline="1706" dirty="0" smtClean="0">
                <a:solidFill>
                  <a:srgbClr val="4E81BC"/>
                </a:solidFill>
                <a:latin typeface="+mj-lt"/>
                <a:cs typeface="Calibri"/>
              </a:rPr>
              <a:t>Agglomera</a:t>
            </a:r>
            <a:r>
              <a:rPr lang="en-US" sz="4800" spc="0" baseline="1706" dirty="0" smtClean="0">
                <a:solidFill>
                  <a:srgbClr val="4E81BC"/>
                </a:solidFill>
                <a:latin typeface="+mj-lt"/>
                <a:cs typeface="Calibri"/>
              </a:rPr>
              <a:t>ti</a:t>
            </a:r>
            <a:r>
              <a:rPr sz="4800" spc="0" baseline="1706" dirty="0" smtClean="0">
                <a:solidFill>
                  <a:srgbClr val="4E81BC"/>
                </a:solidFill>
                <a:latin typeface="+mj-lt"/>
                <a:cs typeface="Calibri"/>
              </a:rPr>
              <a:t>ve</a:t>
            </a:r>
            <a:r>
              <a:rPr sz="4800" spc="-248" baseline="1706" dirty="0" smtClean="0">
                <a:solidFill>
                  <a:srgbClr val="4E81BC"/>
                </a:solidFill>
                <a:latin typeface="+mj-lt"/>
                <a:cs typeface="Calibri"/>
              </a:rPr>
              <a:t> </a:t>
            </a:r>
            <a:r>
              <a:rPr sz="4800" spc="0" baseline="1706" dirty="0" smtClean="0">
                <a:solidFill>
                  <a:srgbClr val="4E81BC"/>
                </a:solidFill>
                <a:latin typeface="+mj-lt"/>
                <a:cs typeface="Calibri"/>
              </a:rPr>
              <a:t>Hierarchical</a:t>
            </a:r>
            <a:r>
              <a:rPr lang="en-US" sz="4800" spc="0" baseline="1706" dirty="0" smtClean="0">
                <a:solidFill>
                  <a:srgbClr val="4E81BC"/>
                </a:solidFill>
                <a:latin typeface="+mj-lt"/>
                <a:cs typeface="Calibri"/>
              </a:rPr>
              <a:t> </a:t>
            </a:r>
            <a:r>
              <a:rPr lang="en-US" sz="4800" baseline="1706" dirty="0">
                <a:solidFill>
                  <a:srgbClr val="4E81BC"/>
                </a:solidFill>
                <a:latin typeface="+mj-lt"/>
                <a:cs typeface="Calibri"/>
              </a:rPr>
              <a:t>Clustering</a:t>
            </a:r>
            <a:endParaRPr sz="3200" dirty="0">
              <a:latin typeface="+mj-lt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416896892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" name="object 10"/>
          <p:cNvSpPr txBox="1"/>
          <p:nvPr/>
        </p:nvSpPr>
        <p:spPr>
          <a:xfrm>
            <a:off x="2101916" y="369650"/>
            <a:ext cx="6296519" cy="4318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3400"/>
              </a:lnSpc>
              <a:spcBef>
                <a:spcPts val="170"/>
              </a:spcBef>
            </a:pPr>
            <a:r>
              <a:rPr lang="en-US" sz="4800" baseline="1706" dirty="0">
                <a:solidFill>
                  <a:srgbClr val="4E81BC"/>
                </a:solidFill>
                <a:latin typeface="+mj-lt"/>
                <a:cs typeface="Calibri"/>
              </a:rPr>
              <a:t>Agglomerative </a:t>
            </a:r>
            <a:r>
              <a:rPr sz="4800" spc="0" baseline="1706" dirty="0" smtClean="0">
                <a:solidFill>
                  <a:srgbClr val="4E81BC"/>
                </a:solidFill>
                <a:latin typeface="+mj-lt"/>
                <a:cs typeface="Calibri"/>
              </a:rPr>
              <a:t>Hierarchical Clustering</a:t>
            </a:r>
            <a:endParaRPr sz="3200" dirty="0">
              <a:latin typeface="+mj-lt"/>
              <a:cs typeface="Calibri"/>
            </a:endParaRPr>
          </a:p>
        </p:txBody>
      </p:sp>
      <p:sp>
        <p:nvSpPr>
          <p:cNvPr id="82" name="object 11"/>
          <p:cNvSpPr txBox="1"/>
          <p:nvPr/>
        </p:nvSpPr>
        <p:spPr>
          <a:xfrm>
            <a:off x="2101916" y="852250"/>
            <a:ext cx="6584884" cy="4318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>
            <a:defPPr>
              <a:defRPr lang="en-US"/>
            </a:defPPr>
            <a:lvl1pPr marL="12700">
              <a:lnSpc>
                <a:spcPts val="3400"/>
              </a:lnSpc>
              <a:spcBef>
                <a:spcPts val="170"/>
              </a:spcBef>
              <a:defRPr sz="4800" spc="0" baseline="1706">
                <a:solidFill>
                  <a:srgbClr val="7F7E7E"/>
                </a:solidFill>
                <a:latin typeface="Calibri"/>
                <a:cs typeface="Calibri"/>
              </a:defRPr>
            </a:lvl1pPr>
          </a:lstStyle>
          <a:p>
            <a:r>
              <a:rPr lang="en-US" dirty="0" smtClean="0">
                <a:latin typeface="+mj-lt"/>
              </a:rPr>
              <a:t>Current </a:t>
            </a:r>
            <a:r>
              <a:rPr lang="en-US" dirty="0" err="1" smtClean="0">
                <a:solidFill>
                  <a:srgbClr val="F69545"/>
                </a:solidFill>
                <a:latin typeface="+mj-lt"/>
              </a:rPr>
              <a:t>num_clusters</a:t>
            </a:r>
            <a:r>
              <a:rPr lang="en-US" dirty="0" smtClean="0">
                <a:solidFill>
                  <a:srgbClr val="F69545"/>
                </a:solidFill>
                <a:latin typeface="+mj-lt"/>
              </a:rPr>
              <a:t> = 3</a:t>
            </a:r>
            <a:endParaRPr dirty="0">
              <a:solidFill>
                <a:srgbClr val="F69545"/>
              </a:solidFill>
              <a:latin typeface="+mj-lt"/>
            </a:endParaRPr>
          </a:p>
        </p:txBody>
      </p:sp>
      <p:sp>
        <p:nvSpPr>
          <p:cNvPr id="83" name="object 82"/>
          <p:cNvSpPr/>
          <p:nvPr/>
        </p:nvSpPr>
        <p:spPr>
          <a:xfrm>
            <a:off x="4414372" y="54871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4" name="object 84"/>
          <p:cNvSpPr/>
          <p:nvPr/>
        </p:nvSpPr>
        <p:spPr>
          <a:xfrm>
            <a:off x="5399747" y="55212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5" name="object 86"/>
          <p:cNvSpPr/>
          <p:nvPr/>
        </p:nvSpPr>
        <p:spPr>
          <a:xfrm>
            <a:off x="6251551" y="55023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6" name="object 74"/>
          <p:cNvSpPr/>
          <p:nvPr/>
        </p:nvSpPr>
        <p:spPr>
          <a:xfrm>
            <a:off x="2668469" y="519520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7" name="object 72"/>
          <p:cNvSpPr/>
          <p:nvPr/>
        </p:nvSpPr>
        <p:spPr>
          <a:xfrm>
            <a:off x="5959366" y="251737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40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80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8" name="object 70"/>
          <p:cNvSpPr/>
          <p:nvPr/>
        </p:nvSpPr>
        <p:spPr>
          <a:xfrm>
            <a:off x="5560113" y="213564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9" name="object 68"/>
          <p:cNvSpPr/>
          <p:nvPr/>
        </p:nvSpPr>
        <p:spPr>
          <a:xfrm>
            <a:off x="5148028" y="1723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0" name="object 66"/>
          <p:cNvSpPr/>
          <p:nvPr/>
        </p:nvSpPr>
        <p:spPr>
          <a:xfrm>
            <a:off x="6872003" y="34121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1" name="object 63"/>
          <p:cNvSpPr/>
          <p:nvPr/>
        </p:nvSpPr>
        <p:spPr>
          <a:xfrm>
            <a:off x="5880842" y="502152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6"/>
                </a:lnTo>
                <a:lnTo>
                  <a:pt x="1583" y="198179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6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2"/>
                </a:lnTo>
                <a:lnTo>
                  <a:pt x="49876" y="299561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6"/>
                </a:lnTo>
                <a:lnTo>
                  <a:pt x="196530" y="342926"/>
                </a:lnTo>
                <a:lnTo>
                  <a:pt x="209650" y="339004"/>
                </a:lnTo>
                <a:lnTo>
                  <a:pt x="222295" y="333936"/>
                </a:lnTo>
                <a:lnTo>
                  <a:pt x="234413" y="327778"/>
                </a:lnTo>
                <a:lnTo>
                  <a:pt x="245953" y="320583"/>
                </a:lnTo>
                <a:lnTo>
                  <a:pt x="256864" y="312409"/>
                </a:lnTo>
                <a:lnTo>
                  <a:pt x="267095" y="303311"/>
                </a:lnTo>
                <a:lnTo>
                  <a:pt x="276595" y="293343"/>
                </a:lnTo>
                <a:lnTo>
                  <a:pt x="285312" y="282562"/>
                </a:lnTo>
                <a:lnTo>
                  <a:pt x="293195" y="271023"/>
                </a:lnTo>
                <a:lnTo>
                  <a:pt x="300193" y="258781"/>
                </a:lnTo>
                <a:lnTo>
                  <a:pt x="306255" y="245892"/>
                </a:lnTo>
                <a:lnTo>
                  <a:pt x="311330" y="232411"/>
                </a:lnTo>
                <a:lnTo>
                  <a:pt x="315366" y="218394"/>
                </a:lnTo>
                <a:lnTo>
                  <a:pt x="318312" y="203896"/>
                </a:lnTo>
                <a:lnTo>
                  <a:pt x="320117" y="188973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9" y="93485"/>
                </a:lnTo>
                <a:lnTo>
                  <a:pt x="296006" y="80986"/>
                </a:lnTo>
                <a:lnTo>
                  <a:pt x="288459" y="69169"/>
                </a:lnTo>
                <a:lnTo>
                  <a:pt x="280058" y="58089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4"/>
                </a:lnTo>
                <a:lnTo>
                  <a:pt x="86318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2" name="object 62"/>
          <p:cNvSpPr/>
          <p:nvPr/>
        </p:nvSpPr>
        <p:spPr>
          <a:xfrm>
            <a:off x="4326962" y="34938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3" name="object 60"/>
          <p:cNvSpPr/>
          <p:nvPr/>
        </p:nvSpPr>
        <p:spPr>
          <a:xfrm>
            <a:off x="3451263" y="457102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4" name="object 58"/>
          <p:cNvSpPr/>
          <p:nvPr/>
        </p:nvSpPr>
        <p:spPr>
          <a:xfrm>
            <a:off x="7513462" y="204543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5" name="object 56"/>
          <p:cNvSpPr/>
          <p:nvPr/>
        </p:nvSpPr>
        <p:spPr>
          <a:xfrm>
            <a:off x="6553321" y="196196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6" name="object 54"/>
          <p:cNvSpPr/>
          <p:nvPr/>
        </p:nvSpPr>
        <p:spPr>
          <a:xfrm>
            <a:off x="7353097" y="275391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7" name="object 52"/>
          <p:cNvSpPr/>
          <p:nvPr/>
        </p:nvSpPr>
        <p:spPr>
          <a:xfrm>
            <a:off x="4696124" y="412086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8" name="object 50"/>
          <p:cNvSpPr/>
          <p:nvPr/>
        </p:nvSpPr>
        <p:spPr>
          <a:xfrm>
            <a:off x="4441297" y="46123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9" name="object 48"/>
          <p:cNvSpPr/>
          <p:nvPr/>
        </p:nvSpPr>
        <p:spPr>
          <a:xfrm>
            <a:off x="3130532" y="40499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0" name="object 42"/>
          <p:cNvSpPr/>
          <p:nvPr/>
        </p:nvSpPr>
        <p:spPr>
          <a:xfrm>
            <a:off x="5748103" y="33118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1" name="object 44"/>
          <p:cNvSpPr/>
          <p:nvPr/>
        </p:nvSpPr>
        <p:spPr>
          <a:xfrm>
            <a:off x="5560113" y="25802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2" name="object 46"/>
          <p:cNvSpPr/>
          <p:nvPr/>
        </p:nvSpPr>
        <p:spPr>
          <a:xfrm>
            <a:off x="5421508" y="296447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3" name="object 40"/>
          <p:cNvSpPr/>
          <p:nvPr/>
        </p:nvSpPr>
        <p:spPr>
          <a:xfrm>
            <a:off x="5213120" y="49216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4" name="object 38"/>
          <p:cNvSpPr/>
          <p:nvPr/>
        </p:nvSpPr>
        <p:spPr>
          <a:xfrm>
            <a:off x="7032365" y="221911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5" name="object 36"/>
          <p:cNvSpPr/>
          <p:nvPr/>
        </p:nvSpPr>
        <p:spPr>
          <a:xfrm>
            <a:off x="7385165" y="340218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6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7"/>
                </a:lnTo>
                <a:lnTo>
                  <a:pt x="310251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6" name="object 34"/>
          <p:cNvSpPr/>
          <p:nvPr/>
        </p:nvSpPr>
        <p:spPr>
          <a:xfrm>
            <a:off x="5038354" y="24830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7" name="object 32"/>
          <p:cNvSpPr/>
          <p:nvPr/>
        </p:nvSpPr>
        <p:spPr>
          <a:xfrm>
            <a:off x="7192732" y="159327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8" name="object 30"/>
          <p:cNvSpPr/>
          <p:nvPr/>
        </p:nvSpPr>
        <p:spPr>
          <a:xfrm>
            <a:off x="6201572" y="316997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9" name="object 28"/>
          <p:cNvSpPr/>
          <p:nvPr/>
        </p:nvSpPr>
        <p:spPr>
          <a:xfrm>
            <a:off x="4877989" y="532865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0" name="object 26"/>
          <p:cNvSpPr/>
          <p:nvPr/>
        </p:nvSpPr>
        <p:spPr>
          <a:xfrm>
            <a:off x="5581873" y="4521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1" name="object 24"/>
          <p:cNvSpPr/>
          <p:nvPr/>
        </p:nvSpPr>
        <p:spPr>
          <a:xfrm>
            <a:off x="3528670" y="35173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2" name="object 22"/>
          <p:cNvSpPr/>
          <p:nvPr/>
        </p:nvSpPr>
        <p:spPr>
          <a:xfrm>
            <a:off x="3252845" y="520650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3" name="object 20"/>
          <p:cNvSpPr/>
          <p:nvPr/>
        </p:nvSpPr>
        <p:spPr>
          <a:xfrm>
            <a:off x="3849401" y="4051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4" name="object 18"/>
          <p:cNvSpPr/>
          <p:nvPr/>
        </p:nvSpPr>
        <p:spPr>
          <a:xfrm>
            <a:off x="6713687" y="269105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5" name="object 6"/>
          <p:cNvSpPr txBox="1"/>
          <p:nvPr/>
        </p:nvSpPr>
        <p:spPr>
          <a:xfrm>
            <a:off x="1332125" y="3759280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sp>
        <p:nvSpPr>
          <p:cNvPr id="116" name="object 5"/>
          <p:cNvSpPr txBox="1"/>
          <p:nvPr/>
        </p:nvSpPr>
        <p:spPr>
          <a:xfrm>
            <a:off x="5426815" y="6116930"/>
            <a:ext cx="542241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Age</a:t>
            </a:r>
            <a:endParaRPr sz="2400">
              <a:cs typeface="Calibri"/>
            </a:endParaRPr>
          </a:p>
        </p:txBody>
      </p:sp>
      <p:grpSp>
        <p:nvGrpSpPr>
          <p:cNvPr id="117" name="Group 116"/>
          <p:cNvGrpSpPr/>
          <p:nvPr/>
        </p:nvGrpSpPr>
        <p:grpSpPr>
          <a:xfrm>
            <a:off x="2383438" y="1888930"/>
            <a:ext cx="6303362" cy="4054670"/>
            <a:chOff x="2343901" y="1923700"/>
            <a:chExt cx="6303362" cy="4054670"/>
          </a:xfrm>
        </p:grpSpPr>
        <p:sp>
          <p:nvSpPr>
            <p:cNvPr id="118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119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</p:spTree>
    <p:extLst>
      <p:ext uri="{BB962C8B-B14F-4D97-AF65-F5344CB8AC3E}">
        <p14:creationId xmlns:p14="http://schemas.microsoft.com/office/powerpoint/2010/main" val="2941069840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2" name="object 72"/>
          <p:cNvSpPr/>
          <p:nvPr/>
        </p:nvSpPr>
        <p:spPr>
          <a:xfrm>
            <a:off x="5959366" y="251737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40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80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3" name="object 70"/>
          <p:cNvSpPr/>
          <p:nvPr/>
        </p:nvSpPr>
        <p:spPr>
          <a:xfrm>
            <a:off x="5560113" y="213564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4" name="object 68"/>
          <p:cNvSpPr/>
          <p:nvPr/>
        </p:nvSpPr>
        <p:spPr>
          <a:xfrm>
            <a:off x="5148028" y="1723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5" name="object 66"/>
          <p:cNvSpPr/>
          <p:nvPr/>
        </p:nvSpPr>
        <p:spPr>
          <a:xfrm>
            <a:off x="6872003" y="34121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7" name="object 62"/>
          <p:cNvSpPr/>
          <p:nvPr/>
        </p:nvSpPr>
        <p:spPr>
          <a:xfrm>
            <a:off x="4326962" y="34938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8" name="object 60"/>
          <p:cNvSpPr/>
          <p:nvPr/>
        </p:nvSpPr>
        <p:spPr>
          <a:xfrm>
            <a:off x="3451263" y="457102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9" name="object 58"/>
          <p:cNvSpPr/>
          <p:nvPr/>
        </p:nvSpPr>
        <p:spPr>
          <a:xfrm>
            <a:off x="7513462" y="204543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0" name="object 56"/>
          <p:cNvSpPr/>
          <p:nvPr/>
        </p:nvSpPr>
        <p:spPr>
          <a:xfrm>
            <a:off x="6553321" y="196196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1" name="object 54"/>
          <p:cNvSpPr/>
          <p:nvPr/>
        </p:nvSpPr>
        <p:spPr>
          <a:xfrm>
            <a:off x="7353097" y="275391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2" name="object 52"/>
          <p:cNvSpPr/>
          <p:nvPr/>
        </p:nvSpPr>
        <p:spPr>
          <a:xfrm>
            <a:off x="4696124" y="412086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3" name="object 50"/>
          <p:cNvSpPr/>
          <p:nvPr/>
        </p:nvSpPr>
        <p:spPr>
          <a:xfrm>
            <a:off x="4441297" y="46123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4" name="object 48"/>
          <p:cNvSpPr/>
          <p:nvPr/>
        </p:nvSpPr>
        <p:spPr>
          <a:xfrm>
            <a:off x="3130532" y="40499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5" name="object 42"/>
          <p:cNvSpPr/>
          <p:nvPr/>
        </p:nvSpPr>
        <p:spPr>
          <a:xfrm>
            <a:off x="5748103" y="33118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6" name="object 44"/>
          <p:cNvSpPr/>
          <p:nvPr/>
        </p:nvSpPr>
        <p:spPr>
          <a:xfrm>
            <a:off x="5560113" y="25802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7" name="object 46"/>
          <p:cNvSpPr/>
          <p:nvPr/>
        </p:nvSpPr>
        <p:spPr>
          <a:xfrm>
            <a:off x="5421508" y="296447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9" name="object 38"/>
          <p:cNvSpPr/>
          <p:nvPr/>
        </p:nvSpPr>
        <p:spPr>
          <a:xfrm>
            <a:off x="7032365" y="221911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50" name="object 36"/>
          <p:cNvSpPr/>
          <p:nvPr/>
        </p:nvSpPr>
        <p:spPr>
          <a:xfrm>
            <a:off x="7385165" y="340218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6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7"/>
                </a:lnTo>
                <a:lnTo>
                  <a:pt x="310251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51" name="object 34"/>
          <p:cNvSpPr/>
          <p:nvPr/>
        </p:nvSpPr>
        <p:spPr>
          <a:xfrm>
            <a:off x="5038354" y="24830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52" name="object 32"/>
          <p:cNvSpPr/>
          <p:nvPr/>
        </p:nvSpPr>
        <p:spPr>
          <a:xfrm>
            <a:off x="7192732" y="159327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53" name="object 30"/>
          <p:cNvSpPr/>
          <p:nvPr/>
        </p:nvSpPr>
        <p:spPr>
          <a:xfrm>
            <a:off x="6201572" y="316997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55" name="object 26"/>
          <p:cNvSpPr/>
          <p:nvPr/>
        </p:nvSpPr>
        <p:spPr>
          <a:xfrm>
            <a:off x="5581873" y="4521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56" name="object 24"/>
          <p:cNvSpPr/>
          <p:nvPr/>
        </p:nvSpPr>
        <p:spPr>
          <a:xfrm>
            <a:off x="3528670" y="35173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58" name="object 20"/>
          <p:cNvSpPr/>
          <p:nvPr/>
        </p:nvSpPr>
        <p:spPr>
          <a:xfrm>
            <a:off x="3849401" y="4051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59" name="object 18"/>
          <p:cNvSpPr/>
          <p:nvPr/>
        </p:nvSpPr>
        <p:spPr>
          <a:xfrm>
            <a:off x="6713687" y="269105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" name="object 3"/>
          <p:cNvSpPr txBox="1"/>
          <p:nvPr/>
        </p:nvSpPr>
        <p:spPr>
          <a:xfrm>
            <a:off x="2343901" y="1923700"/>
            <a:ext cx="6303362" cy="405467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126" name="object 10"/>
          <p:cNvSpPr txBox="1"/>
          <p:nvPr/>
        </p:nvSpPr>
        <p:spPr>
          <a:xfrm>
            <a:off x="2101916" y="369650"/>
            <a:ext cx="6296519" cy="4318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3400"/>
              </a:lnSpc>
              <a:spcBef>
                <a:spcPts val="170"/>
              </a:spcBef>
            </a:pPr>
            <a:r>
              <a:rPr lang="en-US" sz="4800" baseline="1706" dirty="0">
                <a:solidFill>
                  <a:srgbClr val="4E81BC"/>
                </a:solidFill>
                <a:latin typeface="+mj-lt"/>
                <a:cs typeface="Calibri"/>
              </a:rPr>
              <a:t>Agglomerative </a:t>
            </a:r>
            <a:r>
              <a:rPr sz="4800" spc="0" baseline="1706" dirty="0" smtClean="0">
                <a:solidFill>
                  <a:srgbClr val="4E81BC"/>
                </a:solidFill>
                <a:latin typeface="+mj-lt"/>
                <a:cs typeface="Calibri"/>
              </a:rPr>
              <a:t>Hierarchical Clustering</a:t>
            </a:r>
            <a:endParaRPr sz="3200" dirty="0">
              <a:latin typeface="+mj-lt"/>
              <a:cs typeface="Calibri"/>
            </a:endParaRPr>
          </a:p>
        </p:txBody>
      </p:sp>
      <p:sp>
        <p:nvSpPr>
          <p:cNvPr id="127" name="object 11"/>
          <p:cNvSpPr txBox="1"/>
          <p:nvPr/>
        </p:nvSpPr>
        <p:spPr>
          <a:xfrm>
            <a:off x="2101916" y="852250"/>
            <a:ext cx="6584884" cy="4318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>
            <a:defPPr>
              <a:defRPr lang="en-US"/>
            </a:defPPr>
            <a:lvl1pPr marL="12700">
              <a:lnSpc>
                <a:spcPts val="3400"/>
              </a:lnSpc>
              <a:spcBef>
                <a:spcPts val="170"/>
              </a:spcBef>
              <a:defRPr sz="4800" spc="0" baseline="1706">
                <a:solidFill>
                  <a:srgbClr val="7F7E7E"/>
                </a:solidFill>
                <a:latin typeface="Calibri"/>
                <a:cs typeface="Calibri"/>
              </a:defRPr>
            </a:lvl1pPr>
          </a:lstStyle>
          <a:p>
            <a:r>
              <a:rPr lang="en-US" dirty="0" smtClean="0">
                <a:latin typeface="+mj-lt"/>
              </a:rPr>
              <a:t>Current </a:t>
            </a:r>
            <a:r>
              <a:rPr lang="en-US" dirty="0" err="1" smtClean="0">
                <a:solidFill>
                  <a:srgbClr val="F69545"/>
                </a:solidFill>
                <a:latin typeface="+mj-lt"/>
              </a:rPr>
              <a:t>num_clusters</a:t>
            </a:r>
            <a:r>
              <a:rPr lang="en-US" dirty="0" smtClean="0">
                <a:solidFill>
                  <a:srgbClr val="F69545"/>
                </a:solidFill>
                <a:latin typeface="+mj-lt"/>
              </a:rPr>
              <a:t> = 3</a:t>
            </a:r>
            <a:endParaRPr dirty="0">
              <a:solidFill>
                <a:srgbClr val="F69545"/>
              </a:solidFill>
              <a:latin typeface="+mj-lt"/>
            </a:endParaRPr>
          </a:p>
        </p:txBody>
      </p:sp>
      <p:sp>
        <p:nvSpPr>
          <p:cNvPr id="128" name="object 82"/>
          <p:cNvSpPr/>
          <p:nvPr/>
        </p:nvSpPr>
        <p:spPr>
          <a:xfrm>
            <a:off x="4414372" y="54871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9" name="object 84"/>
          <p:cNvSpPr/>
          <p:nvPr/>
        </p:nvSpPr>
        <p:spPr>
          <a:xfrm>
            <a:off x="5399747" y="55212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0" name="object 86"/>
          <p:cNvSpPr/>
          <p:nvPr/>
        </p:nvSpPr>
        <p:spPr>
          <a:xfrm>
            <a:off x="6251551" y="55023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1" name="object 74"/>
          <p:cNvSpPr/>
          <p:nvPr/>
        </p:nvSpPr>
        <p:spPr>
          <a:xfrm>
            <a:off x="2668469" y="519520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6" name="object 63"/>
          <p:cNvSpPr/>
          <p:nvPr/>
        </p:nvSpPr>
        <p:spPr>
          <a:xfrm>
            <a:off x="5880842" y="502152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6"/>
                </a:lnTo>
                <a:lnTo>
                  <a:pt x="1583" y="198179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6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2"/>
                </a:lnTo>
                <a:lnTo>
                  <a:pt x="49876" y="299561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6"/>
                </a:lnTo>
                <a:lnTo>
                  <a:pt x="196530" y="342926"/>
                </a:lnTo>
                <a:lnTo>
                  <a:pt x="209650" y="339004"/>
                </a:lnTo>
                <a:lnTo>
                  <a:pt x="222295" y="333936"/>
                </a:lnTo>
                <a:lnTo>
                  <a:pt x="234413" y="327778"/>
                </a:lnTo>
                <a:lnTo>
                  <a:pt x="245953" y="320583"/>
                </a:lnTo>
                <a:lnTo>
                  <a:pt x="256864" y="312409"/>
                </a:lnTo>
                <a:lnTo>
                  <a:pt x="267095" y="303311"/>
                </a:lnTo>
                <a:lnTo>
                  <a:pt x="276595" y="293343"/>
                </a:lnTo>
                <a:lnTo>
                  <a:pt x="285312" y="282562"/>
                </a:lnTo>
                <a:lnTo>
                  <a:pt x="293195" y="271023"/>
                </a:lnTo>
                <a:lnTo>
                  <a:pt x="300193" y="258781"/>
                </a:lnTo>
                <a:lnTo>
                  <a:pt x="306255" y="245892"/>
                </a:lnTo>
                <a:lnTo>
                  <a:pt x="311330" y="232411"/>
                </a:lnTo>
                <a:lnTo>
                  <a:pt x="315366" y="218394"/>
                </a:lnTo>
                <a:lnTo>
                  <a:pt x="318312" y="203896"/>
                </a:lnTo>
                <a:lnTo>
                  <a:pt x="320117" y="188973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9" y="93485"/>
                </a:lnTo>
                <a:lnTo>
                  <a:pt x="296006" y="80986"/>
                </a:lnTo>
                <a:lnTo>
                  <a:pt x="288459" y="69169"/>
                </a:lnTo>
                <a:lnTo>
                  <a:pt x="280058" y="58089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4"/>
                </a:lnTo>
                <a:lnTo>
                  <a:pt x="86318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8" name="object 40"/>
          <p:cNvSpPr/>
          <p:nvPr/>
        </p:nvSpPr>
        <p:spPr>
          <a:xfrm>
            <a:off x="5213120" y="49216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54" name="object 28"/>
          <p:cNvSpPr/>
          <p:nvPr/>
        </p:nvSpPr>
        <p:spPr>
          <a:xfrm>
            <a:off x="4877989" y="532865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57" name="object 22"/>
          <p:cNvSpPr/>
          <p:nvPr/>
        </p:nvSpPr>
        <p:spPr>
          <a:xfrm>
            <a:off x="3252845" y="520650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60" name="object 6"/>
          <p:cNvSpPr txBox="1"/>
          <p:nvPr/>
        </p:nvSpPr>
        <p:spPr>
          <a:xfrm>
            <a:off x="1332125" y="3759280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sp>
        <p:nvSpPr>
          <p:cNvPr id="161" name="object 5"/>
          <p:cNvSpPr txBox="1"/>
          <p:nvPr/>
        </p:nvSpPr>
        <p:spPr>
          <a:xfrm>
            <a:off x="5426815" y="6116930"/>
            <a:ext cx="542241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Age</a:t>
            </a:r>
            <a:endParaRPr sz="2400">
              <a:cs typeface="Calibri"/>
            </a:endParaRPr>
          </a:p>
        </p:txBody>
      </p:sp>
      <p:grpSp>
        <p:nvGrpSpPr>
          <p:cNvPr id="162" name="Group 161"/>
          <p:cNvGrpSpPr/>
          <p:nvPr/>
        </p:nvGrpSpPr>
        <p:grpSpPr>
          <a:xfrm>
            <a:off x="2383438" y="1888930"/>
            <a:ext cx="6303362" cy="4054670"/>
            <a:chOff x="2343901" y="1923700"/>
            <a:chExt cx="6303362" cy="4054670"/>
          </a:xfrm>
        </p:grpSpPr>
        <p:sp>
          <p:nvSpPr>
            <p:cNvPr id="163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164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  <p:sp>
        <p:nvSpPr>
          <p:cNvPr id="48" name="object 2"/>
          <p:cNvSpPr txBox="1"/>
          <p:nvPr/>
        </p:nvSpPr>
        <p:spPr>
          <a:xfrm>
            <a:off x="2961867" y="2573905"/>
            <a:ext cx="4738702" cy="2344280"/>
          </a:xfrm>
          <a:prstGeom prst="rect">
            <a:avLst/>
          </a:prstGeom>
          <a:gradFill flip="none" rotWithShape="1">
            <a:gsLst>
              <a:gs pos="0">
                <a:schemeClr val="accent4">
                  <a:shade val="30000"/>
                  <a:satMod val="115000"/>
                </a:schemeClr>
              </a:gs>
              <a:gs pos="50000">
                <a:schemeClr val="accent4">
                  <a:shade val="67500"/>
                  <a:satMod val="115000"/>
                </a:schemeClr>
              </a:gs>
              <a:gs pos="100000">
                <a:schemeClr val="accent4">
                  <a:shade val="100000"/>
                  <a:satMod val="115000"/>
                </a:schemeClr>
              </a:gs>
            </a:gsLst>
            <a:lin ang="0" scaled="1"/>
            <a:tileRect/>
          </a:gra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pPr algn="ctr">
              <a:lnSpc>
                <a:spcPts val="650"/>
              </a:lnSpc>
              <a:spcBef>
                <a:spcPts val="25"/>
              </a:spcBef>
            </a:pPr>
            <a:endParaRPr sz="650" dirty="0"/>
          </a:p>
          <a:p>
            <a:pPr marL="91440" algn="ctr">
              <a:lnSpc>
                <a:spcPct val="101725"/>
              </a:lnSpc>
            </a:pPr>
            <a:r>
              <a:rPr sz="6600" spc="0" dirty="0" smtClean="0">
                <a:solidFill>
                  <a:srgbClr val="FEFFFE"/>
                </a:solidFill>
                <a:latin typeface="Calibri"/>
                <a:cs typeface="Calibri"/>
              </a:rPr>
              <a:t>Stop. I want</a:t>
            </a:r>
            <a:endParaRPr sz="6600" dirty="0">
              <a:latin typeface="Calibri"/>
              <a:cs typeface="Calibri"/>
            </a:endParaRPr>
          </a:p>
          <a:p>
            <a:pPr marL="91440" algn="ctr">
              <a:lnSpc>
                <a:spcPts val="7900"/>
              </a:lnSpc>
              <a:spcBef>
                <a:spcPts val="395"/>
              </a:spcBef>
            </a:pPr>
            <a:r>
              <a:rPr sz="9900" spc="0" baseline="1654" dirty="0" smtClean="0">
                <a:solidFill>
                  <a:srgbClr val="FEFFFE"/>
                </a:solidFill>
                <a:latin typeface="Calibri"/>
                <a:cs typeface="Calibri"/>
              </a:rPr>
              <a:t>3 clusters.</a:t>
            </a:r>
            <a:endParaRPr sz="6600" dirty="0">
              <a:latin typeface="Calibri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4002131539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" name="object 10"/>
          <p:cNvSpPr txBox="1"/>
          <p:nvPr/>
        </p:nvSpPr>
        <p:spPr>
          <a:xfrm>
            <a:off x="2101916" y="369650"/>
            <a:ext cx="6296519" cy="4318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3400"/>
              </a:lnSpc>
              <a:spcBef>
                <a:spcPts val="170"/>
              </a:spcBef>
            </a:pPr>
            <a:r>
              <a:rPr lang="en-US" sz="4800" baseline="1706" dirty="0">
                <a:solidFill>
                  <a:srgbClr val="4E81BC"/>
                </a:solidFill>
                <a:latin typeface="+mj-lt"/>
                <a:cs typeface="Calibri"/>
              </a:rPr>
              <a:t>Agglomerative </a:t>
            </a:r>
            <a:r>
              <a:rPr sz="4800" spc="0" baseline="1706" dirty="0" smtClean="0">
                <a:solidFill>
                  <a:srgbClr val="4E81BC"/>
                </a:solidFill>
                <a:latin typeface="+mj-lt"/>
                <a:cs typeface="Calibri"/>
              </a:rPr>
              <a:t>Hierarchical Clustering</a:t>
            </a:r>
            <a:endParaRPr sz="3200" dirty="0">
              <a:latin typeface="+mj-lt"/>
              <a:cs typeface="Calibri"/>
            </a:endParaRPr>
          </a:p>
        </p:txBody>
      </p:sp>
      <p:sp>
        <p:nvSpPr>
          <p:cNvPr id="82" name="object 11"/>
          <p:cNvSpPr txBox="1"/>
          <p:nvPr/>
        </p:nvSpPr>
        <p:spPr>
          <a:xfrm>
            <a:off x="2101916" y="852250"/>
            <a:ext cx="6584884" cy="4318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>
            <a:defPPr>
              <a:defRPr lang="en-US"/>
            </a:defPPr>
            <a:lvl1pPr marL="12700">
              <a:lnSpc>
                <a:spcPts val="3400"/>
              </a:lnSpc>
              <a:spcBef>
                <a:spcPts val="170"/>
              </a:spcBef>
              <a:defRPr sz="4800" spc="0" baseline="1706">
                <a:solidFill>
                  <a:srgbClr val="7F7E7E"/>
                </a:solidFill>
                <a:latin typeface="Calibri"/>
                <a:cs typeface="Calibri"/>
              </a:defRPr>
            </a:lvl1pPr>
          </a:lstStyle>
          <a:p>
            <a:r>
              <a:rPr lang="en-US" dirty="0" smtClean="0">
                <a:latin typeface="+mj-lt"/>
              </a:rPr>
              <a:t>Current </a:t>
            </a:r>
            <a:r>
              <a:rPr lang="en-US" dirty="0" err="1" smtClean="0">
                <a:solidFill>
                  <a:srgbClr val="F69545"/>
                </a:solidFill>
                <a:latin typeface="+mj-lt"/>
              </a:rPr>
              <a:t>num_clusters</a:t>
            </a:r>
            <a:r>
              <a:rPr lang="en-US" dirty="0" smtClean="0">
                <a:solidFill>
                  <a:srgbClr val="F69545"/>
                </a:solidFill>
                <a:latin typeface="+mj-lt"/>
              </a:rPr>
              <a:t> = 4</a:t>
            </a:r>
            <a:endParaRPr dirty="0">
              <a:solidFill>
                <a:srgbClr val="F69545"/>
              </a:solidFill>
              <a:latin typeface="+mj-lt"/>
            </a:endParaRPr>
          </a:p>
        </p:txBody>
      </p:sp>
      <p:sp>
        <p:nvSpPr>
          <p:cNvPr id="83" name="object 82"/>
          <p:cNvSpPr/>
          <p:nvPr/>
        </p:nvSpPr>
        <p:spPr>
          <a:xfrm>
            <a:off x="4414372" y="54871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4" name="object 84"/>
          <p:cNvSpPr/>
          <p:nvPr/>
        </p:nvSpPr>
        <p:spPr>
          <a:xfrm>
            <a:off x="5399747" y="55212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5" name="object 86"/>
          <p:cNvSpPr/>
          <p:nvPr/>
        </p:nvSpPr>
        <p:spPr>
          <a:xfrm>
            <a:off x="6251551" y="55023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6" name="object 74"/>
          <p:cNvSpPr/>
          <p:nvPr/>
        </p:nvSpPr>
        <p:spPr>
          <a:xfrm>
            <a:off x="2668469" y="519520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7" name="object 72"/>
          <p:cNvSpPr/>
          <p:nvPr/>
        </p:nvSpPr>
        <p:spPr>
          <a:xfrm>
            <a:off x="5959366" y="251737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40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80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8" name="object 70"/>
          <p:cNvSpPr/>
          <p:nvPr/>
        </p:nvSpPr>
        <p:spPr>
          <a:xfrm>
            <a:off x="5560113" y="213564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9" name="object 68"/>
          <p:cNvSpPr/>
          <p:nvPr/>
        </p:nvSpPr>
        <p:spPr>
          <a:xfrm>
            <a:off x="5148028" y="1723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0" name="object 66"/>
          <p:cNvSpPr/>
          <p:nvPr/>
        </p:nvSpPr>
        <p:spPr>
          <a:xfrm>
            <a:off x="6872003" y="34121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chemeClr val="accent4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1" name="object 63"/>
          <p:cNvSpPr/>
          <p:nvPr/>
        </p:nvSpPr>
        <p:spPr>
          <a:xfrm>
            <a:off x="5880842" y="502152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6"/>
                </a:lnTo>
                <a:lnTo>
                  <a:pt x="1583" y="198179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6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2"/>
                </a:lnTo>
                <a:lnTo>
                  <a:pt x="49876" y="299561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6"/>
                </a:lnTo>
                <a:lnTo>
                  <a:pt x="196530" y="342926"/>
                </a:lnTo>
                <a:lnTo>
                  <a:pt x="209650" y="339004"/>
                </a:lnTo>
                <a:lnTo>
                  <a:pt x="222295" y="333936"/>
                </a:lnTo>
                <a:lnTo>
                  <a:pt x="234413" y="327778"/>
                </a:lnTo>
                <a:lnTo>
                  <a:pt x="245953" y="320583"/>
                </a:lnTo>
                <a:lnTo>
                  <a:pt x="256864" y="312409"/>
                </a:lnTo>
                <a:lnTo>
                  <a:pt x="267095" y="303311"/>
                </a:lnTo>
                <a:lnTo>
                  <a:pt x="276595" y="293343"/>
                </a:lnTo>
                <a:lnTo>
                  <a:pt x="285312" y="282562"/>
                </a:lnTo>
                <a:lnTo>
                  <a:pt x="293195" y="271023"/>
                </a:lnTo>
                <a:lnTo>
                  <a:pt x="300193" y="258781"/>
                </a:lnTo>
                <a:lnTo>
                  <a:pt x="306255" y="245892"/>
                </a:lnTo>
                <a:lnTo>
                  <a:pt x="311330" y="232411"/>
                </a:lnTo>
                <a:lnTo>
                  <a:pt x="315366" y="218394"/>
                </a:lnTo>
                <a:lnTo>
                  <a:pt x="318312" y="203896"/>
                </a:lnTo>
                <a:lnTo>
                  <a:pt x="320117" y="188973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9" y="93485"/>
                </a:lnTo>
                <a:lnTo>
                  <a:pt x="296006" y="80986"/>
                </a:lnTo>
                <a:lnTo>
                  <a:pt x="288459" y="69169"/>
                </a:lnTo>
                <a:lnTo>
                  <a:pt x="280058" y="58089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4"/>
                </a:lnTo>
                <a:lnTo>
                  <a:pt x="86318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2" name="object 62"/>
          <p:cNvSpPr/>
          <p:nvPr/>
        </p:nvSpPr>
        <p:spPr>
          <a:xfrm>
            <a:off x="4326962" y="34938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3" name="object 60"/>
          <p:cNvSpPr/>
          <p:nvPr/>
        </p:nvSpPr>
        <p:spPr>
          <a:xfrm>
            <a:off x="3451263" y="457102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4" name="object 58"/>
          <p:cNvSpPr/>
          <p:nvPr/>
        </p:nvSpPr>
        <p:spPr>
          <a:xfrm>
            <a:off x="7513462" y="204543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5" name="object 56"/>
          <p:cNvSpPr/>
          <p:nvPr/>
        </p:nvSpPr>
        <p:spPr>
          <a:xfrm>
            <a:off x="6553321" y="196196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6" name="object 54"/>
          <p:cNvSpPr/>
          <p:nvPr/>
        </p:nvSpPr>
        <p:spPr>
          <a:xfrm>
            <a:off x="7353097" y="275391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7" name="object 52"/>
          <p:cNvSpPr/>
          <p:nvPr/>
        </p:nvSpPr>
        <p:spPr>
          <a:xfrm>
            <a:off x="4696124" y="412086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8" name="object 50"/>
          <p:cNvSpPr/>
          <p:nvPr/>
        </p:nvSpPr>
        <p:spPr>
          <a:xfrm>
            <a:off x="4441297" y="46123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9" name="object 48"/>
          <p:cNvSpPr/>
          <p:nvPr/>
        </p:nvSpPr>
        <p:spPr>
          <a:xfrm>
            <a:off x="3130532" y="40499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0" name="object 42"/>
          <p:cNvSpPr/>
          <p:nvPr/>
        </p:nvSpPr>
        <p:spPr>
          <a:xfrm>
            <a:off x="5748103" y="33118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1" name="object 44"/>
          <p:cNvSpPr/>
          <p:nvPr/>
        </p:nvSpPr>
        <p:spPr>
          <a:xfrm>
            <a:off x="5560113" y="25802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2" name="object 46"/>
          <p:cNvSpPr/>
          <p:nvPr/>
        </p:nvSpPr>
        <p:spPr>
          <a:xfrm>
            <a:off x="5421508" y="296447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3" name="object 40"/>
          <p:cNvSpPr/>
          <p:nvPr/>
        </p:nvSpPr>
        <p:spPr>
          <a:xfrm>
            <a:off x="5213120" y="49216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4" name="object 38"/>
          <p:cNvSpPr/>
          <p:nvPr/>
        </p:nvSpPr>
        <p:spPr>
          <a:xfrm>
            <a:off x="7032365" y="221911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5" name="object 36"/>
          <p:cNvSpPr/>
          <p:nvPr/>
        </p:nvSpPr>
        <p:spPr>
          <a:xfrm>
            <a:off x="7385165" y="340218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6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7"/>
                </a:lnTo>
                <a:lnTo>
                  <a:pt x="310251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chemeClr val="accent4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6" name="object 34"/>
          <p:cNvSpPr/>
          <p:nvPr/>
        </p:nvSpPr>
        <p:spPr>
          <a:xfrm>
            <a:off x="5038354" y="24830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7" name="object 32"/>
          <p:cNvSpPr/>
          <p:nvPr/>
        </p:nvSpPr>
        <p:spPr>
          <a:xfrm>
            <a:off x="7192732" y="159327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8" name="object 30"/>
          <p:cNvSpPr/>
          <p:nvPr/>
        </p:nvSpPr>
        <p:spPr>
          <a:xfrm>
            <a:off x="6201572" y="316997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9" name="object 28"/>
          <p:cNvSpPr/>
          <p:nvPr/>
        </p:nvSpPr>
        <p:spPr>
          <a:xfrm>
            <a:off x="4877989" y="532865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0" name="object 26"/>
          <p:cNvSpPr/>
          <p:nvPr/>
        </p:nvSpPr>
        <p:spPr>
          <a:xfrm>
            <a:off x="5581873" y="4521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1" name="object 24"/>
          <p:cNvSpPr/>
          <p:nvPr/>
        </p:nvSpPr>
        <p:spPr>
          <a:xfrm>
            <a:off x="3528670" y="35173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2" name="object 22"/>
          <p:cNvSpPr/>
          <p:nvPr/>
        </p:nvSpPr>
        <p:spPr>
          <a:xfrm>
            <a:off x="3252845" y="520650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3" name="object 20"/>
          <p:cNvSpPr/>
          <p:nvPr/>
        </p:nvSpPr>
        <p:spPr>
          <a:xfrm>
            <a:off x="3849401" y="4051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4" name="object 18"/>
          <p:cNvSpPr/>
          <p:nvPr/>
        </p:nvSpPr>
        <p:spPr>
          <a:xfrm>
            <a:off x="6713687" y="269105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5" name="object 6"/>
          <p:cNvSpPr txBox="1"/>
          <p:nvPr/>
        </p:nvSpPr>
        <p:spPr>
          <a:xfrm>
            <a:off x="1332125" y="3759280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sp>
        <p:nvSpPr>
          <p:cNvPr id="116" name="object 5"/>
          <p:cNvSpPr txBox="1"/>
          <p:nvPr/>
        </p:nvSpPr>
        <p:spPr>
          <a:xfrm>
            <a:off x="5426815" y="6116930"/>
            <a:ext cx="542241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Age</a:t>
            </a:r>
            <a:endParaRPr sz="2400">
              <a:cs typeface="Calibri"/>
            </a:endParaRPr>
          </a:p>
        </p:txBody>
      </p:sp>
      <p:grpSp>
        <p:nvGrpSpPr>
          <p:cNvPr id="117" name="Group 116"/>
          <p:cNvGrpSpPr/>
          <p:nvPr/>
        </p:nvGrpSpPr>
        <p:grpSpPr>
          <a:xfrm>
            <a:off x="2383438" y="1888930"/>
            <a:ext cx="6303362" cy="4054670"/>
            <a:chOff x="2343901" y="1923700"/>
            <a:chExt cx="6303362" cy="4054670"/>
          </a:xfrm>
        </p:grpSpPr>
        <p:sp>
          <p:nvSpPr>
            <p:cNvPr id="118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119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</p:spTree>
    <p:extLst>
      <p:ext uri="{BB962C8B-B14F-4D97-AF65-F5344CB8AC3E}">
        <p14:creationId xmlns:p14="http://schemas.microsoft.com/office/powerpoint/2010/main" val="4193137223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6" name="object 10"/>
          <p:cNvSpPr txBox="1"/>
          <p:nvPr/>
        </p:nvSpPr>
        <p:spPr>
          <a:xfrm>
            <a:off x="2101916" y="369650"/>
            <a:ext cx="6296519" cy="4318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3400"/>
              </a:lnSpc>
              <a:spcBef>
                <a:spcPts val="170"/>
              </a:spcBef>
            </a:pPr>
            <a:r>
              <a:rPr lang="en-US" sz="4800" baseline="1706" dirty="0">
                <a:solidFill>
                  <a:srgbClr val="4E81BC"/>
                </a:solidFill>
                <a:latin typeface="+mj-lt"/>
                <a:cs typeface="Calibri"/>
              </a:rPr>
              <a:t>Agglomerative </a:t>
            </a:r>
            <a:r>
              <a:rPr sz="4800" spc="0" baseline="1706" dirty="0" smtClean="0">
                <a:solidFill>
                  <a:srgbClr val="4E81BC"/>
                </a:solidFill>
                <a:latin typeface="+mj-lt"/>
                <a:cs typeface="Calibri"/>
              </a:rPr>
              <a:t>Hierarchical Clustering</a:t>
            </a:r>
            <a:endParaRPr sz="3200" dirty="0">
              <a:latin typeface="+mj-lt"/>
              <a:cs typeface="Calibri"/>
            </a:endParaRPr>
          </a:p>
        </p:txBody>
      </p:sp>
      <p:sp>
        <p:nvSpPr>
          <p:cNvPr id="87" name="object 11"/>
          <p:cNvSpPr txBox="1"/>
          <p:nvPr/>
        </p:nvSpPr>
        <p:spPr>
          <a:xfrm>
            <a:off x="2101916" y="852250"/>
            <a:ext cx="6584884" cy="4318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>
            <a:defPPr>
              <a:defRPr lang="en-US"/>
            </a:defPPr>
            <a:lvl1pPr marL="12700">
              <a:lnSpc>
                <a:spcPts val="3400"/>
              </a:lnSpc>
              <a:spcBef>
                <a:spcPts val="170"/>
              </a:spcBef>
              <a:defRPr sz="4800" spc="0" baseline="1706">
                <a:solidFill>
                  <a:srgbClr val="7F7E7E"/>
                </a:solidFill>
                <a:latin typeface="Calibri"/>
                <a:cs typeface="Calibri"/>
              </a:defRPr>
            </a:lvl1pPr>
          </a:lstStyle>
          <a:p>
            <a:r>
              <a:rPr lang="en-US" dirty="0" smtClean="0">
                <a:latin typeface="+mj-lt"/>
              </a:rPr>
              <a:t>Current </a:t>
            </a:r>
            <a:r>
              <a:rPr lang="en-US" dirty="0" err="1" smtClean="0">
                <a:solidFill>
                  <a:srgbClr val="F69545"/>
                </a:solidFill>
                <a:latin typeface="+mj-lt"/>
              </a:rPr>
              <a:t>num_clusters</a:t>
            </a:r>
            <a:r>
              <a:rPr lang="en-US" dirty="0" smtClean="0">
                <a:solidFill>
                  <a:srgbClr val="F69545"/>
                </a:solidFill>
                <a:latin typeface="+mj-lt"/>
              </a:rPr>
              <a:t> = 4</a:t>
            </a:r>
            <a:endParaRPr dirty="0">
              <a:solidFill>
                <a:srgbClr val="F69545"/>
              </a:solidFill>
              <a:latin typeface="+mj-lt"/>
            </a:endParaRPr>
          </a:p>
        </p:txBody>
      </p:sp>
      <p:sp>
        <p:nvSpPr>
          <p:cNvPr id="88" name="object 82"/>
          <p:cNvSpPr/>
          <p:nvPr/>
        </p:nvSpPr>
        <p:spPr>
          <a:xfrm>
            <a:off x="4414372" y="54871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9" name="object 84"/>
          <p:cNvSpPr/>
          <p:nvPr/>
        </p:nvSpPr>
        <p:spPr>
          <a:xfrm>
            <a:off x="5399747" y="55212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0" name="object 86"/>
          <p:cNvSpPr/>
          <p:nvPr/>
        </p:nvSpPr>
        <p:spPr>
          <a:xfrm>
            <a:off x="6251551" y="55023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1" name="object 74"/>
          <p:cNvSpPr/>
          <p:nvPr/>
        </p:nvSpPr>
        <p:spPr>
          <a:xfrm>
            <a:off x="2668469" y="519520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2" name="object 72"/>
          <p:cNvSpPr/>
          <p:nvPr/>
        </p:nvSpPr>
        <p:spPr>
          <a:xfrm>
            <a:off x="5959366" y="251737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40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80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3" name="object 70"/>
          <p:cNvSpPr/>
          <p:nvPr/>
        </p:nvSpPr>
        <p:spPr>
          <a:xfrm>
            <a:off x="5560113" y="213564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4" name="object 68"/>
          <p:cNvSpPr/>
          <p:nvPr/>
        </p:nvSpPr>
        <p:spPr>
          <a:xfrm>
            <a:off x="5148028" y="1723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5" name="object 66"/>
          <p:cNvSpPr/>
          <p:nvPr/>
        </p:nvSpPr>
        <p:spPr>
          <a:xfrm>
            <a:off x="6872003" y="34121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094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6" name="object 63"/>
          <p:cNvSpPr/>
          <p:nvPr/>
        </p:nvSpPr>
        <p:spPr>
          <a:xfrm>
            <a:off x="5880842" y="502152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6"/>
                </a:lnTo>
                <a:lnTo>
                  <a:pt x="1583" y="198179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6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2"/>
                </a:lnTo>
                <a:lnTo>
                  <a:pt x="49876" y="299561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6"/>
                </a:lnTo>
                <a:lnTo>
                  <a:pt x="196530" y="342926"/>
                </a:lnTo>
                <a:lnTo>
                  <a:pt x="209650" y="339004"/>
                </a:lnTo>
                <a:lnTo>
                  <a:pt x="222295" y="333936"/>
                </a:lnTo>
                <a:lnTo>
                  <a:pt x="234413" y="327778"/>
                </a:lnTo>
                <a:lnTo>
                  <a:pt x="245953" y="320583"/>
                </a:lnTo>
                <a:lnTo>
                  <a:pt x="256864" y="312409"/>
                </a:lnTo>
                <a:lnTo>
                  <a:pt x="267095" y="303311"/>
                </a:lnTo>
                <a:lnTo>
                  <a:pt x="276595" y="293343"/>
                </a:lnTo>
                <a:lnTo>
                  <a:pt x="285312" y="282562"/>
                </a:lnTo>
                <a:lnTo>
                  <a:pt x="293195" y="271023"/>
                </a:lnTo>
                <a:lnTo>
                  <a:pt x="300193" y="258781"/>
                </a:lnTo>
                <a:lnTo>
                  <a:pt x="306255" y="245892"/>
                </a:lnTo>
                <a:lnTo>
                  <a:pt x="311330" y="232411"/>
                </a:lnTo>
                <a:lnTo>
                  <a:pt x="315366" y="218394"/>
                </a:lnTo>
                <a:lnTo>
                  <a:pt x="318312" y="203896"/>
                </a:lnTo>
                <a:lnTo>
                  <a:pt x="320117" y="188973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9" y="93485"/>
                </a:lnTo>
                <a:lnTo>
                  <a:pt x="296006" y="80986"/>
                </a:lnTo>
                <a:lnTo>
                  <a:pt x="288459" y="69169"/>
                </a:lnTo>
                <a:lnTo>
                  <a:pt x="280058" y="58089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4"/>
                </a:lnTo>
                <a:lnTo>
                  <a:pt x="86318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7" name="object 62"/>
          <p:cNvSpPr/>
          <p:nvPr/>
        </p:nvSpPr>
        <p:spPr>
          <a:xfrm>
            <a:off x="4326962" y="34938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8" name="object 60"/>
          <p:cNvSpPr/>
          <p:nvPr/>
        </p:nvSpPr>
        <p:spPr>
          <a:xfrm>
            <a:off x="3451263" y="457102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9" name="object 58"/>
          <p:cNvSpPr/>
          <p:nvPr/>
        </p:nvSpPr>
        <p:spPr>
          <a:xfrm>
            <a:off x="7513462" y="204543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0" name="object 56"/>
          <p:cNvSpPr/>
          <p:nvPr/>
        </p:nvSpPr>
        <p:spPr>
          <a:xfrm>
            <a:off x="6553321" y="196196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1" name="object 54"/>
          <p:cNvSpPr/>
          <p:nvPr/>
        </p:nvSpPr>
        <p:spPr>
          <a:xfrm>
            <a:off x="7353097" y="275391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2" name="object 52"/>
          <p:cNvSpPr/>
          <p:nvPr/>
        </p:nvSpPr>
        <p:spPr>
          <a:xfrm>
            <a:off x="4696124" y="412086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3" name="object 50"/>
          <p:cNvSpPr/>
          <p:nvPr/>
        </p:nvSpPr>
        <p:spPr>
          <a:xfrm>
            <a:off x="4441297" y="46123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4" name="object 48"/>
          <p:cNvSpPr/>
          <p:nvPr/>
        </p:nvSpPr>
        <p:spPr>
          <a:xfrm>
            <a:off x="3130532" y="40499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5" name="object 42"/>
          <p:cNvSpPr/>
          <p:nvPr/>
        </p:nvSpPr>
        <p:spPr>
          <a:xfrm>
            <a:off x="5748103" y="33118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6" name="object 44"/>
          <p:cNvSpPr/>
          <p:nvPr/>
        </p:nvSpPr>
        <p:spPr>
          <a:xfrm>
            <a:off x="5560113" y="25802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7" name="object 46"/>
          <p:cNvSpPr/>
          <p:nvPr/>
        </p:nvSpPr>
        <p:spPr>
          <a:xfrm>
            <a:off x="5421508" y="296447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8" name="object 40"/>
          <p:cNvSpPr/>
          <p:nvPr/>
        </p:nvSpPr>
        <p:spPr>
          <a:xfrm>
            <a:off x="5213120" y="49216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9" name="object 38"/>
          <p:cNvSpPr/>
          <p:nvPr/>
        </p:nvSpPr>
        <p:spPr>
          <a:xfrm>
            <a:off x="7032365" y="221911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0" name="object 36"/>
          <p:cNvSpPr/>
          <p:nvPr/>
        </p:nvSpPr>
        <p:spPr>
          <a:xfrm>
            <a:off x="7385165" y="340218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6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7"/>
                </a:lnTo>
                <a:lnTo>
                  <a:pt x="310251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094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1" name="object 34"/>
          <p:cNvSpPr/>
          <p:nvPr/>
        </p:nvSpPr>
        <p:spPr>
          <a:xfrm>
            <a:off x="5038354" y="24830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2" name="object 32"/>
          <p:cNvSpPr/>
          <p:nvPr/>
        </p:nvSpPr>
        <p:spPr>
          <a:xfrm>
            <a:off x="7192732" y="159327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3" name="object 30"/>
          <p:cNvSpPr/>
          <p:nvPr/>
        </p:nvSpPr>
        <p:spPr>
          <a:xfrm>
            <a:off x="6201572" y="316997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4" name="object 28"/>
          <p:cNvSpPr/>
          <p:nvPr/>
        </p:nvSpPr>
        <p:spPr>
          <a:xfrm>
            <a:off x="4877989" y="532865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5" name="object 26"/>
          <p:cNvSpPr/>
          <p:nvPr/>
        </p:nvSpPr>
        <p:spPr>
          <a:xfrm>
            <a:off x="5581873" y="4521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6" name="object 24"/>
          <p:cNvSpPr/>
          <p:nvPr/>
        </p:nvSpPr>
        <p:spPr>
          <a:xfrm>
            <a:off x="3528670" y="35173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7" name="object 22"/>
          <p:cNvSpPr/>
          <p:nvPr/>
        </p:nvSpPr>
        <p:spPr>
          <a:xfrm>
            <a:off x="3252845" y="520650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8" name="object 20"/>
          <p:cNvSpPr/>
          <p:nvPr/>
        </p:nvSpPr>
        <p:spPr>
          <a:xfrm>
            <a:off x="3849401" y="4051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9" name="object 18"/>
          <p:cNvSpPr/>
          <p:nvPr/>
        </p:nvSpPr>
        <p:spPr>
          <a:xfrm>
            <a:off x="6713687" y="269105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0" name="object 6"/>
          <p:cNvSpPr txBox="1"/>
          <p:nvPr/>
        </p:nvSpPr>
        <p:spPr>
          <a:xfrm>
            <a:off x="1332125" y="3759280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sp>
        <p:nvSpPr>
          <p:cNvPr id="121" name="object 5"/>
          <p:cNvSpPr txBox="1"/>
          <p:nvPr/>
        </p:nvSpPr>
        <p:spPr>
          <a:xfrm>
            <a:off x="5426815" y="6116930"/>
            <a:ext cx="542241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Age</a:t>
            </a:r>
            <a:endParaRPr sz="2400">
              <a:cs typeface="Calibri"/>
            </a:endParaRPr>
          </a:p>
        </p:txBody>
      </p:sp>
      <p:grpSp>
        <p:nvGrpSpPr>
          <p:cNvPr id="122" name="Group 121"/>
          <p:cNvGrpSpPr/>
          <p:nvPr/>
        </p:nvGrpSpPr>
        <p:grpSpPr>
          <a:xfrm>
            <a:off x="2383438" y="1888930"/>
            <a:ext cx="6303362" cy="4054670"/>
            <a:chOff x="2343901" y="1923700"/>
            <a:chExt cx="6303362" cy="4054670"/>
          </a:xfrm>
        </p:grpSpPr>
        <p:sp>
          <p:nvSpPr>
            <p:cNvPr id="123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124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  <p:sp>
        <p:nvSpPr>
          <p:cNvPr id="48" name="object 2"/>
          <p:cNvSpPr txBox="1"/>
          <p:nvPr/>
        </p:nvSpPr>
        <p:spPr>
          <a:xfrm>
            <a:off x="2961867" y="2573905"/>
            <a:ext cx="4738702" cy="2344280"/>
          </a:xfrm>
          <a:prstGeom prst="rect">
            <a:avLst/>
          </a:prstGeom>
          <a:gradFill flip="none" rotWithShape="1">
            <a:gsLst>
              <a:gs pos="0">
                <a:schemeClr val="accent4">
                  <a:shade val="30000"/>
                  <a:satMod val="115000"/>
                </a:schemeClr>
              </a:gs>
              <a:gs pos="50000">
                <a:schemeClr val="accent4">
                  <a:shade val="67500"/>
                  <a:satMod val="115000"/>
                </a:schemeClr>
              </a:gs>
              <a:gs pos="100000">
                <a:schemeClr val="accent4">
                  <a:shade val="100000"/>
                  <a:satMod val="115000"/>
                </a:schemeClr>
              </a:gs>
            </a:gsLst>
            <a:lin ang="0" scaled="1"/>
            <a:tileRect/>
          </a:gra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 anchor="ctr" anchorCtr="0">
            <a:noAutofit/>
          </a:bodyPr>
          <a:lstStyle/>
          <a:p>
            <a:pPr algn="ctr">
              <a:lnSpc>
                <a:spcPts val="650"/>
              </a:lnSpc>
              <a:spcBef>
                <a:spcPts val="25"/>
              </a:spcBef>
            </a:pPr>
            <a:endParaRPr sz="4000" dirty="0"/>
          </a:p>
          <a:p>
            <a:pPr marL="91440" algn="ctr">
              <a:lnSpc>
                <a:spcPct val="101725"/>
              </a:lnSpc>
            </a:pPr>
            <a:r>
              <a:rPr sz="4000" spc="0" dirty="0" smtClean="0">
                <a:solidFill>
                  <a:srgbClr val="FEFFFE"/>
                </a:solidFill>
                <a:latin typeface="Calibri"/>
                <a:cs typeface="Calibri"/>
              </a:rPr>
              <a:t>Stop. </a:t>
            </a:r>
            <a:r>
              <a:rPr lang="en-US" sz="4000" dirty="0">
                <a:solidFill>
                  <a:srgbClr val="FEFFFE"/>
                </a:solidFill>
                <a:cs typeface="Calibri"/>
              </a:rPr>
              <a:t>Don’t merge clusters farther than 2.765</a:t>
            </a:r>
          </a:p>
        </p:txBody>
      </p:sp>
    </p:spTree>
    <p:extLst>
      <p:ext uri="{BB962C8B-B14F-4D97-AF65-F5344CB8AC3E}">
        <p14:creationId xmlns:p14="http://schemas.microsoft.com/office/powerpoint/2010/main" val="2391194763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bject 10"/>
          <p:cNvSpPr txBox="1"/>
          <p:nvPr/>
        </p:nvSpPr>
        <p:spPr>
          <a:xfrm>
            <a:off x="2101916" y="369650"/>
            <a:ext cx="6296519" cy="4318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3400"/>
              </a:lnSpc>
              <a:spcBef>
                <a:spcPts val="170"/>
              </a:spcBef>
            </a:pPr>
            <a:r>
              <a:rPr lang="en-US" sz="4800" baseline="1706" dirty="0">
                <a:solidFill>
                  <a:srgbClr val="4E81BC"/>
                </a:solidFill>
                <a:latin typeface="+mj-lt"/>
                <a:cs typeface="Calibri"/>
              </a:rPr>
              <a:t>Agglomerative </a:t>
            </a:r>
            <a:r>
              <a:rPr sz="4800" baseline="1706" dirty="0">
                <a:solidFill>
                  <a:srgbClr val="F69545"/>
                </a:solidFill>
                <a:latin typeface="+mj-lt"/>
                <a:cs typeface="Calibri"/>
              </a:rPr>
              <a:t>Hierarchical</a:t>
            </a:r>
            <a:r>
              <a:rPr sz="4800" spc="0" baseline="1706" dirty="0" smtClean="0">
                <a:solidFill>
                  <a:srgbClr val="4E81BC"/>
                </a:solidFill>
                <a:latin typeface="+mj-lt"/>
                <a:cs typeface="Calibri"/>
              </a:rPr>
              <a:t> Clustering</a:t>
            </a:r>
            <a:endParaRPr sz="3200" dirty="0">
              <a:latin typeface="+mj-lt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923253668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9" name="object 82"/>
          <p:cNvSpPr/>
          <p:nvPr/>
        </p:nvSpPr>
        <p:spPr>
          <a:xfrm>
            <a:off x="4414372" y="54871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0" name="object 84"/>
          <p:cNvSpPr/>
          <p:nvPr/>
        </p:nvSpPr>
        <p:spPr>
          <a:xfrm>
            <a:off x="5399747" y="55212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1" name="object 86"/>
          <p:cNvSpPr/>
          <p:nvPr/>
        </p:nvSpPr>
        <p:spPr>
          <a:xfrm>
            <a:off x="6251551" y="55023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2" name="object 74"/>
          <p:cNvSpPr/>
          <p:nvPr/>
        </p:nvSpPr>
        <p:spPr>
          <a:xfrm>
            <a:off x="2668469" y="519520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7F1676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3" name="object 72"/>
          <p:cNvSpPr/>
          <p:nvPr/>
        </p:nvSpPr>
        <p:spPr>
          <a:xfrm>
            <a:off x="5959366" y="251737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40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80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4" name="object 70"/>
          <p:cNvSpPr/>
          <p:nvPr/>
        </p:nvSpPr>
        <p:spPr>
          <a:xfrm>
            <a:off x="5560113" y="213564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5" name="object 68"/>
          <p:cNvSpPr/>
          <p:nvPr/>
        </p:nvSpPr>
        <p:spPr>
          <a:xfrm>
            <a:off x="5148028" y="1723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6" name="object 66"/>
          <p:cNvSpPr/>
          <p:nvPr/>
        </p:nvSpPr>
        <p:spPr>
          <a:xfrm>
            <a:off x="6872003" y="34121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094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7" name="object 63"/>
          <p:cNvSpPr/>
          <p:nvPr/>
        </p:nvSpPr>
        <p:spPr>
          <a:xfrm>
            <a:off x="5880842" y="502152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6"/>
                </a:lnTo>
                <a:lnTo>
                  <a:pt x="1583" y="198179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6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2"/>
                </a:lnTo>
                <a:lnTo>
                  <a:pt x="49876" y="299561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6"/>
                </a:lnTo>
                <a:lnTo>
                  <a:pt x="196530" y="342926"/>
                </a:lnTo>
                <a:lnTo>
                  <a:pt x="209650" y="339004"/>
                </a:lnTo>
                <a:lnTo>
                  <a:pt x="222295" y="333936"/>
                </a:lnTo>
                <a:lnTo>
                  <a:pt x="234413" y="327778"/>
                </a:lnTo>
                <a:lnTo>
                  <a:pt x="245953" y="320583"/>
                </a:lnTo>
                <a:lnTo>
                  <a:pt x="256864" y="312409"/>
                </a:lnTo>
                <a:lnTo>
                  <a:pt x="267095" y="303311"/>
                </a:lnTo>
                <a:lnTo>
                  <a:pt x="276595" y="293343"/>
                </a:lnTo>
                <a:lnTo>
                  <a:pt x="285312" y="282562"/>
                </a:lnTo>
                <a:lnTo>
                  <a:pt x="293195" y="271023"/>
                </a:lnTo>
                <a:lnTo>
                  <a:pt x="300193" y="258781"/>
                </a:lnTo>
                <a:lnTo>
                  <a:pt x="306255" y="245892"/>
                </a:lnTo>
                <a:lnTo>
                  <a:pt x="311330" y="232411"/>
                </a:lnTo>
                <a:lnTo>
                  <a:pt x="315366" y="218394"/>
                </a:lnTo>
                <a:lnTo>
                  <a:pt x="318312" y="203896"/>
                </a:lnTo>
                <a:lnTo>
                  <a:pt x="320117" y="188973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9" y="93485"/>
                </a:lnTo>
                <a:lnTo>
                  <a:pt x="296006" y="80986"/>
                </a:lnTo>
                <a:lnTo>
                  <a:pt x="288459" y="69169"/>
                </a:lnTo>
                <a:lnTo>
                  <a:pt x="280058" y="58089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4"/>
                </a:lnTo>
                <a:lnTo>
                  <a:pt x="86318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8" name="object 62"/>
          <p:cNvSpPr/>
          <p:nvPr/>
        </p:nvSpPr>
        <p:spPr>
          <a:xfrm>
            <a:off x="4326962" y="34938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9" name="object 60"/>
          <p:cNvSpPr/>
          <p:nvPr/>
        </p:nvSpPr>
        <p:spPr>
          <a:xfrm>
            <a:off x="3451263" y="457102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0" name="object 58"/>
          <p:cNvSpPr/>
          <p:nvPr/>
        </p:nvSpPr>
        <p:spPr>
          <a:xfrm>
            <a:off x="7513462" y="204543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1" name="object 56"/>
          <p:cNvSpPr/>
          <p:nvPr/>
        </p:nvSpPr>
        <p:spPr>
          <a:xfrm>
            <a:off x="6553321" y="196196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2" name="object 54"/>
          <p:cNvSpPr/>
          <p:nvPr/>
        </p:nvSpPr>
        <p:spPr>
          <a:xfrm>
            <a:off x="7353097" y="275391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3" name="object 52"/>
          <p:cNvSpPr/>
          <p:nvPr/>
        </p:nvSpPr>
        <p:spPr>
          <a:xfrm>
            <a:off x="4696124" y="412086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4" name="object 50"/>
          <p:cNvSpPr/>
          <p:nvPr/>
        </p:nvSpPr>
        <p:spPr>
          <a:xfrm>
            <a:off x="4441297" y="46123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5" name="object 48"/>
          <p:cNvSpPr/>
          <p:nvPr/>
        </p:nvSpPr>
        <p:spPr>
          <a:xfrm>
            <a:off x="3130532" y="40499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6" name="object 42"/>
          <p:cNvSpPr/>
          <p:nvPr/>
        </p:nvSpPr>
        <p:spPr>
          <a:xfrm>
            <a:off x="5748103" y="33118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7" name="object 44"/>
          <p:cNvSpPr/>
          <p:nvPr/>
        </p:nvSpPr>
        <p:spPr>
          <a:xfrm>
            <a:off x="5560113" y="25802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8" name="object 46"/>
          <p:cNvSpPr/>
          <p:nvPr/>
        </p:nvSpPr>
        <p:spPr>
          <a:xfrm>
            <a:off x="5421508" y="296447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9" name="object 40"/>
          <p:cNvSpPr/>
          <p:nvPr/>
        </p:nvSpPr>
        <p:spPr>
          <a:xfrm>
            <a:off x="5213120" y="49216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0" name="object 38"/>
          <p:cNvSpPr/>
          <p:nvPr/>
        </p:nvSpPr>
        <p:spPr>
          <a:xfrm>
            <a:off x="7032365" y="221911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1" name="object 36"/>
          <p:cNvSpPr/>
          <p:nvPr/>
        </p:nvSpPr>
        <p:spPr>
          <a:xfrm>
            <a:off x="7385165" y="340218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6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7"/>
                </a:lnTo>
                <a:lnTo>
                  <a:pt x="310251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094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2" name="object 34"/>
          <p:cNvSpPr/>
          <p:nvPr/>
        </p:nvSpPr>
        <p:spPr>
          <a:xfrm>
            <a:off x="5038354" y="24830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3" name="object 32"/>
          <p:cNvSpPr/>
          <p:nvPr/>
        </p:nvSpPr>
        <p:spPr>
          <a:xfrm>
            <a:off x="7192732" y="159327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4" name="object 30"/>
          <p:cNvSpPr/>
          <p:nvPr/>
        </p:nvSpPr>
        <p:spPr>
          <a:xfrm>
            <a:off x="6201572" y="316997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5" name="object 28"/>
          <p:cNvSpPr/>
          <p:nvPr/>
        </p:nvSpPr>
        <p:spPr>
          <a:xfrm>
            <a:off x="4877989" y="532865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6" name="object 26"/>
          <p:cNvSpPr/>
          <p:nvPr/>
        </p:nvSpPr>
        <p:spPr>
          <a:xfrm>
            <a:off x="5581873" y="4521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7" name="object 24"/>
          <p:cNvSpPr/>
          <p:nvPr/>
        </p:nvSpPr>
        <p:spPr>
          <a:xfrm>
            <a:off x="3528670" y="35173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8" name="object 22"/>
          <p:cNvSpPr/>
          <p:nvPr/>
        </p:nvSpPr>
        <p:spPr>
          <a:xfrm>
            <a:off x="3252845" y="520650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7F1676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9" name="object 20"/>
          <p:cNvSpPr/>
          <p:nvPr/>
        </p:nvSpPr>
        <p:spPr>
          <a:xfrm>
            <a:off x="3849401" y="4051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0" name="object 18"/>
          <p:cNvSpPr/>
          <p:nvPr/>
        </p:nvSpPr>
        <p:spPr>
          <a:xfrm>
            <a:off x="6713687" y="269105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1" name="object 6"/>
          <p:cNvSpPr txBox="1"/>
          <p:nvPr/>
        </p:nvSpPr>
        <p:spPr>
          <a:xfrm>
            <a:off x="1332125" y="3759280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sp>
        <p:nvSpPr>
          <p:cNvPr id="112" name="object 5"/>
          <p:cNvSpPr txBox="1"/>
          <p:nvPr/>
        </p:nvSpPr>
        <p:spPr>
          <a:xfrm>
            <a:off x="5426815" y="6116930"/>
            <a:ext cx="542241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Age</a:t>
            </a:r>
            <a:endParaRPr sz="2400">
              <a:cs typeface="Calibri"/>
            </a:endParaRPr>
          </a:p>
        </p:txBody>
      </p:sp>
      <p:grpSp>
        <p:nvGrpSpPr>
          <p:cNvPr id="113" name="Group 112"/>
          <p:cNvGrpSpPr/>
          <p:nvPr/>
        </p:nvGrpSpPr>
        <p:grpSpPr>
          <a:xfrm>
            <a:off x="2383438" y="1888930"/>
            <a:ext cx="6303362" cy="4054670"/>
            <a:chOff x="2343901" y="1923700"/>
            <a:chExt cx="6303362" cy="4054670"/>
          </a:xfrm>
        </p:grpSpPr>
        <p:sp>
          <p:nvSpPr>
            <p:cNvPr id="114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115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  <p:sp>
        <p:nvSpPr>
          <p:cNvPr id="116" name="object 10"/>
          <p:cNvSpPr txBox="1"/>
          <p:nvPr/>
        </p:nvSpPr>
        <p:spPr>
          <a:xfrm>
            <a:off x="2101916" y="369650"/>
            <a:ext cx="6296519" cy="4318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3400"/>
              </a:lnSpc>
              <a:spcBef>
                <a:spcPts val="170"/>
              </a:spcBef>
            </a:pPr>
            <a:r>
              <a:rPr lang="en-US" sz="4800" baseline="1706" dirty="0">
                <a:solidFill>
                  <a:srgbClr val="4E81BC"/>
                </a:solidFill>
                <a:latin typeface="+mj-lt"/>
                <a:cs typeface="Calibri"/>
              </a:rPr>
              <a:t>Agglomerative </a:t>
            </a:r>
            <a:r>
              <a:rPr sz="4800" baseline="1706" dirty="0">
                <a:solidFill>
                  <a:srgbClr val="F69545"/>
                </a:solidFill>
                <a:latin typeface="+mj-lt"/>
                <a:cs typeface="Calibri"/>
              </a:rPr>
              <a:t>Hierarchical</a:t>
            </a:r>
            <a:r>
              <a:rPr sz="4800" spc="0" baseline="1706" dirty="0" smtClean="0">
                <a:solidFill>
                  <a:srgbClr val="4E81BC"/>
                </a:solidFill>
                <a:latin typeface="+mj-lt"/>
                <a:cs typeface="Calibri"/>
              </a:rPr>
              <a:t> Clustering</a:t>
            </a:r>
            <a:endParaRPr sz="3200" dirty="0">
              <a:latin typeface="+mj-lt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552245536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3" name="object 83"/>
          <p:cNvSpPr/>
          <p:nvPr/>
        </p:nvSpPr>
        <p:spPr>
          <a:xfrm>
            <a:off x="4414373" y="548718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1"/>
                </a:moveTo>
                <a:lnTo>
                  <a:pt x="232" y="183107"/>
                </a:lnTo>
                <a:lnTo>
                  <a:pt x="1583" y="198180"/>
                </a:lnTo>
                <a:lnTo>
                  <a:pt x="4094" y="212849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7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3"/>
                </a:lnTo>
                <a:lnTo>
                  <a:pt x="49876" y="299561"/>
                </a:lnTo>
                <a:lnTo>
                  <a:pt x="59830" y="309002"/>
                </a:lnTo>
                <a:lnTo>
                  <a:pt x="70485" y="317539"/>
                </a:lnTo>
                <a:lnTo>
                  <a:pt x="81788" y="325119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2"/>
                </a:lnTo>
                <a:lnTo>
                  <a:pt x="169069" y="347110"/>
                </a:lnTo>
                <a:lnTo>
                  <a:pt x="182986" y="345647"/>
                </a:lnTo>
                <a:lnTo>
                  <a:pt x="196530" y="342927"/>
                </a:lnTo>
                <a:lnTo>
                  <a:pt x="209650" y="339005"/>
                </a:lnTo>
                <a:lnTo>
                  <a:pt x="222295" y="333937"/>
                </a:lnTo>
                <a:lnTo>
                  <a:pt x="234413" y="327778"/>
                </a:lnTo>
                <a:lnTo>
                  <a:pt x="245953" y="320584"/>
                </a:lnTo>
                <a:lnTo>
                  <a:pt x="256864" y="312410"/>
                </a:lnTo>
                <a:lnTo>
                  <a:pt x="267095" y="303311"/>
                </a:lnTo>
                <a:lnTo>
                  <a:pt x="276595" y="293344"/>
                </a:lnTo>
                <a:lnTo>
                  <a:pt x="285311" y="282563"/>
                </a:lnTo>
                <a:lnTo>
                  <a:pt x="293195" y="271024"/>
                </a:lnTo>
                <a:lnTo>
                  <a:pt x="300193" y="258782"/>
                </a:lnTo>
                <a:lnTo>
                  <a:pt x="306255" y="245893"/>
                </a:lnTo>
                <a:lnTo>
                  <a:pt x="311330" y="232412"/>
                </a:lnTo>
                <a:lnTo>
                  <a:pt x="315366" y="218395"/>
                </a:lnTo>
                <a:lnTo>
                  <a:pt x="318312" y="203897"/>
                </a:lnTo>
                <a:lnTo>
                  <a:pt x="320117" y="188974"/>
                </a:lnTo>
                <a:lnTo>
                  <a:pt x="320730" y="173681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8" y="93484"/>
                </a:lnTo>
                <a:lnTo>
                  <a:pt x="296006" y="80986"/>
                </a:lnTo>
                <a:lnTo>
                  <a:pt x="288458" y="69169"/>
                </a:lnTo>
                <a:lnTo>
                  <a:pt x="280057" y="58088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1" y="251"/>
                </a:lnTo>
                <a:lnTo>
                  <a:pt x="137744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5" y="13424"/>
                </a:lnTo>
                <a:lnTo>
                  <a:pt x="86317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50"/>
                </a:lnTo>
                <a:lnTo>
                  <a:pt x="44135" y="54017"/>
                </a:lnTo>
                <a:lnTo>
                  <a:pt x="35418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9"/>
                </a:lnTo>
                <a:lnTo>
                  <a:pt x="5364" y="128966"/>
                </a:lnTo>
                <a:lnTo>
                  <a:pt x="2418" y="143464"/>
                </a:lnTo>
                <a:lnTo>
                  <a:pt x="613" y="158387"/>
                </a:lnTo>
                <a:lnTo>
                  <a:pt x="0" y="173681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5" name="object 85"/>
          <p:cNvSpPr/>
          <p:nvPr/>
        </p:nvSpPr>
        <p:spPr>
          <a:xfrm>
            <a:off x="5399747" y="55212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1"/>
                </a:moveTo>
                <a:lnTo>
                  <a:pt x="232" y="183107"/>
                </a:lnTo>
                <a:lnTo>
                  <a:pt x="1583" y="198180"/>
                </a:lnTo>
                <a:lnTo>
                  <a:pt x="4094" y="212849"/>
                </a:lnTo>
                <a:lnTo>
                  <a:pt x="7715" y="227058"/>
                </a:lnTo>
                <a:lnTo>
                  <a:pt x="12395" y="240753"/>
                </a:lnTo>
                <a:lnTo>
                  <a:pt x="18081" y="253877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2" y="289273"/>
                </a:lnTo>
                <a:lnTo>
                  <a:pt x="49876" y="299561"/>
                </a:lnTo>
                <a:lnTo>
                  <a:pt x="59830" y="309002"/>
                </a:lnTo>
                <a:lnTo>
                  <a:pt x="70485" y="317540"/>
                </a:lnTo>
                <a:lnTo>
                  <a:pt x="81788" y="325119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8"/>
                </a:lnTo>
                <a:lnTo>
                  <a:pt x="160365" y="347362"/>
                </a:lnTo>
                <a:lnTo>
                  <a:pt x="169069" y="347110"/>
                </a:lnTo>
                <a:lnTo>
                  <a:pt x="182986" y="345647"/>
                </a:lnTo>
                <a:lnTo>
                  <a:pt x="196530" y="342927"/>
                </a:lnTo>
                <a:lnTo>
                  <a:pt x="209650" y="339005"/>
                </a:lnTo>
                <a:lnTo>
                  <a:pt x="222295" y="333937"/>
                </a:lnTo>
                <a:lnTo>
                  <a:pt x="234413" y="327778"/>
                </a:lnTo>
                <a:lnTo>
                  <a:pt x="245953" y="320584"/>
                </a:lnTo>
                <a:lnTo>
                  <a:pt x="256864" y="312410"/>
                </a:lnTo>
                <a:lnTo>
                  <a:pt x="267095" y="303312"/>
                </a:lnTo>
                <a:lnTo>
                  <a:pt x="276594" y="293344"/>
                </a:lnTo>
                <a:lnTo>
                  <a:pt x="285311" y="282563"/>
                </a:lnTo>
                <a:lnTo>
                  <a:pt x="293195" y="271024"/>
                </a:lnTo>
                <a:lnTo>
                  <a:pt x="300193" y="258782"/>
                </a:lnTo>
                <a:lnTo>
                  <a:pt x="306255" y="245893"/>
                </a:lnTo>
                <a:lnTo>
                  <a:pt x="311330" y="232412"/>
                </a:lnTo>
                <a:lnTo>
                  <a:pt x="315366" y="218395"/>
                </a:lnTo>
                <a:lnTo>
                  <a:pt x="318312" y="203897"/>
                </a:lnTo>
                <a:lnTo>
                  <a:pt x="320117" y="188974"/>
                </a:lnTo>
                <a:lnTo>
                  <a:pt x="320730" y="173681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8" y="93484"/>
                </a:lnTo>
                <a:lnTo>
                  <a:pt x="296006" y="80986"/>
                </a:lnTo>
                <a:lnTo>
                  <a:pt x="288458" y="69169"/>
                </a:lnTo>
                <a:lnTo>
                  <a:pt x="280057" y="58088"/>
                </a:lnTo>
                <a:lnTo>
                  <a:pt x="270854" y="47800"/>
                </a:lnTo>
                <a:lnTo>
                  <a:pt x="260899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1" y="251"/>
                </a:lnTo>
                <a:lnTo>
                  <a:pt x="137744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5" y="13424"/>
                </a:lnTo>
                <a:lnTo>
                  <a:pt x="86317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50"/>
                </a:lnTo>
                <a:lnTo>
                  <a:pt x="44135" y="54017"/>
                </a:lnTo>
                <a:lnTo>
                  <a:pt x="35418" y="64798"/>
                </a:lnTo>
                <a:lnTo>
                  <a:pt x="27535" y="76338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9"/>
                </a:lnTo>
                <a:lnTo>
                  <a:pt x="5364" y="128966"/>
                </a:lnTo>
                <a:lnTo>
                  <a:pt x="2418" y="143464"/>
                </a:lnTo>
                <a:lnTo>
                  <a:pt x="613" y="158387"/>
                </a:lnTo>
                <a:lnTo>
                  <a:pt x="0" y="173681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8" name="object 88"/>
          <p:cNvSpPr/>
          <p:nvPr/>
        </p:nvSpPr>
        <p:spPr>
          <a:xfrm>
            <a:off x="6251551" y="55023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6" name="object 76"/>
          <p:cNvSpPr/>
          <p:nvPr/>
        </p:nvSpPr>
        <p:spPr>
          <a:xfrm>
            <a:off x="2668469" y="519520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4" name="object 74"/>
          <p:cNvSpPr/>
          <p:nvPr/>
        </p:nvSpPr>
        <p:spPr>
          <a:xfrm>
            <a:off x="5959366" y="251737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40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80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2" name="object 72"/>
          <p:cNvSpPr/>
          <p:nvPr/>
        </p:nvSpPr>
        <p:spPr>
          <a:xfrm>
            <a:off x="5560113" y="213564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0" name="object 70"/>
          <p:cNvSpPr/>
          <p:nvPr/>
        </p:nvSpPr>
        <p:spPr>
          <a:xfrm>
            <a:off x="5148028" y="1723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8" name="object 68"/>
          <p:cNvSpPr/>
          <p:nvPr/>
        </p:nvSpPr>
        <p:spPr>
          <a:xfrm>
            <a:off x="6872003" y="34121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6" name="object 66"/>
          <p:cNvSpPr/>
          <p:nvPr/>
        </p:nvSpPr>
        <p:spPr>
          <a:xfrm>
            <a:off x="5880841" y="502152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1" name="object 61"/>
          <p:cNvSpPr/>
          <p:nvPr/>
        </p:nvSpPr>
        <p:spPr>
          <a:xfrm>
            <a:off x="4326963" y="349388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6"/>
                </a:lnTo>
                <a:lnTo>
                  <a:pt x="1583" y="198179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6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2"/>
                </a:lnTo>
                <a:lnTo>
                  <a:pt x="49876" y="299561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6"/>
                </a:lnTo>
                <a:lnTo>
                  <a:pt x="196530" y="342926"/>
                </a:lnTo>
                <a:lnTo>
                  <a:pt x="209650" y="339004"/>
                </a:lnTo>
                <a:lnTo>
                  <a:pt x="222295" y="333936"/>
                </a:lnTo>
                <a:lnTo>
                  <a:pt x="234413" y="327778"/>
                </a:lnTo>
                <a:lnTo>
                  <a:pt x="245953" y="320583"/>
                </a:lnTo>
                <a:lnTo>
                  <a:pt x="256864" y="312409"/>
                </a:lnTo>
                <a:lnTo>
                  <a:pt x="267095" y="303311"/>
                </a:lnTo>
                <a:lnTo>
                  <a:pt x="276595" y="293343"/>
                </a:lnTo>
                <a:lnTo>
                  <a:pt x="285312" y="282562"/>
                </a:lnTo>
                <a:lnTo>
                  <a:pt x="293195" y="271023"/>
                </a:lnTo>
                <a:lnTo>
                  <a:pt x="300193" y="258781"/>
                </a:lnTo>
                <a:lnTo>
                  <a:pt x="306255" y="245892"/>
                </a:lnTo>
                <a:lnTo>
                  <a:pt x="311330" y="232411"/>
                </a:lnTo>
                <a:lnTo>
                  <a:pt x="315366" y="218394"/>
                </a:lnTo>
                <a:lnTo>
                  <a:pt x="318312" y="203896"/>
                </a:lnTo>
                <a:lnTo>
                  <a:pt x="320117" y="188973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9" y="93485"/>
                </a:lnTo>
                <a:lnTo>
                  <a:pt x="296006" y="80986"/>
                </a:lnTo>
                <a:lnTo>
                  <a:pt x="288459" y="69169"/>
                </a:lnTo>
                <a:lnTo>
                  <a:pt x="280058" y="58089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4"/>
                </a:lnTo>
                <a:lnTo>
                  <a:pt x="86318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4" name="object 64"/>
          <p:cNvSpPr/>
          <p:nvPr/>
        </p:nvSpPr>
        <p:spPr>
          <a:xfrm>
            <a:off x="4475579" y="3463384"/>
            <a:ext cx="394167" cy="381727"/>
          </a:xfrm>
          <a:custGeom>
            <a:avLst/>
            <a:gdLst/>
            <a:ahLst/>
            <a:cxnLst/>
            <a:rect l="l" t="t" r="r" b="b"/>
            <a:pathLst>
              <a:path w="394167" h="381727">
                <a:moveTo>
                  <a:pt x="0" y="0"/>
                </a:moveTo>
                <a:lnTo>
                  <a:pt x="394167" y="0"/>
                </a:lnTo>
                <a:lnTo>
                  <a:pt x="394167" y="381727"/>
                </a:lnTo>
                <a:lnTo>
                  <a:pt x="0" y="381727"/>
                </a:lnTo>
                <a:lnTo>
                  <a:pt x="0" y="0"/>
                </a:lnTo>
                <a:close/>
              </a:path>
            </a:pathLst>
          </a:custGeom>
          <a:solidFill>
            <a:srgbClr val="AAC56C"/>
          </a:solidFill>
          <a:ln w="47624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0" name="object 60"/>
          <p:cNvSpPr/>
          <p:nvPr/>
        </p:nvSpPr>
        <p:spPr>
          <a:xfrm>
            <a:off x="3451263" y="457102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8" name="object 58"/>
          <p:cNvSpPr/>
          <p:nvPr/>
        </p:nvSpPr>
        <p:spPr>
          <a:xfrm>
            <a:off x="7513462" y="204543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6" name="object 56"/>
          <p:cNvSpPr/>
          <p:nvPr/>
        </p:nvSpPr>
        <p:spPr>
          <a:xfrm>
            <a:off x="6553321" y="196196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4" name="object 54"/>
          <p:cNvSpPr/>
          <p:nvPr/>
        </p:nvSpPr>
        <p:spPr>
          <a:xfrm>
            <a:off x="7353097" y="275391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2" name="object 52"/>
          <p:cNvSpPr/>
          <p:nvPr/>
        </p:nvSpPr>
        <p:spPr>
          <a:xfrm>
            <a:off x="4696124" y="412086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0" name="object 50"/>
          <p:cNvSpPr/>
          <p:nvPr/>
        </p:nvSpPr>
        <p:spPr>
          <a:xfrm>
            <a:off x="4441297" y="46123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7" name="object 47"/>
          <p:cNvSpPr/>
          <p:nvPr/>
        </p:nvSpPr>
        <p:spPr>
          <a:xfrm>
            <a:off x="3130533" y="404998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1"/>
                </a:moveTo>
                <a:lnTo>
                  <a:pt x="232" y="183108"/>
                </a:lnTo>
                <a:lnTo>
                  <a:pt x="1583" y="198181"/>
                </a:lnTo>
                <a:lnTo>
                  <a:pt x="4094" y="212849"/>
                </a:lnTo>
                <a:lnTo>
                  <a:pt x="7715" y="227059"/>
                </a:lnTo>
                <a:lnTo>
                  <a:pt x="12395" y="240753"/>
                </a:lnTo>
                <a:lnTo>
                  <a:pt x="18082" y="253878"/>
                </a:lnTo>
                <a:lnTo>
                  <a:pt x="24724" y="266376"/>
                </a:lnTo>
                <a:lnTo>
                  <a:pt x="32272" y="278193"/>
                </a:lnTo>
                <a:lnTo>
                  <a:pt x="40673" y="289273"/>
                </a:lnTo>
                <a:lnTo>
                  <a:pt x="49876" y="299562"/>
                </a:lnTo>
                <a:lnTo>
                  <a:pt x="59830" y="309003"/>
                </a:lnTo>
                <a:lnTo>
                  <a:pt x="70485" y="317540"/>
                </a:lnTo>
                <a:lnTo>
                  <a:pt x="81788" y="325120"/>
                </a:lnTo>
                <a:lnTo>
                  <a:pt x="93689" y="331685"/>
                </a:lnTo>
                <a:lnTo>
                  <a:pt x="106136" y="337181"/>
                </a:lnTo>
                <a:lnTo>
                  <a:pt x="119079" y="341552"/>
                </a:lnTo>
                <a:lnTo>
                  <a:pt x="132465" y="344743"/>
                </a:lnTo>
                <a:lnTo>
                  <a:pt x="146244" y="346698"/>
                </a:lnTo>
                <a:lnTo>
                  <a:pt x="160365" y="347362"/>
                </a:lnTo>
                <a:lnTo>
                  <a:pt x="169069" y="347111"/>
                </a:lnTo>
                <a:lnTo>
                  <a:pt x="182986" y="345648"/>
                </a:lnTo>
                <a:lnTo>
                  <a:pt x="196530" y="342928"/>
                </a:lnTo>
                <a:lnTo>
                  <a:pt x="209650" y="339006"/>
                </a:lnTo>
                <a:lnTo>
                  <a:pt x="222295" y="333938"/>
                </a:lnTo>
                <a:lnTo>
                  <a:pt x="234413" y="327779"/>
                </a:lnTo>
                <a:lnTo>
                  <a:pt x="245953" y="320585"/>
                </a:lnTo>
                <a:lnTo>
                  <a:pt x="256864" y="312411"/>
                </a:lnTo>
                <a:lnTo>
                  <a:pt x="267095" y="303312"/>
                </a:lnTo>
                <a:lnTo>
                  <a:pt x="276595" y="293345"/>
                </a:lnTo>
                <a:lnTo>
                  <a:pt x="285312" y="282563"/>
                </a:lnTo>
                <a:lnTo>
                  <a:pt x="293195" y="271024"/>
                </a:lnTo>
                <a:lnTo>
                  <a:pt x="300193" y="258782"/>
                </a:lnTo>
                <a:lnTo>
                  <a:pt x="306255" y="245893"/>
                </a:lnTo>
                <a:lnTo>
                  <a:pt x="311330" y="232413"/>
                </a:lnTo>
                <a:lnTo>
                  <a:pt x="315366" y="218396"/>
                </a:lnTo>
                <a:lnTo>
                  <a:pt x="318312" y="203898"/>
                </a:lnTo>
                <a:lnTo>
                  <a:pt x="320117" y="188974"/>
                </a:lnTo>
                <a:lnTo>
                  <a:pt x="320730" y="173681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4" y="120303"/>
                </a:lnTo>
                <a:lnTo>
                  <a:pt x="308335" y="106608"/>
                </a:lnTo>
                <a:lnTo>
                  <a:pt x="302648" y="93484"/>
                </a:lnTo>
                <a:lnTo>
                  <a:pt x="296006" y="80986"/>
                </a:lnTo>
                <a:lnTo>
                  <a:pt x="288458" y="69169"/>
                </a:lnTo>
                <a:lnTo>
                  <a:pt x="280057" y="58088"/>
                </a:lnTo>
                <a:lnTo>
                  <a:pt x="270854" y="47800"/>
                </a:lnTo>
                <a:lnTo>
                  <a:pt x="260899" y="38359"/>
                </a:lnTo>
                <a:lnTo>
                  <a:pt x="250245" y="29821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1" y="251"/>
                </a:lnTo>
                <a:lnTo>
                  <a:pt x="137744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5" y="13424"/>
                </a:lnTo>
                <a:lnTo>
                  <a:pt x="86317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50"/>
                </a:lnTo>
                <a:lnTo>
                  <a:pt x="44135" y="54017"/>
                </a:lnTo>
                <a:lnTo>
                  <a:pt x="35418" y="64798"/>
                </a:lnTo>
                <a:lnTo>
                  <a:pt x="27535" y="76338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9"/>
                </a:lnTo>
                <a:lnTo>
                  <a:pt x="5364" y="128966"/>
                </a:lnTo>
                <a:lnTo>
                  <a:pt x="2418" y="143464"/>
                </a:lnTo>
                <a:lnTo>
                  <a:pt x="613" y="158388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2" name="object 42"/>
          <p:cNvSpPr/>
          <p:nvPr/>
        </p:nvSpPr>
        <p:spPr>
          <a:xfrm>
            <a:off x="5748103" y="33118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4" name="object 44"/>
          <p:cNvSpPr/>
          <p:nvPr/>
        </p:nvSpPr>
        <p:spPr>
          <a:xfrm>
            <a:off x="5560113" y="25802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6" name="object 46"/>
          <p:cNvSpPr/>
          <p:nvPr/>
        </p:nvSpPr>
        <p:spPr>
          <a:xfrm>
            <a:off x="5421508" y="296447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0" name="object 40"/>
          <p:cNvSpPr/>
          <p:nvPr/>
        </p:nvSpPr>
        <p:spPr>
          <a:xfrm>
            <a:off x="5213120" y="49216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8" name="object 38"/>
          <p:cNvSpPr/>
          <p:nvPr/>
        </p:nvSpPr>
        <p:spPr>
          <a:xfrm>
            <a:off x="7032365" y="221911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5" name="object 35"/>
          <p:cNvSpPr/>
          <p:nvPr/>
        </p:nvSpPr>
        <p:spPr>
          <a:xfrm>
            <a:off x="7385165" y="340218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2"/>
                </a:lnTo>
                <a:lnTo>
                  <a:pt x="336274" y="144214"/>
                </a:lnTo>
                <a:lnTo>
                  <a:pt x="333315" y="130058"/>
                </a:lnTo>
                <a:lnTo>
                  <a:pt x="329259" y="116354"/>
                </a:lnTo>
                <a:lnTo>
                  <a:pt x="324157" y="103154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0"/>
                </a:lnTo>
                <a:lnTo>
                  <a:pt x="274361" y="37412"/>
                </a:lnTo>
                <a:lnTo>
                  <a:pt x="263332" y="29176"/>
                </a:lnTo>
                <a:lnTo>
                  <a:pt x="251657" y="21855"/>
                </a:lnTo>
                <a:lnTo>
                  <a:pt x="239384" y="15500"/>
                </a:lnTo>
                <a:lnTo>
                  <a:pt x="226566" y="10162"/>
                </a:lnTo>
                <a:lnTo>
                  <a:pt x="213251" y="5892"/>
                </a:lnTo>
                <a:lnTo>
                  <a:pt x="199490" y="2742"/>
                </a:lnTo>
                <a:lnTo>
                  <a:pt x="185332" y="763"/>
                </a:lnTo>
                <a:lnTo>
                  <a:pt x="170828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70"/>
                </a:lnTo>
                <a:lnTo>
                  <a:pt x="15114" y="101855"/>
                </a:lnTo>
                <a:lnTo>
                  <a:pt x="9909" y="115002"/>
                </a:lnTo>
                <a:lnTo>
                  <a:pt x="5745" y="128657"/>
                </a:lnTo>
                <a:lnTo>
                  <a:pt x="2673" y="142770"/>
                </a:lnTo>
                <a:lnTo>
                  <a:pt x="744" y="157290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7"/>
                </a:lnTo>
                <a:lnTo>
                  <a:pt x="2427" y="203145"/>
                </a:lnTo>
                <a:lnTo>
                  <a:pt x="5386" y="217302"/>
                </a:lnTo>
                <a:lnTo>
                  <a:pt x="9441" y="231005"/>
                </a:lnTo>
                <a:lnTo>
                  <a:pt x="14544" y="244205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2" y="280268"/>
                </a:lnTo>
                <a:lnTo>
                  <a:pt x="44421" y="290939"/>
                </a:lnTo>
                <a:lnTo>
                  <a:pt x="54007" y="300850"/>
                </a:lnTo>
                <a:lnTo>
                  <a:pt x="64339" y="309948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0"/>
                </a:lnTo>
                <a:lnTo>
                  <a:pt x="112134" y="337198"/>
                </a:lnTo>
                <a:lnTo>
                  <a:pt x="125449" y="341468"/>
                </a:lnTo>
                <a:lnTo>
                  <a:pt x="139210" y="344618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0"/>
                </a:lnTo>
                <a:lnTo>
                  <a:pt x="198081" y="344872"/>
                </a:lnTo>
                <a:lnTo>
                  <a:pt x="211885" y="341837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6"/>
                </a:lnTo>
                <a:lnTo>
                  <a:pt x="310251" y="270065"/>
                </a:lnTo>
                <a:lnTo>
                  <a:pt x="317390" y="258091"/>
                </a:lnTo>
                <a:lnTo>
                  <a:pt x="323587" y="245505"/>
                </a:lnTo>
                <a:lnTo>
                  <a:pt x="328792" y="232359"/>
                </a:lnTo>
                <a:lnTo>
                  <a:pt x="332955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6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3" name="object 33"/>
          <p:cNvSpPr/>
          <p:nvPr/>
        </p:nvSpPr>
        <p:spPr>
          <a:xfrm>
            <a:off x="5038354" y="248300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1"/>
                </a:moveTo>
                <a:lnTo>
                  <a:pt x="232" y="183108"/>
                </a:lnTo>
                <a:lnTo>
                  <a:pt x="1583" y="198181"/>
                </a:lnTo>
                <a:lnTo>
                  <a:pt x="4094" y="212849"/>
                </a:lnTo>
                <a:lnTo>
                  <a:pt x="7715" y="227059"/>
                </a:lnTo>
                <a:lnTo>
                  <a:pt x="12395" y="240753"/>
                </a:lnTo>
                <a:lnTo>
                  <a:pt x="18082" y="253878"/>
                </a:lnTo>
                <a:lnTo>
                  <a:pt x="24724" y="266376"/>
                </a:lnTo>
                <a:lnTo>
                  <a:pt x="32272" y="278193"/>
                </a:lnTo>
                <a:lnTo>
                  <a:pt x="40673" y="289273"/>
                </a:lnTo>
                <a:lnTo>
                  <a:pt x="49876" y="299562"/>
                </a:lnTo>
                <a:lnTo>
                  <a:pt x="59830" y="309003"/>
                </a:lnTo>
                <a:lnTo>
                  <a:pt x="70485" y="317540"/>
                </a:lnTo>
                <a:lnTo>
                  <a:pt x="81788" y="325120"/>
                </a:lnTo>
                <a:lnTo>
                  <a:pt x="93689" y="331685"/>
                </a:lnTo>
                <a:lnTo>
                  <a:pt x="106136" y="337181"/>
                </a:lnTo>
                <a:lnTo>
                  <a:pt x="119079" y="341552"/>
                </a:lnTo>
                <a:lnTo>
                  <a:pt x="132465" y="344743"/>
                </a:lnTo>
                <a:lnTo>
                  <a:pt x="146244" y="346698"/>
                </a:lnTo>
                <a:lnTo>
                  <a:pt x="160365" y="347362"/>
                </a:lnTo>
                <a:lnTo>
                  <a:pt x="169068" y="347111"/>
                </a:lnTo>
                <a:lnTo>
                  <a:pt x="182985" y="345648"/>
                </a:lnTo>
                <a:lnTo>
                  <a:pt x="196529" y="342928"/>
                </a:lnTo>
                <a:lnTo>
                  <a:pt x="209649" y="339006"/>
                </a:lnTo>
                <a:lnTo>
                  <a:pt x="222294" y="333938"/>
                </a:lnTo>
                <a:lnTo>
                  <a:pt x="234411" y="327779"/>
                </a:lnTo>
                <a:lnTo>
                  <a:pt x="245952" y="320585"/>
                </a:lnTo>
                <a:lnTo>
                  <a:pt x="256863" y="312411"/>
                </a:lnTo>
                <a:lnTo>
                  <a:pt x="267094" y="303312"/>
                </a:lnTo>
                <a:lnTo>
                  <a:pt x="276593" y="293345"/>
                </a:lnTo>
                <a:lnTo>
                  <a:pt x="285310" y="282564"/>
                </a:lnTo>
                <a:lnTo>
                  <a:pt x="293193" y="271025"/>
                </a:lnTo>
                <a:lnTo>
                  <a:pt x="300192" y="258783"/>
                </a:lnTo>
                <a:lnTo>
                  <a:pt x="306254" y="245894"/>
                </a:lnTo>
                <a:lnTo>
                  <a:pt x="311328" y="232413"/>
                </a:lnTo>
                <a:lnTo>
                  <a:pt x="315364" y="218396"/>
                </a:lnTo>
                <a:lnTo>
                  <a:pt x="318311" y="203898"/>
                </a:lnTo>
                <a:lnTo>
                  <a:pt x="320116" y="188974"/>
                </a:lnTo>
                <a:lnTo>
                  <a:pt x="320729" y="173681"/>
                </a:lnTo>
                <a:lnTo>
                  <a:pt x="320497" y="164255"/>
                </a:lnTo>
                <a:lnTo>
                  <a:pt x="319146" y="149182"/>
                </a:lnTo>
                <a:lnTo>
                  <a:pt x="316635" y="134513"/>
                </a:lnTo>
                <a:lnTo>
                  <a:pt x="313013" y="120304"/>
                </a:lnTo>
                <a:lnTo>
                  <a:pt x="308334" y="106609"/>
                </a:lnTo>
                <a:lnTo>
                  <a:pt x="302647" y="93485"/>
                </a:lnTo>
                <a:lnTo>
                  <a:pt x="296005" y="80986"/>
                </a:lnTo>
                <a:lnTo>
                  <a:pt x="288457" y="69169"/>
                </a:lnTo>
                <a:lnTo>
                  <a:pt x="280056" y="58089"/>
                </a:lnTo>
                <a:lnTo>
                  <a:pt x="270853" y="47800"/>
                </a:lnTo>
                <a:lnTo>
                  <a:pt x="260899" y="38359"/>
                </a:lnTo>
                <a:lnTo>
                  <a:pt x="250244" y="29822"/>
                </a:lnTo>
                <a:lnTo>
                  <a:pt x="238941" y="22242"/>
                </a:lnTo>
                <a:lnTo>
                  <a:pt x="227040" y="15677"/>
                </a:lnTo>
                <a:lnTo>
                  <a:pt x="214593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1" y="251"/>
                </a:lnTo>
                <a:lnTo>
                  <a:pt x="137744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5" y="13424"/>
                </a:lnTo>
                <a:lnTo>
                  <a:pt x="86317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50"/>
                </a:lnTo>
                <a:lnTo>
                  <a:pt x="44135" y="54017"/>
                </a:lnTo>
                <a:lnTo>
                  <a:pt x="35418" y="64798"/>
                </a:lnTo>
                <a:lnTo>
                  <a:pt x="27535" y="76338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9"/>
                </a:lnTo>
                <a:lnTo>
                  <a:pt x="5364" y="128966"/>
                </a:lnTo>
                <a:lnTo>
                  <a:pt x="2418" y="143464"/>
                </a:lnTo>
                <a:lnTo>
                  <a:pt x="613" y="158388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2" name="object 32"/>
          <p:cNvSpPr/>
          <p:nvPr/>
        </p:nvSpPr>
        <p:spPr>
          <a:xfrm>
            <a:off x="7192732" y="159327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7" name="object 27"/>
          <p:cNvSpPr/>
          <p:nvPr/>
        </p:nvSpPr>
        <p:spPr>
          <a:xfrm>
            <a:off x="6201572" y="316996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232" y="183105"/>
                </a:lnTo>
                <a:lnTo>
                  <a:pt x="1582" y="198178"/>
                </a:lnTo>
                <a:lnTo>
                  <a:pt x="4094" y="212847"/>
                </a:lnTo>
                <a:lnTo>
                  <a:pt x="7715" y="227057"/>
                </a:lnTo>
                <a:lnTo>
                  <a:pt x="12394" y="240751"/>
                </a:lnTo>
                <a:lnTo>
                  <a:pt x="18081" y="253876"/>
                </a:lnTo>
                <a:lnTo>
                  <a:pt x="24724" y="266374"/>
                </a:lnTo>
                <a:lnTo>
                  <a:pt x="32271" y="278191"/>
                </a:lnTo>
                <a:lnTo>
                  <a:pt x="40672" y="289272"/>
                </a:lnTo>
                <a:lnTo>
                  <a:pt x="49875" y="299560"/>
                </a:lnTo>
                <a:lnTo>
                  <a:pt x="59829" y="309001"/>
                </a:lnTo>
                <a:lnTo>
                  <a:pt x="70484" y="317539"/>
                </a:lnTo>
                <a:lnTo>
                  <a:pt x="81787" y="325118"/>
                </a:lnTo>
                <a:lnTo>
                  <a:pt x="93688" y="331684"/>
                </a:lnTo>
                <a:lnTo>
                  <a:pt x="106135" y="337180"/>
                </a:lnTo>
                <a:lnTo>
                  <a:pt x="119077" y="341551"/>
                </a:lnTo>
                <a:lnTo>
                  <a:pt x="132464" y="344742"/>
                </a:lnTo>
                <a:lnTo>
                  <a:pt x="146243" y="346697"/>
                </a:lnTo>
                <a:lnTo>
                  <a:pt x="160364" y="347361"/>
                </a:lnTo>
                <a:lnTo>
                  <a:pt x="169068" y="347110"/>
                </a:lnTo>
                <a:lnTo>
                  <a:pt x="182985" y="345646"/>
                </a:lnTo>
                <a:lnTo>
                  <a:pt x="196529" y="342926"/>
                </a:lnTo>
                <a:lnTo>
                  <a:pt x="209649" y="339004"/>
                </a:lnTo>
                <a:lnTo>
                  <a:pt x="222294" y="333936"/>
                </a:lnTo>
                <a:lnTo>
                  <a:pt x="234412" y="327778"/>
                </a:lnTo>
                <a:lnTo>
                  <a:pt x="245952" y="320583"/>
                </a:lnTo>
                <a:lnTo>
                  <a:pt x="256863" y="312409"/>
                </a:lnTo>
                <a:lnTo>
                  <a:pt x="267094" y="303311"/>
                </a:lnTo>
                <a:lnTo>
                  <a:pt x="276593" y="293343"/>
                </a:lnTo>
                <a:lnTo>
                  <a:pt x="285310" y="282562"/>
                </a:lnTo>
                <a:lnTo>
                  <a:pt x="293193" y="271023"/>
                </a:lnTo>
                <a:lnTo>
                  <a:pt x="300192" y="258781"/>
                </a:lnTo>
                <a:lnTo>
                  <a:pt x="306254" y="245892"/>
                </a:lnTo>
                <a:lnTo>
                  <a:pt x="311328" y="232411"/>
                </a:lnTo>
                <a:lnTo>
                  <a:pt x="315364" y="218394"/>
                </a:lnTo>
                <a:lnTo>
                  <a:pt x="318311" y="203896"/>
                </a:lnTo>
                <a:lnTo>
                  <a:pt x="320116" y="188973"/>
                </a:lnTo>
                <a:lnTo>
                  <a:pt x="320729" y="173680"/>
                </a:lnTo>
                <a:lnTo>
                  <a:pt x="320497" y="164254"/>
                </a:lnTo>
                <a:lnTo>
                  <a:pt x="319146" y="149181"/>
                </a:lnTo>
                <a:lnTo>
                  <a:pt x="316635" y="134512"/>
                </a:lnTo>
                <a:lnTo>
                  <a:pt x="313013" y="120303"/>
                </a:lnTo>
                <a:lnTo>
                  <a:pt x="308334" y="106609"/>
                </a:lnTo>
                <a:lnTo>
                  <a:pt x="302647" y="93485"/>
                </a:lnTo>
                <a:lnTo>
                  <a:pt x="296005" y="80986"/>
                </a:lnTo>
                <a:lnTo>
                  <a:pt x="288457" y="69169"/>
                </a:lnTo>
                <a:lnTo>
                  <a:pt x="280056" y="58089"/>
                </a:lnTo>
                <a:lnTo>
                  <a:pt x="270853" y="47800"/>
                </a:lnTo>
                <a:lnTo>
                  <a:pt x="260898" y="38359"/>
                </a:lnTo>
                <a:lnTo>
                  <a:pt x="250244" y="29822"/>
                </a:lnTo>
                <a:lnTo>
                  <a:pt x="238941" y="22242"/>
                </a:lnTo>
                <a:lnTo>
                  <a:pt x="227040" y="15677"/>
                </a:lnTo>
                <a:lnTo>
                  <a:pt x="214593" y="10181"/>
                </a:lnTo>
                <a:lnTo>
                  <a:pt x="201650" y="5810"/>
                </a:lnTo>
                <a:lnTo>
                  <a:pt x="188264" y="2619"/>
                </a:lnTo>
                <a:lnTo>
                  <a:pt x="174484" y="664"/>
                </a:lnTo>
                <a:lnTo>
                  <a:pt x="160364" y="0"/>
                </a:lnTo>
                <a:lnTo>
                  <a:pt x="151662" y="251"/>
                </a:lnTo>
                <a:lnTo>
                  <a:pt x="137744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5" y="13423"/>
                </a:lnTo>
                <a:lnTo>
                  <a:pt x="86317" y="19582"/>
                </a:lnTo>
                <a:lnTo>
                  <a:pt x="74777" y="26776"/>
                </a:lnTo>
                <a:lnTo>
                  <a:pt x="63866" y="34950"/>
                </a:lnTo>
                <a:lnTo>
                  <a:pt x="53635" y="44049"/>
                </a:lnTo>
                <a:lnTo>
                  <a:pt x="44135" y="54016"/>
                </a:lnTo>
                <a:lnTo>
                  <a:pt x="35418" y="64797"/>
                </a:lnTo>
                <a:lnTo>
                  <a:pt x="27535" y="76337"/>
                </a:lnTo>
                <a:lnTo>
                  <a:pt x="20537" y="88578"/>
                </a:lnTo>
                <a:lnTo>
                  <a:pt x="14475" y="101467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0" name="object 30"/>
          <p:cNvSpPr/>
          <p:nvPr/>
        </p:nvSpPr>
        <p:spPr>
          <a:xfrm>
            <a:off x="6128134" y="3392091"/>
            <a:ext cx="394168" cy="381727"/>
          </a:xfrm>
          <a:custGeom>
            <a:avLst/>
            <a:gdLst/>
            <a:ahLst/>
            <a:cxnLst/>
            <a:rect l="l" t="t" r="r" b="b"/>
            <a:pathLst>
              <a:path w="394168" h="381727">
                <a:moveTo>
                  <a:pt x="0" y="0"/>
                </a:moveTo>
                <a:lnTo>
                  <a:pt x="394168" y="0"/>
                </a:lnTo>
                <a:lnTo>
                  <a:pt x="394168" y="381727"/>
                </a:lnTo>
                <a:lnTo>
                  <a:pt x="0" y="381727"/>
                </a:lnTo>
                <a:lnTo>
                  <a:pt x="0" y="0"/>
                </a:lnTo>
                <a:close/>
              </a:path>
            </a:pathLst>
          </a:custGeom>
          <a:solidFill>
            <a:srgbClr val="59BAD1"/>
          </a:solidFill>
          <a:ln w="57150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6" name="object 26"/>
          <p:cNvSpPr/>
          <p:nvPr/>
        </p:nvSpPr>
        <p:spPr>
          <a:xfrm>
            <a:off x="4877989" y="532865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4" name="object 24"/>
          <p:cNvSpPr/>
          <p:nvPr/>
        </p:nvSpPr>
        <p:spPr>
          <a:xfrm>
            <a:off x="5581873" y="4521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2" name="object 22"/>
          <p:cNvSpPr/>
          <p:nvPr/>
        </p:nvSpPr>
        <p:spPr>
          <a:xfrm>
            <a:off x="3528670" y="35173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0" name="object 20"/>
          <p:cNvSpPr/>
          <p:nvPr/>
        </p:nvSpPr>
        <p:spPr>
          <a:xfrm>
            <a:off x="3252845" y="520650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8" name="object 18"/>
          <p:cNvSpPr/>
          <p:nvPr/>
        </p:nvSpPr>
        <p:spPr>
          <a:xfrm>
            <a:off x="3849401" y="4051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6" name="object 16"/>
          <p:cNvSpPr/>
          <p:nvPr/>
        </p:nvSpPr>
        <p:spPr>
          <a:xfrm>
            <a:off x="6713687" y="269105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" name="object 14"/>
          <p:cNvSpPr txBox="1"/>
          <p:nvPr/>
        </p:nvSpPr>
        <p:spPr>
          <a:xfrm>
            <a:off x="2101916" y="369650"/>
            <a:ext cx="6584884" cy="4318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3400"/>
              </a:lnSpc>
              <a:spcBef>
                <a:spcPts val="170"/>
              </a:spcBef>
            </a:pPr>
            <a:r>
              <a:rPr sz="4800" baseline="1706" dirty="0" smtClean="0">
                <a:solidFill>
                  <a:srgbClr val="4E81BC"/>
                </a:solidFill>
                <a:cs typeface="Calibri"/>
              </a:rPr>
              <a:t>K‐Means </a:t>
            </a:r>
            <a:r>
              <a:rPr sz="4800" spc="0" baseline="1706" dirty="0" smtClean="0">
                <a:solidFill>
                  <a:srgbClr val="F69545"/>
                </a:solidFill>
                <a:cs typeface="Calibri"/>
              </a:rPr>
              <a:t>K=2</a:t>
            </a:r>
            <a:endParaRPr sz="3200" dirty="0">
              <a:cs typeface="Calibri"/>
            </a:endParaRPr>
          </a:p>
        </p:txBody>
      </p:sp>
      <p:sp>
        <p:nvSpPr>
          <p:cNvPr id="13" name="object 13"/>
          <p:cNvSpPr txBox="1"/>
          <p:nvPr/>
        </p:nvSpPr>
        <p:spPr>
          <a:xfrm>
            <a:off x="2101916" y="852250"/>
            <a:ext cx="6661084" cy="4318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3400"/>
              </a:lnSpc>
              <a:spcBef>
                <a:spcPts val="170"/>
              </a:spcBef>
            </a:pPr>
            <a:r>
              <a:rPr sz="4800" spc="0" baseline="1706" dirty="0" smtClean="0">
                <a:solidFill>
                  <a:srgbClr val="7F7E7E"/>
                </a:solidFill>
                <a:cs typeface="Calibri"/>
              </a:rPr>
              <a:t>Move</a:t>
            </a:r>
            <a:r>
              <a:rPr lang="en-US" sz="4800" spc="0" baseline="1706" dirty="0" smtClean="0">
                <a:solidFill>
                  <a:srgbClr val="7F7E7E"/>
                </a:solidFill>
                <a:cs typeface="Calibri"/>
              </a:rPr>
              <a:t> each center to the cluster’s </a:t>
            </a:r>
            <a:r>
              <a:rPr lang="en-US" sz="4800" baseline="1706" dirty="0" smtClean="0">
                <a:solidFill>
                  <a:srgbClr val="7F7E7E"/>
                </a:solidFill>
                <a:cs typeface="Calibri"/>
              </a:rPr>
              <a:t>mean</a:t>
            </a:r>
            <a:endParaRPr sz="3200" dirty="0">
              <a:cs typeface="Calibri"/>
            </a:endParaRPr>
          </a:p>
        </p:txBody>
      </p:sp>
      <p:sp>
        <p:nvSpPr>
          <p:cNvPr id="6" name="object 6"/>
          <p:cNvSpPr txBox="1"/>
          <p:nvPr/>
        </p:nvSpPr>
        <p:spPr>
          <a:xfrm>
            <a:off x="1332125" y="3759280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Income</a:t>
            </a:r>
            <a:endParaRPr sz="2400">
              <a:cs typeface="Calibri"/>
            </a:endParaRPr>
          </a:p>
        </p:txBody>
      </p:sp>
      <p:sp>
        <p:nvSpPr>
          <p:cNvPr id="5" name="object 5"/>
          <p:cNvSpPr txBox="1"/>
          <p:nvPr/>
        </p:nvSpPr>
        <p:spPr>
          <a:xfrm>
            <a:off x="5426815" y="6116930"/>
            <a:ext cx="542241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Age</a:t>
            </a:r>
            <a:endParaRPr sz="2400">
              <a:cs typeface="Calibri"/>
            </a:endParaRPr>
          </a:p>
        </p:txBody>
      </p:sp>
      <p:sp>
        <p:nvSpPr>
          <p:cNvPr id="4" name="object 4"/>
          <p:cNvSpPr txBox="1"/>
          <p:nvPr/>
        </p:nvSpPr>
        <p:spPr>
          <a:xfrm>
            <a:off x="2343901" y="1923700"/>
            <a:ext cx="6303362" cy="405467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3" name="object 3"/>
          <p:cNvSpPr txBox="1"/>
          <p:nvPr/>
        </p:nvSpPr>
        <p:spPr>
          <a:xfrm>
            <a:off x="4475579" y="3463384"/>
            <a:ext cx="394167" cy="381727"/>
          </a:xfrm>
          <a:prstGeom prst="rect">
            <a:avLst/>
          </a:prstGeom>
          <a:solidFill>
            <a:srgbClr val="AAC56C"/>
          </a:solidFill>
          <a:ln w="57150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2" name="object 2"/>
          <p:cNvSpPr txBox="1"/>
          <p:nvPr/>
        </p:nvSpPr>
        <p:spPr>
          <a:xfrm>
            <a:off x="6128134" y="3392091"/>
            <a:ext cx="394168" cy="38172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grpSp>
        <p:nvGrpSpPr>
          <p:cNvPr id="89" name="Group 88"/>
          <p:cNvGrpSpPr/>
          <p:nvPr/>
        </p:nvGrpSpPr>
        <p:grpSpPr>
          <a:xfrm>
            <a:off x="2383438" y="1888930"/>
            <a:ext cx="6303362" cy="4054670"/>
            <a:chOff x="2343901" y="1923700"/>
            <a:chExt cx="6303362" cy="4054670"/>
          </a:xfrm>
        </p:grpSpPr>
        <p:sp>
          <p:nvSpPr>
            <p:cNvPr id="90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91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</p:spTree>
    <p:extLst>
      <p:ext uri="{BB962C8B-B14F-4D97-AF65-F5344CB8AC3E}">
        <p14:creationId xmlns:p14="http://schemas.microsoft.com/office/powerpoint/2010/main" val="1520722738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object 8"/>
          <p:cNvSpPr/>
          <p:nvPr/>
        </p:nvSpPr>
        <p:spPr>
          <a:xfrm>
            <a:off x="1786879" y="5254236"/>
            <a:ext cx="320730" cy="347361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ln w="25399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" name="object 10"/>
          <p:cNvSpPr txBox="1"/>
          <p:nvPr/>
        </p:nvSpPr>
        <p:spPr>
          <a:xfrm>
            <a:off x="2101916" y="369650"/>
            <a:ext cx="6296519" cy="4318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3400"/>
              </a:lnSpc>
              <a:spcBef>
                <a:spcPts val="170"/>
              </a:spcBef>
            </a:pPr>
            <a:r>
              <a:rPr lang="en-US" sz="4800" baseline="1706" dirty="0">
                <a:solidFill>
                  <a:srgbClr val="4E81BC"/>
                </a:solidFill>
                <a:latin typeface="+mj-lt"/>
                <a:cs typeface="Calibri"/>
              </a:rPr>
              <a:t>Agglomerative </a:t>
            </a:r>
            <a:r>
              <a:rPr sz="4800" baseline="1706" dirty="0">
                <a:solidFill>
                  <a:srgbClr val="F69545"/>
                </a:solidFill>
                <a:latin typeface="+mj-lt"/>
                <a:cs typeface="Calibri"/>
              </a:rPr>
              <a:t>Hierarchical</a:t>
            </a:r>
            <a:r>
              <a:rPr sz="4800" spc="0" baseline="1706" dirty="0" smtClean="0">
                <a:solidFill>
                  <a:srgbClr val="4E81BC"/>
                </a:solidFill>
                <a:latin typeface="+mj-lt"/>
                <a:cs typeface="Calibri"/>
              </a:rPr>
              <a:t> Clustering</a:t>
            </a:r>
            <a:endParaRPr sz="3200" dirty="0">
              <a:latin typeface="+mj-lt"/>
              <a:cs typeface="Calibri"/>
            </a:endParaRPr>
          </a:p>
        </p:txBody>
      </p:sp>
      <p:sp>
        <p:nvSpPr>
          <p:cNvPr id="20" name="object 74"/>
          <p:cNvSpPr/>
          <p:nvPr/>
        </p:nvSpPr>
        <p:spPr>
          <a:xfrm>
            <a:off x="286325" y="525423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7F1676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1" name="object 48"/>
          <p:cNvSpPr/>
          <p:nvPr/>
        </p:nvSpPr>
        <p:spPr>
          <a:xfrm>
            <a:off x="1773507" y="525423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3" name="object 26"/>
          <p:cNvSpPr/>
          <p:nvPr/>
        </p:nvSpPr>
        <p:spPr>
          <a:xfrm>
            <a:off x="3485667" y="528769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4" name="object 68"/>
          <p:cNvSpPr/>
          <p:nvPr/>
        </p:nvSpPr>
        <p:spPr>
          <a:xfrm>
            <a:off x="5376346" y="528782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5" name="object 32"/>
          <p:cNvSpPr/>
          <p:nvPr/>
        </p:nvSpPr>
        <p:spPr>
          <a:xfrm>
            <a:off x="7835202" y="528769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094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4090520336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9" name="object 10"/>
          <p:cNvSpPr txBox="1"/>
          <p:nvPr/>
        </p:nvSpPr>
        <p:spPr>
          <a:xfrm>
            <a:off x="2101916" y="369650"/>
            <a:ext cx="6296519" cy="4318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3400"/>
              </a:lnSpc>
              <a:spcBef>
                <a:spcPts val="170"/>
              </a:spcBef>
            </a:pPr>
            <a:r>
              <a:rPr lang="en-US" sz="4800" baseline="1706" dirty="0">
                <a:solidFill>
                  <a:srgbClr val="4E81BC"/>
                </a:solidFill>
                <a:latin typeface="+mj-lt"/>
                <a:cs typeface="Calibri"/>
              </a:rPr>
              <a:t>Agglomerative </a:t>
            </a:r>
            <a:r>
              <a:rPr sz="4800" baseline="1706" dirty="0">
                <a:solidFill>
                  <a:srgbClr val="F69545"/>
                </a:solidFill>
                <a:latin typeface="+mj-lt"/>
                <a:cs typeface="Calibri"/>
              </a:rPr>
              <a:t>Hierarchical</a:t>
            </a:r>
            <a:r>
              <a:rPr sz="4800" spc="0" baseline="1706" dirty="0" smtClean="0">
                <a:solidFill>
                  <a:srgbClr val="4E81BC"/>
                </a:solidFill>
                <a:latin typeface="+mj-lt"/>
                <a:cs typeface="Calibri"/>
              </a:rPr>
              <a:t> Clustering</a:t>
            </a:r>
            <a:endParaRPr sz="3200" dirty="0">
              <a:latin typeface="+mj-lt"/>
              <a:cs typeface="Calibri"/>
            </a:endParaRPr>
          </a:p>
        </p:txBody>
      </p:sp>
      <p:sp>
        <p:nvSpPr>
          <p:cNvPr id="117" name="object 82"/>
          <p:cNvSpPr/>
          <p:nvPr/>
        </p:nvSpPr>
        <p:spPr>
          <a:xfrm>
            <a:off x="4414372" y="54871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8" name="object 84"/>
          <p:cNvSpPr/>
          <p:nvPr/>
        </p:nvSpPr>
        <p:spPr>
          <a:xfrm>
            <a:off x="5399747" y="55212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9" name="object 86"/>
          <p:cNvSpPr/>
          <p:nvPr/>
        </p:nvSpPr>
        <p:spPr>
          <a:xfrm>
            <a:off x="6251551" y="55023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0" name="object 74"/>
          <p:cNvSpPr/>
          <p:nvPr/>
        </p:nvSpPr>
        <p:spPr>
          <a:xfrm>
            <a:off x="2668469" y="519520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7F1676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1" name="object 72"/>
          <p:cNvSpPr/>
          <p:nvPr/>
        </p:nvSpPr>
        <p:spPr>
          <a:xfrm>
            <a:off x="5959366" y="251737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40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80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2" name="object 70"/>
          <p:cNvSpPr/>
          <p:nvPr/>
        </p:nvSpPr>
        <p:spPr>
          <a:xfrm>
            <a:off x="5560113" y="213564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3" name="object 68"/>
          <p:cNvSpPr/>
          <p:nvPr/>
        </p:nvSpPr>
        <p:spPr>
          <a:xfrm>
            <a:off x="5148028" y="1723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4" name="object 66"/>
          <p:cNvSpPr/>
          <p:nvPr/>
        </p:nvSpPr>
        <p:spPr>
          <a:xfrm>
            <a:off x="6872003" y="34121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094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5" name="object 63"/>
          <p:cNvSpPr/>
          <p:nvPr/>
        </p:nvSpPr>
        <p:spPr>
          <a:xfrm>
            <a:off x="5880842" y="502152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6"/>
                </a:lnTo>
                <a:lnTo>
                  <a:pt x="1583" y="198179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6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2"/>
                </a:lnTo>
                <a:lnTo>
                  <a:pt x="49876" y="299561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6"/>
                </a:lnTo>
                <a:lnTo>
                  <a:pt x="196530" y="342926"/>
                </a:lnTo>
                <a:lnTo>
                  <a:pt x="209650" y="339004"/>
                </a:lnTo>
                <a:lnTo>
                  <a:pt x="222295" y="333936"/>
                </a:lnTo>
                <a:lnTo>
                  <a:pt x="234413" y="327778"/>
                </a:lnTo>
                <a:lnTo>
                  <a:pt x="245953" y="320583"/>
                </a:lnTo>
                <a:lnTo>
                  <a:pt x="256864" y="312409"/>
                </a:lnTo>
                <a:lnTo>
                  <a:pt x="267095" y="303311"/>
                </a:lnTo>
                <a:lnTo>
                  <a:pt x="276595" y="293343"/>
                </a:lnTo>
                <a:lnTo>
                  <a:pt x="285312" y="282562"/>
                </a:lnTo>
                <a:lnTo>
                  <a:pt x="293195" y="271023"/>
                </a:lnTo>
                <a:lnTo>
                  <a:pt x="300193" y="258781"/>
                </a:lnTo>
                <a:lnTo>
                  <a:pt x="306255" y="245892"/>
                </a:lnTo>
                <a:lnTo>
                  <a:pt x="311330" y="232411"/>
                </a:lnTo>
                <a:lnTo>
                  <a:pt x="315366" y="218394"/>
                </a:lnTo>
                <a:lnTo>
                  <a:pt x="318312" y="203896"/>
                </a:lnTo>
                <a:lnTo>
                  <a:pt x="320117" y="188973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9" y="93485"/>
                </a:lnTo>
                <a:lnTo>
                  <a:pt x="296006" y="80986"/>
                </a:lnTo>
                <a:lnTo>
                  <a:pt x="288459" y="69169"/>
                </a:lnTo>
                <a:lnTo>
                  <a:pt x="280058" y="58089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4"/>
                </a:lnTo>
                <a:lnTo>
                  <a:pt x="86318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6" name="object 62"/>
          <p:cNvSpPr/>
          <p:nvPr/>
        </p:nvSpPr>
        <p:spPr>
          <a:xfrm>
            <a:off x="4326962" y="34938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7" name="object 60"/>
          <p:cNvSpPr/>
          <p:nvPr/>
        </p:nvSpPr>
        <p:spPr>
          <a:xfrm>
            <a:off x="3451263" y="457102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8" name="object 58"/>
          <p:cNvSpPr/>
          <p:nvPr/>
        </p:nvSpPr>
        <p:spPr>
          <a:xfrm>
            <a:off x="7513462" y="204543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9" name="object 56"/>
          <p:cNvSpPr/>
          <p:nvPr/>
        </p:nvSpPr>
        <p:spPr>
          <a:xfrm>
            <a:off x="6553321" y="196196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0" name="object 54"/>
          <p:cNvSpPr/>
          <p:nvPr/>
        </p:nvSpPr>
        <p:spPr>
          <a:xfrm>
            <a:off x="7353097" y="275391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1" name="object 52"/>
          <p:cNvSpPr/>
          <p:nvPr/>
        </p:nvSpPr>
        <p:spPr>
          <a:xfrm>
            <a:off x="4696124" y="412086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2" name="object 50"/>
          <p:cNvSpPr/>
          <p:nvPr/>
        </p:nvSpPr>
        <p:spPr>
          <a:xfrm>
            <a:off x="4441297" y="46123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3" name="object 48"/>
          <p:cNvSpPr/>
          <p:nvPr/>
        </p:nvSpPr>
        <p:spPr>
          <a:xfrm>
            <a:off x="3130532" y="40499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4" name="object 42"/>
          <p:cNvSpPr/>
          <p:nvPr/>
        </p:nvSpPr>
        <p:spPr>
          <a:xfrm>
            <a:off x="5748103" y="33118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5" name="object 44"/>
          <p:cNvSpPr/>
          <p:nvPr/>
        </p:nvSpPr>
        <p:spPr>
          <a:xfrm>
            <a:off x="5560113" y="25802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6" name="object 46"/>
          <p:cNvSpPr/>
          <p:nvPr/>
        </p:nvSpPr>
        <p:spPr>
          <a:xfrm>
            <a:off x="5421508" y="296447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7" name="object 40"/>
          <p:cNvSpPr/>
          <p:nvPr/>
        </p:nvSpPr>
        <p:spPr>
          <a:xfrm>
            <a:off x="5213120" y="49216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8" name="object 38"/>
          <p:cNvSpPr/>
          <p:nvPr/>
        </p:nvSpPr>
        <p:spPr>
          <a:xfrm>
            <a:off x="7032365" y="221911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9" name="object 36"/>
          <p:cNvSpPr/>
          <p:nvPr/>
        </p:nvSpPr>
        <p:spPr>
          <a:xfrm>
            <a:off x="7385165" y="340218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6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7"/>
                </a:lnTo>
                <a:lnTo>
                  <a:pt x="310251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094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0" name="object 34"/>
          <p:cNvSpPr/>
          <p:nvPr/>
        </p:nvSpPr>
        <p:spPr>
          <a:xfrm>
            <a:off x="5038354" y="24830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1" name="object 32"/>
          <p:cNvSpPr/>
          <p:nvPr/>
        </p:nvSpPr>
        <p:spPr>
          <a:xfrm>
            <a:off x="7192732" y="159327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2" name="object 30"/>
          <p:cNvSpPr/>
          <p:nvPr/>
        </p:nvSpPr>
        <p:spPr>
          <a:xfrm>
            <a:off x="6201572" y="316997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3" name="object 28"/>
          <p:cNvSpPr/>
          <p:nvPr/>
        </p:nvSpPr>
        <p:spPr>
          <a:xfrm>
            <a:off x="4877989" y="532865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4" name="object 26"/>
          <p:cNvSpPr/>
          <p:nvPr/>
        </p:nvSpPr>
        <p:spPr>
          <a:xfrm>
            <a:off x="5581873" y="4521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5" name="object 24"/>
          <p:cNvSpPr/>
          <p:nvPr/>
        </p:nvSpPr>
        <p:spPr>
          <a:xfrm>
            <a:off x="3528670" y="35173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6" name="object 22"/>
          <p:cNvSpPr/>
          <p:nvPr/>
        </p:nvSpPr>
        <p:spPr>
          <a:xfrm>
            <a:off x="3252845" y="520650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7F1676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7" name="object 20"/>
          <p:cNvSpPr/>
          <p:nvPr/>
        </p:nvSpPr>
        <p:spPr>
          <a:xfrm>
            <a:off x="3849401" y="4051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8" name="object 18"/>
          <p:cNvSpPr/>
          <p:nvPr/>
        </p:nvSpPr>
        <p:spPr>
          <a:xfrm>
            <a:off x="6713687" y="269105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9" name="object 6"/>
          <p:cNvSpPr txBox="1"/>
          <p:nvPr/>
        </p:nvSpPr>
        <p:spPr>
          <a:xfrm>
            <a:off x="1332125" y="3759280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sp>
        <p:nvSpPr>
          <p:cNvPr id="150" name="object 5"/>
          <p:cNvSpPr txBox="1"/>
          <p:nvPr/>
        </p:nvSpPr>
        <p:spPr>
          <a:xfrm>
            <a:off x="5426815" y="6116930"/>
            <a:ext cx="542241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Age</a:t>
            </a:r>
            <a:endParaRPr sz="2400">
              <a:cs typeface="Calibri"/>
            </a:endParaRPr>
          </a:p>
        </p:txBody>
      </p:sp>
      <p:grpSp>
        <p:nvGrpSpPr>
          <p:cNvPr id="151" name="Group 150"/>
          <p:cNvGrpSpPr/>
          <p:nvPr/>
        </p:nvGrpSpPr>
        <p:grpSpPr>
          <a:xfrm>
            <a:off x="2383438" y="1888930"/>
            <a:ext cx="6303362" cy="4054670"/>
            <a:chOff x="2343901" y="1923700"/>
            <a:chExt cx="6303362" cy="4054670"/>
          </a:xfrm>
        </p:grpSpPr>
        <p:sp>
          <p:nvSpPr>
            <p:cNvPr id="152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153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</p:spTree>
    <p:extLst>
      <p:ext uri="{BB962C8B-B14F-4D97-AF65-F5344CB8AC3E}">
        <p14:creationId xmlns:p14="http://schemas.microsoft.com/office/powerpoint/2010/main" val="2384104864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9" name="object 82"/>
          <p:cNvSpPr/>
          <p:nvPr/>
        </p:nvSpPr>
        <p:spPr>
          <a:xfrm>
            <a:off x="4414372" y="54871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0" name="object 84"/>
          <p:cNvSpPr/>
          <p:nvPr/>
        </p:nvSpPr>
        <p:spPr>
          <a:xfrm>
            <a:off x="5399747" y="55212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1" name="object 86"/>
          <p:cNvSpPr/>
          <p:nvPr/>
        </p:nvSpPr>
        <p:spPr>
          <a:xfrm>
            <a:off x="6251551" y="55023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2" name="object 74"/>
          <p:cNvSpPr/>
          <p:nvPr/>
        </p:nvSpPr>
        <p:spPr>
          <a:xfrm>
            <a:off x="2668469" y="519520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3" name="object 72"/>
          <p:cNvSpPr/>
          <p:nvPr/>
        </p:nvSpPr>
        <p:spPr>
          <a:xfrm>
            <a:off x="5959366" y="251737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40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80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4" name="object 70"/>
          <p:cNvSpPr/>
          <p:nvPr/>
        </p:nvSpPr>
        <p:spPr>
          <a:xfrm>
            <a:off x="5560113" y="213564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5" name="object 68"/>
          <p:cNvSpPr/>
          <p:nvPr/>
        </p:nvSpPr>
        <p:spPr>
          <a:xfrm>
            <a:off x="5148028" y="1723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6" name="object 66"/>
          <p:cNvSpPr/>
          <p:nvPr/>
        </p:nvSpPr>
        <p:spPr>
          <a:xfrm>
            <a:off x="6872003" y="34121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094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7" name="object 63"/>
          <p:cNvSpPr/>
          <p:nvPr/>
        </p:nvSpPr>
        <p:spPr>
          <a:xfrm>
            <a:off x="5880842" y="502152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6"/>
                </a:lnTo>
                <a:lnTo>
                  <a:pt x="1583" y="198179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6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2"/>
                </a:lnTo>
                <a:lnTo>
                  <a:pt x="49876" y="299561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6"/>
                </a:lnTo>
                <a:lnTo>
                  <a:pt x="196530" y="342926"/>
                </a:lnTo>
                <a:lnTo>
                  <a:pt x="209650" y="339004"/>
                </a:lnTo>
                <a:lnTo>
                  <a:pt x="222295" y="333936"/>
                </a:lnTo>
                <a:lnTo>
                  <a:pt x="234413" y="327778"/>
                </a:lnTo>
                <a:lnTo>
                  <a:pt x="245953" y="320583"/>
                </a:lnTo>
                <a:lnTo>
                  <a:pt x="256864" y="312409"/>
                </a:lnTo>
                <a:lnTo>
                  <a:pt x="267095" y="303311"/>
                </a:lnTo>
                <a:lnTo>
                  <a:pt x="276595" y="293343"/>
                </a:lnTo>
                <a:lnTo>
                  <a:pt x="285312" y="282562"/>
                </a:lnTo>
                <a:lnTo>
                  <a:pt x="293195" y="271023"/>
                </a:lnTo>
                <a:lnTo>
                  <a:pt x="300193" y="258781"/>
                </a:lnTo>
                <a:lnTo>
                  <a:pt x="306255" y="245892"/>
                </a:lnTo>
                <a:lnTo>
                  <a:pt x="311330" y="232411"/>
                </a:lnTo>
                <a:lnTo>
                  <a:pt x="315366" y="218394"/>
                </a:lnTo>
                <a:lnTo>
                  <a:pt x="318312" y="203896"/>
                </a:lnTo>
                <a:lnTo>
                  <a:pt x="320117" y="188973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9" y="93485"/>
                </a:lnTo>
                <a:lnTo>
                  <a:pt x="296006" y="80986"/>
                </a:lnTo>
                <a:lnTo>
                  <a:pt x="288459" y="69169"/>
                </a:lnTo>
                <a:lnTo>
                  <a:pt x="280058" y="58089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4"/>
                </a:lnTo>
                <a:lnTo>
                  <a:pt x="86318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8" name="object 62"/>
          <p:cNvSpPr/>
          <p:nvPr/>
        </p:nvSpPr>
        <p:spPr>
          <a:xfrm>
            <a:off x="4326962" y="34938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9" name="object 60"/>
          <p:cNvSpPr/>
          <p:nvPr/>
        </p:nvSpPr>
        <p:spPr>
          <a:xfrm>
            <a:off x="3451263" y="457102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0" name="object 58"/>
          <p:cNvSpPr/>
          <p:nvPr/>
        </p:nvSpPr>
        <p:spPr>
          <a:xfrm>
            <a:off x="7513462" y="204543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1" name="object 56"/>
          <p:cNvSpPr/>
          <p:nvPr/>
        </p:nvSpPr>
        <p:spPr>
          <a:xfrm>
            <a:off x="6553321" y="196196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2" name="object 54"/>
          <p:cNvSpPr/>
          <p:nvPr/>
        </p:nvSpPr>
        <p:spPr>
          <a:xfrm>
            <a:off x="7353097" y="275391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3" name="object 52"/>
          <p:cNvSpPr/>
          <p:nvPr/>
        </p:nvSpPr>
        <p:spPr>
          <a:xfrm>
            <a:off x="4696124" y="412086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4" name="object 50"/>
          <p:cNvSpPr/>
          <p:nvPr/>
        </p:nvSpPr>
        <p:spPr>
          <a:xfrm>
            <a:off x="4441297" y="46123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5" name="object 48"/>
          <p:cNvSpPr/>
          <p:nvPr/>
        </p:nvSpPr>
        <p:spPr>
          <a:xfrm>
            <a:off x="3130532" y="40499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6" name="object 42"/>
          <p:cNvSpPr/>
          <p:nvPr/>
        </p:nvSpPr>
        <p:spPr>
          <a:xfrm>
            <a:off x="5748103" y="33118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7" name="object 44"/>
          <p:cNvSpPr/>
          <p:nvPr/>
        </p:nvSpPr>
        <p:spPr>
          <a:xfrm>
            <a:off x="5560113" y="25802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8" name="object 46"/>
          <p:cNvSpPr/>
          <p:nvPr/>
        </p:nvSpPr>
        <p:spPr>
          <a:xfrm>
            <a:off x="5421508" y="296447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9" name="object 40"/>
          <p:cNvSpPr/>
          <p:nvPr/>
        </p:nvSpPr>
        <p:spPr>
          <a:xfrm>
            <a:off x="5213120" y="49216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0" name="object 38"/>
          <p:cNvSpPr/>
          <p:nvPr/>
        </p:nvSpPr>
        <p:spPr>
          <a:xfrm>
            <a:off x="7032365" y="221911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1" name="object 36"/>
          <p:cNvSpPr/>
          <p:nvPr/>
        </p:nvSpPr>
        <p:spPr>
          <a:xfrm>
            <a:off x="7385165" y="340218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6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7"/>
                </a:lnTo>
                <a:lnTo>
                  <a:pt x="310251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094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2" name="object 34"/>
          <p:cNvSpPr/>
          <p:nvPr/>
        </p:nvSpPr>
        <p:spPr>
          <a:xfrm>
            <a:off x="5038354" y="24830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3" name="object 32"/>
          <p:cNvSpPr/>
          <p:nvPr/>
        </p:nvSpPr>
        <p:spPr>
          <a:xfrm>
            <a:off x="7192732" y="159327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4" name="object 30"/>
          <p:cNvSpPr/>
          <p:nvPr/>
        </p:nvSpPr>
        <p:spPr>
          <a:xfrm>
            <a:off x="6201572" y="316997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5" name="object 28"/>
          <p:cNvSpPr/>
          <p:nvPr/>
        </p:nvSpPr>
        <p:spPr>
          <a:xfrm>
            <a:off x="4877989" y="532865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6" name="object 26"/>
          <p:cNvSpPr/>
          <p:nvPr/>
        </p:nvSpPr>
        <p:spPr>
          <a:xfrm>
            <a:off x="5581873" y="4521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7" name="object 24"/>
          <p:cNvSpPr/>
          <p:nvPr/>
        </p:nvSpPr>
        <p:spPr>
          <a:xfrm>
            <a:off x="3528670" y="35173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8" name="object 22"/>
          <p:cNvSpPr/>
          <p:nvPr/>
        </p:nvSpPr>
        <p:spPr>
          <a:xfrm>
            <a:off x="3252845" y="520650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9" name="object 20"/>
          <p:cNvSpPr/>
          <p:nvPr/>
        </p:nvSpPr>
        <p:spPr>
          <a:xfrm>
            <a:off x="3849401" y="4051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0" name="object 18"/>
          <p:cNvSpPr/>
          <p:nvPr/>
        </p:nvSpPr>
        <p:spPr>
          <a:xfrm>
            <a:off x="6713687" y="269105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1" name="object 6"/>
          <p:cNvSpPr txBox="1"/>
          <p:nvPr/>
        </p:nvSpPr>
        <p:spPr>
          <a:xfrm>
            <a:off x="1332125" y="3759280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sp>
        <p:nvSpPr>
          <p:cNvPr id="112" name="object 5"/>
          <p:cNvSpPr txBox="1"/>
          <p:nvPr/>
        </p:nvSpPr>
        <p:spPr>
          <a:xfrm>
            <a:off x="5426815" y="6116930"/>
            <a:ext cx="542241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Age</a:t>
            </a:r>
            <a:endParaRPr sz="2400">
              <a:cs typeface="Calibri"/>
            </a:endParaRPr>
          </a:p>
        </p:txBody>
      </p:sp>
      <p:grpSp>
        <p:nvGrpSpPr>
          <p:cNvPr id="113" name="Group 112"/>
          <p:cNvGrpSpPr/>
          <p:nvPr/>
        </p:nvGrpSpPr>
        <p:grpSpPr>
          <a:xfrm>
            <a:off x="2383438" y="1888930"/>
            <a:ext cx="6303362" cy="4054670"/>
            <a:chOff x="2343901" y="1923700"/>
            <a:chExt cx="6303362" cy="4054670"/>
          </a:xfrm>
        </p:grpSpPr>
        <p:sp>
          <p:nvSpPr>
            <p:cNvPr id="114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115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  <p:sp>
        <p:nvSpPr>
          <p:cNvPr id="116" name="object 10"/>
          <p:cNvSpPr txBox="1"/>
          <p:nvPr/>
        </p:nvSpPr>
        <p:spPr>
          <a:xfrm>
            <a:off x="2101916" y="369650"/>
            <a:ext cx="6296519" cy="4318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3400"/>
              </a:lnSpc>
              <a:spcBef>
                <a:spcPts val="170"/>
              </a:spcBef>
            </a:pPr>
            <a:r>
              <a:rPr lang="en-US" sz="4800" baseline="1706" dirty="0">
                <a:solidFill>
                  <a:srgbClr val="4E81BC"/>
                </a:solidFill>
                <a:latin typeface="+mj-lt"/>
                <a:cs typeface="Calibri"/>
              </a:rPr>
              <a:t>Agglomerative </a:t>
            </a:r>
            <a:r>
              <a:rPr sz="4800" baseline="1706" dirty="0">
                <a:solidFill>
                  <a:srgbClr val="F69545"/>
                </a:solidFill>
                <a:latin typeface="+mj-lt"/>
                <a:cs typeface="Calibri"/>
              </a:rPr>
              <a:t>Hierarchical</a:t>
            </a:r>
            <a:r>
              <a:rPr sz="4800" spc="0" baseline="1706" dirty="0" smtClean="0">
                <a:solidFill>
                  <a:srgbClr val="4E81BC"/>
                </a:solidFill>
                <a:latin typeface="+mj-lt"/>
                <a:cs typeface="Calibri"/>
              </a:rPr>
              <a:t> Clustering</a:t>
            </a:r>
            <a:endParaRPr sz="3200" dirty="0">
              <a:latin typeface="+mj-lt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002675031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object 5"/>
          <p:cNvSpPr/>
          <p:nvPr/>
        </p:nvSpPr>
        <p:spPr>
          <a:xfrm>
            <a:off x="8676629" y="1036574"/>
            <a:ext cx="0" cy="4598485"/>
          </a:xfrm>
          <a:custGeom>
            <a:avLst/>
            <a:gdLst/>
            <a:ahLst/>
            <a:cxnLst/>
            <a:rect l="l" t="t" r="r" b="b"/>
            <a:pathLst>
              <a:path h="4598485">
                <a:moveTo>
                  <a:pt x="0" y="4598485"/>
                </a:moveTo>
                <a:lnTo>
                  <a:pt x="0" y="0"/>
                </a:lnTo>
              </a:path>
            </a:pathLst>
          </a:custGeom>
          <a:ln w="38099">
            <a:solidFill>
              <a:srgbClr val="937AB1"/>
            </a:solidFill>
            <a:tailEnd type="arrow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" name="object 2"/>
          <p:cNvSpPr txBox="1"/>
          <p:nvPr/>
        </p:nvSpPr>
        <p:spPr>
          <a:xfrm rot="5400000">
            <a:off x="8269473" y="3145316"/>
            <a:ext cx="1310588" cy="3810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 algn="ctr">
              <a:lnSpc>
                <a:spcPts val="3000"/>
              </a:lnSpc>
              <a:spcBef>
                <a:spcPts val="150"/>
              </a:spcBef>
            </a:pPr>
            <a:r>
              <a:rPr sz="4200" spc="0" baseline="1950" dirty="0" smtClean="0">
                <a:solidFill>
                  <a:srgbClr val="8063A1"/>
                </a:solidFill>
                <a:cs typeface="Calibri"/>
              </a:rPr>
              <a:t>distance</a:t>
            </a:r>
            <a:endParaRPr sz="2800" dirty="0">
              <a:cs typeface="Calibri"/>
            </a:endParaRPr>
          </a:p>
        </p:txBody>
      </p:sp>
      <p:sp>
        <p:nvSpPr>
          <p:cNvPr id="26" name="object 8"/>
          <p:cNvSpPr/>
          <p:nvPr/>
        </p:nvSpPr>
        <p:spPr>
          <a:xfrm>
            <a:off x="1786879" y="5254236"/>
            <a:ext cx="320730" cy="347361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ln w="25399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8" name="object 74"/>
          <p:cNvSpPr/>
          <p:nvPr/>
        </p:nvSpPr>
        <p:spPr>
          <a:xfrm>
            <a:off x="286325" y="525423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7F1676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9" name="object 48"/>
          <p:cNvSpPr/>
          <p:nvPr/>
        </p:nvSpPr>
        <p:spPr>
          <a:xfrm>
            <a:off x="1773507" y="525423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0" name="object 26"/>
          <p:cNvSpPr/>
          <p:nvPr/>
        </p:nvSpPr>
        <p:spPr>
          <a:xfrm>
            <a:off x="3485667" y="528769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1" name="object 68"/>
          <p:cNvSpPr/>
          <p:nvPr/>
        </p:nvSpPr>
        <p:spPr>
          <a:xfrm>
            <a:off x="5376346" y="528782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2" name="object 32"/>
          <p:cNvSpPr/>
          <p:nvPr/>
        </p:nvSpPr>
        <p:spPr>
          <a:xfrm>
            <a:off x="7835202" y="528769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094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7" name="object 10"/>
          <p:cNvSpPr txBox="1"/>
          <p:nvPr/>
        </p:nvSpPr>
        <p:spPr>
          <a:xfrm>
            <a:off x="2101916" y="369650"/>
            <a:ext cx="6296519" cy="4318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3400"/>
              </a:lnSpc>
              <a:spcBef>
                <a:spcPts val="170"/>
              </a:spcBef>
            </a:pPr>
            <a:r>
              <a:rPr lang="en-US" sz="4800" baseline="1706" dirty="0">
                <a:solidFill>
                  <a:srgbClr val="4E81BC"/>
                </a:solidFill>
                <a:latin typeface="+mj-lt"/>
                <a:cs typeface="Calibri"/>
              </a:rPr>
              <a:t>Agglomerative </a:t>
            </a:r>
            <a:r>
              <a:rPr sz="4800" baseline="1706" dirty="0">
                <a:solidFill>
                  <a:srgbClr val="F69545"/>
                </a:solidFill>
                <a:latin typeface="+mj-lt"/>
                <a:cs typeface="Calibri"/>
              </a:rPr>
              <a:t>Hierarchical</a:t>
            </a:r>
            <a:r>
              <a:rPr sz="4800" spc="0" baseline="1706" dirty="0" smtClean="0">
                <a:solidFill>
                  <a:srgbClr val="4E81BC"/>
                </a:solidFill>
                <a:latin typeface="+mj-lt"/>
                <a:cs typeface="Calibri"/>
              </a:rPr>
              <a:t> Clustering</a:t>
            </a:r>
            <a:endParaRPr sz="3200" dirty="0">
              <a:latin typeface="+mj-lt"/>
              <a:cs typeface="Calibri"/>
            </a:endParaRPr>
          </a:p>
        </p:txBody>
      </p:sp>
      <p:sp>
        <p:nvSpPr>
          <p:cNvPr id="10" name="Freeform 9"/>
          <p:cNvSpPr/>
          <p:nvPr/>
        </p:nvSpPr>
        <p:spPr>
          <a:xfrm>
            <a:off x="1371599" y="4876800"/>
            <a:ext cx="596901" cy="381000"/>
          </a:xfrm>
          <a:custGeom>
            <a:avLst/>
            <a:gdLst>
              <a:gd name="connsiteX0" fmla="*/ 0 w 571617"/>
              <a:gd name="connsiteY0" fmla="*/ 3770 h 413345"/>
              <a:gd name="connsiteX1" fmla="*/ 0 w 571617"/>
              <a:gd name="connsiteY1" fmla="*/ 3770 h 413345"/>
              <a:gd name="connsiteX2" fmla="*/ 476250 w 571617"/>
              <a:gd name="connsiteY2" fmla="*/ 6945 h 413345"/>
              <a:gd name="connsiteX3" fmla="*/ 571500 w 571617"/>
              <a:gd name="connsiteY3" fmla="*/ 32345 h 413345"/>
              <a:gd name="connsiteX4" fmla="*/ 571500 w 571617"/>
              <a:gd name="connsiteY4" fmla="*/ 413345 h 413345"/>
              <a:gd name="connsiteX0" fmla="*/ 0 w 571500"/>
              <a:gd name="connsiteY0" fmla="*/ 8358 h 417933"/>
              <a:gd name="connsiteX1" fmla="*/ 0 w 571500"/>
              <a:gd name="connsiteY1" fmla="*/ 8358 h 417933"/>
              <a:gd name="connsiteX2" fmla="*/ 476250 w 571500"/>
              <a:gd name="connsiteY2" fmla="*/ 11533 h 417933"/>
              <a:gd name="connsiteX3" fmla="*/ 571500 w 571500"/>
              <a:gd name="connsiteY3" fmla="*/ 36933 h 417933"/>
              <a:gd name="connsiteX4" fmla="*/ 571500 w 571500"/>
              <a:gd name="connsiteY4" fmla="*/ 417933 h 417933"/>
              <a:gd name="connsiteX0" fmla="*/ 0 w 571500"/>
              <a:gd name="connsiteY0" fmla="*/ 0 h 409575"/>
              <a:gd name="connsiteX1" fmla="*/ 0 w 571500"/>
              <a:gd name="connsiteY1" fmla="*/ 0 h 409575"/>
              <a:gd name="connsiteX2" fmla="*/ 571500 w 571500"/>
              <a:gd name="connsiteY2" fmla="*/ 28575 h 409575"/>
              <a:gd name="connsiteX3" fmla="*/ 571500 w 571500"/>
              <a:gd name="connsiteY3" fmla="*/ 409575 h 409575"/>
              <a:gd name="connsiteX0" fmla="*/ 0 w 577850"/>
              <a:gd name="connsiteY0" fmla="*/ 0 h 409575"/>
              <a:gd name="connsiteX1" fmla="*/ 0 w 577850"/>
              <a:gd name="connsiteY1" fmla="*/ 0 h 409575"/>
              <a:gd name="connsiteX2" fmla="*/ 577850 w 577850"/>
              <a:gd name="connsiteY2" fmla="*/ 3175 h 409575"/>
              <a:gd name="connsiteX3" fmla="*/ 571500 w 577850"/>
              <a:gd name="connsiteY3" fmla="*/ 409575 h 4095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77850" h="409575">
                <a:moveTo>
                  <a:pt x="0" y="0"/>
                </a:moveTo>
                <a:lnTo>
                  <a:pt x="0" y="0"/>
                </a:lnTo>
                <a:lnTo>
                  <a:pt x="577850" y="3175"/>
                </a:lnTo>
                <a:lnTo>
                  <a:pt x="571500" y="409575"/>
                </a:lnTo>
              </a:path>
            </a:pathLst>
          </a:custGeom>
          <a:noFill/>
          <a:ln>
            <a:solidFill>
              <a:srgbClr val="6094C9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Freeform 24"/>
          <p:cNvSpPr/>
          <p:nvPr/>
        </p:nvSpPr>
        <p:spPr>
          <a:xfrm flipH="1">
            <a:off x="451015" y="4876800"/>
            <a:ext cx="596901" cy="381000"/>
          </a:xfrm>
          <a:custGeom>
            <a:avLst/>
            <a:gdLst>
              <a:gd name="connsiteX0" fmla="*/ 0 w 571617"/>
              <a:gd name="connsiteY0" fmla="*/ 3770 h 413345"/>
              <a:gd name="connsiteX1" fmla="*/ 0 w 571617"/>
              <a:gd name="connsiteY1" fmla="*/ 3770 h 413345"/>
              <a:gd name="connsiteX2" fmla="*/ 476250 w 571617"/>
              <a:gd name="connsiteY2" fmla="*/ 6945 h 413345"/>
              <a:gd name="connsiteX3" fmla="*/ 571500 w 571617"/>
              <a:gd name="connsiteY3" fmla="*/ 32345 h 413345"/>
              <a:gd name="connsiteX4" fmla="*/ 571500 w 571617"/>
              <a:gd name="connsiteY4" fmla="*/ 413345 h 413345"/>
              <a:gd name="connsiteX0" fmla="*/ 0 w 571500"/>
              <a:gd name="connsiteY0" fmla="*/ 8358 h 417933"/>
              <a:gd name="connsiteX1" fmla="*/ 0 w 571500"/>
              <a:gd name="connsiteY1" fmla="*/ 8358 h 417933"/>
              <a:gd name="connsiteX2" fmla="*/ 476250 w 571500"/>
              <a:gd name="connsiteY2" fmla="*/ 11533 h 417933"/>
              <a:gd name="connsiteX3" fmla="*/ 571500 w 571500"/>
              <a:gd name="connsiteY3" fmla="*/ 36933 h 417933"/>
              <a:gd name="connsiteX4" fmla="*/ 571500 w 571500"/>
              <a:gd name="connsiteY4" fmla="*/ 417933 h 417933"/>
              <a:gd name="connsiteX0" fmla="*/ 0 w 571500"/>
              <a:gd name="connsiteY0" fmla="*/ 0 h 409575"/>
              <a:gd name="connsiteX1" fmla="*/ 0 w 571500"/>
              <a:gd name="connsiteY1" fmla="*/ 0 h 409575"/>
              <a:gd name="connsiteX2" fmla="*/ 571500 w 571500"/>
              <a:gd name="connsiteY2" fmla="*/ 28575 h 409575"/>
              <a:gd name="connsiteX3" fmla="*/ 571500 w 571500"/>
              <a:gd name="connsiteY3" fmla="*/ 409575 h 409575"/>
              <a:gd name="connsiteX0" fmla="*/ 0 w 577850"/>
              <a:gd name="connsiteY0" fmla="*/ 0 h 409575"/>
              <a:gd name="connsiteX1" fmla="*/ 0 w 577850"/>
              <a:gd name="connsiteY1" fmla="*/ 0 h 409575"/>
              <a:gd name="connsiteX2" fmla="*/ 577850 w 577850"/>
              <a:gd name="connsiteY2" fmla="*/ 3175 h 409575"/>
              <a:gd name="connsiteX3" fmla="*/ 571500 w 577850"/>
              <a:gd name="connsiteY3" fmla="*/ 409575 h 4095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77850" h="409575">
                <a:moveTo>
                  <a:pt x="0" y="0"/>
                </a:moveTo>
                <a:lnTo>
                  <a:pt x="0" y="0"/>
                </a:lnTo>
                <a:lnTo>
                  <a:pt x="577850" y="3175"/>
                </a:lnTo>
                <a:lnTo>
                  <a:pt x="571500" y="409575"/>
                </a:lnTo>
              </a:path>
            </a:pathLst>
          </a:custGeom>
          <a:noFill/>
          <a:ln>
            <a:solidFill>
              <a:srgbClr val="6094C9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6" name="object 48"/>
          <p:cNvSpPr/>
          <p:nvPr/>
        </p:nvSpPr>
        <p:spPr>
          <a:xfrm>
            <a:off x="1028194" y="471414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012721885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object 24"/>
          <p:cNvSpPr/>
          <p:nvPr/>
        </p:nvSpPr>
        <p:spPr>
          <a:xfrm>
            <a:off x="1943323" y="4876800"/>
            <a:ext cx="6733304" cy="0"/>
          </a:xfrm>
          <a:custGeom>
            <a:avLst/>
            <a:gdLst/>
            <a:ahLst/>
            <a:cxnLst/>
            <a:rect l="l" t="t" r="r" b="b"/>
            <a:pathLst>
              <a:path w="6733304">
                <a:moveTo>
                  <a:pt x="0" y="0"/>
                </a:moveTo>
                <a:lnTo>
                  <a:pt x="6733304" y="0"/>
                </a:lnTo>
              </a:path>
            </a:pathLst>
          </a:custGeom>
          <a:ln w="25399">
            <a:solidFill>
              <a:srgbClr val="937AB1"/>
            </a:solidFill>
            <a:prstDash val="lgDash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8" name="object 8"/>
          <p:cNvSpPr/>
          <p:nvPr/>
        </p:nvSpPr>
        <p:spPr>
          <a:xfrm>
            <a:off x="1786879" y="5254236"/>
            <a:ext cx="320730" cy="347361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ln w="25399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9" name="object 74"/>
          <p:cNvSpPr/>
          <p:nvPr/>
        </p:nvSpPr>
        <p:spPr>
          <a:xfrm>
            <a:off x="286325" y="525423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7F1676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0" name="object 48"/>
          <p:cNvSpPr/>
          <p:nvPr/>
        </p:nvSpPr>
        <p:spPr>
          <a:xfrm>
            <a:off x="1773507" y="525423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1" name="object 26"/>
          <p:cNvSpPr/>
          <p:nvPr/>
        </p:nvSpPr>
        <p:spPr>
          <a:xfrm>
            <a:off x="3485667" y="528769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2" name="object 68"/>
          <p:cNvSpPr/>
          <p:nvPr/>
        </p:nvSpPr>
        <p:spPr>
          <a:xfrm>
            <a:off x="5376346" y="528782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3" name="object 32"/>
          <p:cNvSpPr/>
          <p:nvPr/>
        </p:nvSpPr>
        <p:spPr>
          <a:xfrm>
            <a:off x="7835202" y="528769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094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5" name="object 10"/>
          <p:cNvSpPr txBox="1"/>
          <p:nvPr/>
        </p:nvSpPr>
        <p:spPr>
          <a:xfrm>
            <a:off x="2101916" y="369650"/>
            <a:ext cx="6296519" cy="4318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3400"/>
              </a:lnSpc>
              <a:spcBef>
                <a:spcPts val="170"/>
              </a:spcBef>
            </a:pPr>
            <a:r>
              <a:rPr lang="en-US" sz="4800" baseline="1706" dirty="0">
                <a:solidFill>
                  <a:srgbClr val="4E81BC"/>
                </a:solidFill>
                <a:latin typeface="+mj-lt"/>
                <a:cs typeface="Calibri"/>
              </a:rPr>
              <a:t>Agglomerative </a:t>
            </a:r>
            <a:r>
              <a:rPr sz="4800" baseline="1706" dirty="0">
                <a:solidFill>
                  <a:srgbClr val="F69545"/>
                </a:solidFill>
                <a:latin typeface="+mj-lt"/>
                <a:cs typeface="Calibri"/>
              </a:rPr>
              <a:t>Hierarchical</a:t>
            </a:r>
            <a:r>
              <a:rPr sz="4800" spc="0" baseline="1706" dirty="0" smtClean="0">
                <a:solidFill>
                  <a:srgbClr val="4E81BC"/>
                </a:solidFill>
                <a:latin typeface="+mj-lt"/>
                <a:cs typeface="Calibri"/>
              </a:rPr>
              <a:t> Clustering</a:t>
            </a:r>
            <a:endParaRPr sz="3200" dirty="0">
              <a:latin typeface="+mj-lt"/>
              <a:cs typeface="Calibri"/>
            </a:endParaRPr>
          </a:p>
        </p:txBody>
      </p:sp>
      <p:sp>
        <p:nvSpPr>
          <p:cNvPr id="22" name="Freeform 21"/>
          <p:cNvSpPr/>
          <p:nvPr/>
        </p:nvSpPr>
        <p:spPr>
          <a:xfrm>
            <a:off x="1371599" y="4876800"/>
            <a:ext cx="596901" cy="381000"/>
          </a:xfrm>
          <a:custGeom>
            <a:avLst/>
            <a:gdLst>
              <a:gd name="connsiteX0" fmla="*/ 0 w 571617"/>
              <a:gd name="connsiteY0" fmla="*/ 3770 h 413345"/>
              <a:gd name="connsiteX1" fmla="*/ 0 w 571617"/>
              <a:gd name="connsiteY1" fmla="*/ 3770 h 413345"/>
              <a:gd name="connsiteX2" fmla="*/ 476250 w 571617"/>
              <a:gd name="connsiteY2" fmla="*/ 6945 h 413345"/>
              <a:gd name="connsiteX3" fmla="*/ 571500 w 571617"/>
              <a:gd name="connsiteY3" fmla="*/ 32345 h 413345"/>
              <a:gd name="connsiteX4" fmla="*/ 571500 w 571617"/>
              <a:gd name="connsiteY4" fmla="*/ 413345 h 413345"/>
              <a:gd name="connsiteX0" fmla="*/ 0 w 571500"/>
              <a:gd name="connsiteY0" fmla="*/ 8358 h 417933"/>
              <a:gd name="connsiteX1" fmla="*/ 0 w 571500"/>
              <a:gd name="connsiteY1" fmla="*/ 8358 h 417933"/>
              <a:gd name="connsiteX2" fmla="*/ 476250 w 571500"/>
              <a:gd name="connsiteY2" fmla="*/ 11533 h 417933"/>
              <a:gd name="connsiteX3" fmla="*/ 571500 w 571500"/>
              <a:gd name="connsiteY3" fmla="*/ 36933 h 417933"/>
              <a:gd name="connsiteX4" fmla="*/ 571500 w 571500"/>
              <a:gd name="connsiteY4" fmla="*/ 417933 h 417933"/>
              <a:gd name="connsiteX0" fmla="*/ 0 w 571500"/>
              <a:gd name="connsiteY0" fmla="*/ 0 h 409575"/>
              <a:gd name="connsiteX1" fmla="*/ 0 w 571500"/>
              <a:gd name="connsiteY1" fmla="*/ 0 h 409575"/>
              <a:gd name="connsiteX2" fmla="*/ 571500 w 571500"/>
              <a:gd name="connsiteY2" fmla="*/ 28575 h 409575"/>
              <a:gd name="connsiteX3" fmla="*/ 571500 w 571500"/>
              <a:gd name="connsiteY3" fmla="*/ 409575 h 409575"/>
              <a:gd name="connsiteX0" fmla="*/ 0 w 577850"/>
              <a:gd name="connsiteY0" fmla="*/ 0 h 409575"/>
              <a:gd name="connsiteX1" fmla="*/ 0 w 577850"/>
              <a:gd name="connsiteY1" fmla="*/ 0 h 409575"/>
              <a:gd name="connsiteX2" fmla="*/ 577850 w 577850"/>
              <a:gd name="connsiteY2" fmla="*/ 3175 h 409575"/>
              <a:gd name="connsiteX3" fmla="*/ 571500 w 577850"/>
              <a:gd name="connsiteY3" fmla="*/ 409575 h 4095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77850" h="409575">
                <a:moveTo>
                  <a:pt x="0" y="0"/>
                </a:moveTo>
                <a:lnTo>
                  <a:pt x="0" y="0"/>
                </a:lnTo>
                <a:lnTo>
                  <a:pt x="577850" y="3175"/>
                </a:lnTo>
                <a:lnTo>
                  <a:pt x="571500" y="409575"/>
                </a:lnTo>
              </a:path>
            </a:pathLst>
          </a:custGeom>
          <a:noFill/>
          <a:ln>
            <a:solidFill>
              <a:srgbClr val="6094C9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Freeform 24"/>
          <p:cNvSpPr/>
          <p:nvPr/>
        </p:nvSpPr>
        <p:spPr>
          <a:xfrm flipH="1">
            <a:off x="451015" y="4876800"/>
            <a:ext cx="596901" cy="381000"/>
          </a:xfrm>
          <a:custGeom>
            <a:avLst/>
            <a:gdLst>
              <a:gd name="connsiteX0" fmla="*/ 0 w 571617"/>
              <a:gd name="connsiteY0" fmla="*/ 3770 h 413345"/>
              <a:gd name="connsiteX1" fmla="*/ 0 w 571617"/>
              <a:gd name="connsiteY1" fmla="*/ 3770 h 413345"/>
              <a:gd name="connsiteX2" fmla="*/ 476250 w 571617"/>
              <a:gd name="connsiteY2" fmla="*/ 6945 h 413345"/>
              <a:gd name="connsiteX3" fmla="*/ 571500 w 571617"/>
              <a:gd name="connsiteY3" fmla="*/ 32345 h 413345"/>
              <a:gd name="connsiteX4" fmla="*/ 571500 w 571617"/>
              <a:gd name="connsiteY4" fmla="*/ 413345 h 413345"/>
              <a:gd name="connsiteX0" fmla="*/ 0 w 571500"/>
              <a:gd name="connsiteY0" fmla="*/ 8358 h 417933"/>
              <a:gd name="connsiteX1" fmla="*/ 0 w 571500"/>
              <a:gd name="connsiteY1" fmla="*/ 8358 h 417933"/>
              <a:gd name="connsiteX2" fmla="*/ 476250 w 571500"/>
              <a:gd name="connsiteY2" fmla="*/ 11533 h 417933"/>
              <a:gd name="connsiteX3" fmla="*/ 571500 w 571500"/>
              <a:gd name="connsiteY3" fmla="*/ 36933 h 417933"/>
              <a:gd name="connsiteX4" fmla="*/ 571500 w 571500"/>
              <a:gd name="connsiteY4" fmla="*/ 417933 h 417933"/>
              <a:gd name="connsiteX0" fmla="*/ 0 w 571500"/>
              <a:gd name="connsiteY0" fmla="*/ 0 h 409575"/>
              <a:gd name="connsiteX1" fmla="*/ 0 w 571500"/>
              <a:gd name="connsiteY1" fmla="*/ 0 h 409575"/>
              <a:gd name="connsiteX2" fmla="*/ 571500 w 571500"/>
              <a:gd name="connsiteY2" fmla="*/ 28575 h 409575"/>
              <a:gd name="connsiteX3" fmla="*/ 571500 w 571500"/>
              <a:gd name="connsiteY3" fmla="*/ 409575 h 409575"/>
              <a:gd name="connsiteX0" fmla="*/ 0 w 577850"/>
              <a:gd name="connsiteY0" fmla="*/ 0 h 409575"/>
              <a:gd name="connsiteX1" fmla="*/ 0 w 577850"/>
              <a:gd name="connsiteY1" fmla="*/ 0 h 409575"/>
              <a:gd name="connsiteX2" fmla="*/ 577850 w 577850"/>
              <a:gd name="connsiteY2" fmla="*/ 3175 h 409575"/>
              <a:gd name="connsiteX3" fmla="*/ 571500 w 577850"/>
              <a:gd name="connsiteY3" fmla="*/ 409575 h 4095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77850" h="409575">
                <a:moveTo>
                  <a:pt x="0" y="0"/>
                </a:moveTo>
                <a:lnTo>
                  <a:pt x="0" y="0"/>
                </a:lnTo>
                <a:lnTo>
                  <a:pt x="577850" y="3175"/>
                </a:lnTo>
                <a:lnTo>
                  <a:pt x="571500" y="409575"/>
                </a:lnTo>
              </a:path>
            </a:pathLst>
          </a:custGeom>
          <a:noFill/>
          <a:ln>
            <a:solidFill>
              <a:srgbClr val="6094C9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object 5"/>
          <p:cNvSpPr/>
          <p:nvPr/>
        </p:nvSpPr>
        <p:spPr>
          <a:xfrm>
            <a:off x="8676629" y="1036574"/>
            <a:ext cx="0" cy="4598485"/>
          </a:xfrm>
          <a:custGeom>
            <a:avLst/>
            <a:gdLst/>
            <a:ahLst/>
            <a:cxnLst/>
            <a:rect l="l" t="t" r="r" b="b"/>
            <a:pathLst>
              <a:path h="4598485">
                <a:moveTo>
                  <a:pt x="0" y="4598485"/>
                </a:moveTo>
                <a:lnTo>
                  <a:pt x="0" y="0"/>
                </a:lnTo>
              </a:path>
            </a:pathLst>
          </a:custGeom>
          <a:ln w="38099">
            <a:solidFill>
              <a:srgbClr val="937AB1"/>
            </a:solidFill>
            <a:tailEnd type="arrow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7" name="object 2"/>
          <p:cNvSpPr txBox="1"/>
          <p:nvPr/>
        </p:nvSpPr>
        <p:spPr>
          <a:xfrm rot="5400000">
            <a:off x="8269473" y="3145316"/>
            <a:ext cx="1310588" cy="3810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 algn="ctr">
              <a:lnSpc>
                <a:spcPts val="3000"/>
              </a:lnSpc>
              <a:spcBef>
                <a:spcPts val="150"/>
              </a:spcBef>
            </a:pPr>
            <a:r>
              <a:rPr sz="4200" spc="0" baseline="1950" dirty="0" smtClean="0">
                <a:solidFill>
                  <a:srgbClr val="8063A1"/>
                </a:solidFill>
                <a:cs typeface="Calibri"/>
              </a:rPr>
              <a:t>distance</a:t>
            </a:r>
            <a:endParaRPr sz="2800" dirty="0">
              <a:cs typeface="Calibri"/>
            </a:endParaRPr>
          </a:p>
        </p:txBody>
      </p:sp>
      <p:sp>
        <p:nvSpPr>
          <p:cNvPr id="44" name="object 48"/>
          <p:cNvSpPr/>
          <p:nvPr/>
        </p:nvSpPr>
        <p:spPr>
          <a:xfrm>
            <a:off x="1028194" y="471414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553322935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9" name="object 82"/>
          <p:cNvSpPr/>
          <p:nvPr/>
        </p:nvSpPr>
        <p:spPr>
          <a:xfrm>
            <a:off x="4414372" y="54871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0" name="object 84"/>
          <p:cNvSpPr/>
          <p:nvPr/>
        </p:nvSpPr>
        <p:spPr>
          <a:xfrm>
            <a:off x="5399747" y="55212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1" name="object 86"/>
          <p:cNvSpPr/>
          <p:nvPr/>
        </p:nvSpPr>
        <p:spPr>
          <a:xfrm>
            <a:off x="6251551" y="55023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2" name="object 74"/>
          <p:cNvSpPr/>
          <p:nvPr/>
        </p:nvSpPr>
        <p:spPr>
          <a:xfrm>
            <a:off x="2668469" y="519520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3" name="object 72"/>
          <p:cNvSpPr/>
          <p:nvPr/>
        </p:nvSpPr>
        <p:spPr>
          <a:xfrm>
            <a:off x="5959366" y="251737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40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80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4" name="object 70"/>
          <p:cNvSpPr/>
          <p:nvPr/>
        </p:nvSpPr>
        <p:spPr>
          <a:xfrm>
            <a:off x="5560113" y="213564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5" name="object 68"/>
          <p:cNvSpPr/>
          <p:nvPr/>
        </p:nvSpPr>
        <p:spPr>
          <a:xfrm>
            <a:off x="5148028" y="1723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6" name="object 66"/>
          <p:cNvSpPr/>
          <p:nvPr/>
        </p:nvSpPr>
        <p:spPr>
          <a:xfrm>
            <a:off x="6872003" y="34121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094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7" name="object 63"/>
          <p:cNvSpPr/>
          <p:nvPr/>
        </p:nvSpPr>
        <p:spPr>
          <a:xfrm>
            <a:off x="5880842" y="502152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6"/>
                </a:lnTo>
                <a:lnTo>
                  <a:pt x="1583" y="198179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6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2"/>
                </a:lnTo>
                <a:lnTo>
                  <a:pt x="49876" y="299561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6"/>
                </a:lnTo>
                <a:lnTo>
                  <a:pt x="196530" y="342926"/>
                </a:lnTo>
                <a:lnTo>
                  <a:pt x="209650" y="339004"/>
                </a:lnTo>
                <a:lnTo>
                  <a:pt x="222295" y="333936"/>
                </a:lnTo>
                <a:lnTo>
                  <a:pt x="234413" y="327778"/>
                </a:lnTo>
                <a:lnTo>
                  <a:pt x="245953" y="320583"/>
                </a:lnTo>
                <a:lnTo>
                  <a:pt x="256864" y="312409"/>
                </a:lnTo>
                <a:lnTo>
                  <a:pt x="267095" y="303311"/>
                </a:lnTo>
                <a:lnTo>
                  <a:pt x="276595" y="293343"/>
                </a:lnTo>
                <a:lnTo>
                  <a:pt x="285312" y="282562"/>
                </a:lnTo>
                <a:lnTo>
                  <a:pt x="293195" y="271023"/>
                </a:lnTo>
                <a:lnTo>
                  <a:pt x="300193" y="258781"/>
                </a:lnTo>
                <a:lnTo>
                  <a:pt x="306255" y="245892"/>
                </a:lnTo>
                <a:lnTo>
                  <a:pt x="311330" y="232411"/>
                </a:lnTo>
                <a:lnTo>
                  <a:pt x="315366" y="218394"/>
                </a:lnTo>
                <a:lnTo>
                  <a:pt x="318312" y="203896"/>
                </a:lnTo>
                <a:lnTo>
                  <a:pt x="320117" y="188973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9" y="93485"/>
                </a:lnTo>
                <a:lnTo>
                  <a:pt x="296006" y="80986"/>
                </a:lnTo>
                <a:lnTo>
                  <a:pt x="288459" y="69169"/>
                </a:lnTo>
                <a:lnTo>
                  <a:pt x="280058" y="58089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4"/>
                </a:lnTo>
                <a:lnTo>
                  <a:pt x="86318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8" name="object 62"/>
          <p:cNvSpPr/>
          <p:nvPr/>
        </p:nvSpPr>
        <p:spPr>
          <a:xfrm>
            <a:off x="4326962" y="34938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9" name="object 60"/>
          <p:cNvSpPr/>
          <p:nvPr/>
        </p:nvSpPr>
        <p:spPr>
          <a:xfrm>
            <a:off x="3451263" y="457102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0" name="object 58"/>
          <p:cNvSpPr/>
          <p:nvPr/>
        </p:nvSpPr>
        <p:spPr>
          <a:xfrm>
            <a:off x="7513462" y="204543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1" name="object 56"/>
          <p:cNvSpPr/>
          <p:nvPr/>
        </p:nvSpPr>
        <p:spPr>
          <a:xfrm>
            <a:off x="6553321" y="196196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2" name="object 54"/>
          <p:cNvSpPr/>
          <p:nvPr/>
        </p:nvSpPr>
        <p:spPr>
          <a:xfrm>
            <a:off x="7353097" y="275391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3" name="object 52"/>
          <p:cNvSpPr/>
          <p:nvPr/>
        </p:nvSpPr>
        <p:spPr>
          <a:xfrm>
            <a:off x="4696124" y="412086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4" name="object 50"/>
          <p:cNvSpPr/>
          <p:nvPr/>
        </p:nvSpPr>
        <p:spPr>
          <a:xfrm>
            <a:off x="4441297" y="46123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5" name="object 48"/>
          <p:cNvSpPr/>
          <p:nvPr/>
        </p:nvSpPr>
        <p:spPr>
          <a:xfrm>
            <a:off x="3130532" y="40499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6" name="object 42"/>
          <p:cNvSpPr/>
          <p:nvPr/>
        </p:nvSpPr>
        <p:spPr>
          <a:xfrm>
            <a:off x="5748103" y="33118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7" name="object 44"/>
          <p:cNvSpPr/>
          <p:nvPr/>
        </p:nvSpPr>
        <p:spPr>
          <a:xfrm>
            <a:off x="5560113" y="25802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8" name="object 46"/>
          <p:cNvSpPr/>
          <p:nvPr/>
        </p:nvSpPr>
        <p:spPr>
          <a:xfrm>
            <a:off x="5421508" y="296447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9" name="object 40"/>
          <p:cNvSpPr/>
          <p:nvPr/>
        </p:nvSpPr>
        <p:spPr>
          <a:xfrm>
            <a:off x="5213120" y="49216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0" name="object 38"/>
          <p:cNvSpPr/>
          <p:nvPr/>
        </p:nvSpPr>
        <p:spPr>
          <a:xfrm>
            <a:off x="7032365" y="221911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1" name="object 36"/>
          <p:cNvSpPr/>
          <p:nvPr/>
        </p:nvSpPr>
        <p:spPr>
          <a:xfrm>
            <a:off x="7385165" y="340218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6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7"/>
                </a:lnTo>
                <a:lnTo>
                  <a:pt x="310251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094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2" name="object 34"/>
          <p:cNvSpPr/>
          <p:nvPr/>
        </p:nvSpPr>
        <p:spPr>
          <a:xfrm>
            <a:off x="5038354" y="24830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3" name="object 32"/>
          <p:cNvSpPr/>
          <p:nvPr/>
        </p:nvSpPr>
        <p:spPr>
          <a:xfrm>
            <a:off x="7192732" y="159327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4" name="object 30"/>
          <p:cNvSpPr/>
          <p:nvPr/>
        </p:nvSpPr>
        <p:spPr>
          <a:xfrm>
            <a:off x="6201572" y="316997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5" name="object 28"/>
          <p:cNvSpPr/>
          <p:nvPr/>
        </p:nvSpPr>
        <p:spPr>
          <a:xfrm>
            <a:off x="4877989" y="532865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6" name="object 26"/>
          <p:cNvSpPr/>
          <p:nvPr/>
        </p:nvSpPr>
        <p:spPr>
          <a:xfrm>
            <a:off x="5581873" y="4521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7" name="object 24"/>
          <p:cNvSpPr/>
          <p:nvPr/>
        </p:nvSpPr>
        <p:spPr>
          <a:xfrm>
            <a:off x="3528670" y="35173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8" name="object 22"/>
          <p:cNvSpPr/>
          <p:nvPr/>
        </p:nvSpPr>
        <p:spPr>
          <a:xfrm>
            <a:off x="3252845" y="520650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9" name="object 20"/>
          <p:cNvSpPr/>
          <p:nvPr/>
        </p:nvSpPr>
        <p:spPr>
          <a:xfrm>
            <a:off x="3849401" y="4051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0" name="object 18"/>
          <p:cNvSpPr/>
          <p:nvPr/>
        </p:nvSpPr>
        <p:spPr>
          <a:xfrm>
            <a:off x="6713687" y="269105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1" name="object 6"/>
          <p:cNvSpPr txBox="1"/>
          <p:nvPr/>
        </p:nvSpPr>
        <p:spPr>
          <a:xfrm>
            <a:off x="1332125" y="3759280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sp>
        <p:nvSpPr>
          <p:cNvPr id="112" name="object 5"/>
          <p:cNvSpPr txBox="1"/>
          <p:nvPr/>
        </p:nvSpPr>
        <p:spPr>
          <a:xfrm>
            <a:off x="5426815" y="6116930"/>
            <a:ext cx="542241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Age</a:t>
            </a:r>
            <a:endParaRPr sz="2400">
              <a:cs typeface="Calibri"/>
            </a:endParaRPr>
          </a:p>
        </p:txBody>
      </p:sp>
      <p:grpSp>
        <p:nvGrpSpPr>
          <p:cNvPr id="113" name="Group 112"/>
          <p:cNvGrpSpPr/>
          <p:nvPr/>
        </p:nvGrpSpPr>
        <p:grpSpPr>
          <a:xfrm>
            <a:off x="2383438" y="1888930"/>
            <a:ext cx="6303362" cy="4054670"/>
            <a:chOff x="2343901" y="1923700"/>
            <a:chExt cx="6303362" cy="4054670"/>
          </a:xfrm>
        </p:grpSpPr>
        <p:sp>
          <p:nvSpPr>
            <p:cNvPr id="114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115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  <p:sp>
        <p:nvSpPr>
          <p:cNvPr id="116" name="object 10"/>
          <p:cNvSpPr txBox="1"/>
          <p:nvPr/>
        </p:nvSpPr>
        <p:spPr>
          <a:xfrm>
            <a:off x="2101916" y="369650"/>
            <a:ext cx="6296519" cy="4318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3400"/>
              </a:lnSpc>
              <a:spcBef>
                <a:spcPts val="170"/>
              </a:spcBef>
            </a:pPr>
            <a:r>
              <a:rPr lang="en-US" sz="4800" baseline="1706" dirty="0">
                <a:solidFill>
                  <a:srgbClr val="4E81BC"/>
                </a:solidFill>
                <a:latin typeface="+mj-lt"/>
                <a:cs typeface="Calibri"/>
              </a:rPr>
              <a:t>Agglomerative </a:t>
            </a:r>
            <a:r>
              <a:rPr sz="4800" baseline="1706" dirty="0">
                <a:solidFill>
                  <a:srgbClr val="F69545"/>
                </a:solidFill>
                <a:latin typeface="+mj-lt"/>
                <a:cs typeface="Calibri"/>
              </a:rPr>
              <a:t>Hierarchical</a:t>
            </a:r>
            <a:r>
              <a:rPr sz="4800" spc="0" baseline="1706" dirty="0" smtClean="0">
                <a:solidFill>
                  <a:srgbClr val="4E81BC"/>
                </a:solidFill>
                <a:latin typeface="+mj-lt"/>
                <a:cs typeface="Calibri"/>
              </a:rPr>
              <a:t> Clustering</a:t>
            </a:r>
            <a:endParaRPr sz="3200" dirty="0">
              <a:latin typeface="+mj-lt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810524533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9" name="object 82"/>
          <p:cNvSpPr/>
          <p:nvPr/>
        </p:nvSpPr>
        <p:spPr>
          <a:xfrm>
            <a:off x="4414372" y="54871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0" name="object 84"/>
          <p:cNvSpPr/>
          <p:nvPr/>
        </p:nvSpPr>
        <p:spPr>
          <a:xfrm>
            <a:off x="5399747" y="55212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1" name="object 86"/>
          <p:cNvSpPr/>
          <p:nvPr/>
        </p:nvSpPr>
        <p:spPr>
          <a:xfrm>
            <a:off x="6251551" y="55023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2" name="object 74"/>
          <p:cNvSpPr/>
          <p:nvPr/>
        </p:nvSpPr>
        <p:spPr>
          <a:xfrm>
            <a:off x="2668469" y="519520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3" name="object 72"/>
          <p:cNvSpPr/>
          <p:nvPr/>
        </p:nvSpPr>
        <p:spPr>
          <a:xfrm>
            <a:off x="5959366" y="251737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40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80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4" name="object 70"/>
          <p:cNvSpPr/>
          <p:nvPr/>
        </p:nvSpPr>
        <p:spPr>
          <a:xfrm>
            <a:off x="5560113" y="213564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5" name="object 68"/>
          <p:cNvSpPr/>
          <p:nvPr/>
        </p:nvSpPr>
        <p:spPr>
          <a:xfrm>
            <a:off x="5148028" y="1723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6" name="object 66"/>
          <p:cNvSpPr/>
          <p:nvPr/>
        </p:nvSpPr>
        <p:spPr>
          <a:xfrm>
            <a:off x="6872003" y="34121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7" name="object 63"/>
          <p:cNvSpPr/>
          <p:nvPr/>
        </p:nvSpPr>
        <p:spPr>
          <a:xfrm>
            <a:off x="5880842" y="502152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6"/>
                </a:lnTo>
                <a:lnTo>
                  <a:pt x="1583" y="198179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6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2"/>
                </a:lnTo>
                <a:lnTo>
                  <a:pt x="49876" y="299561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6"/>
                </a:lnTo>
                <a:lnTo>
                  <a:pt x="196530" y="342926"/>
                </a:lnTo>
                <a:lnTo>
                  <a:pt x="209650" y="339004"/>
                </a:lnTo>
                <a:lnTo>
                  <a:pt x="222295" y="333936"/>
                </a:lnTo>
                <a:lnTo>
                  <a:pt x="234413" y="327778"/>
                </a:lnTo>
                <a:lnTo>
                  <a:pt x="245953" y="320583"/>
                </a:lnTo>
                <a:lnTo>
                  <a:pt x="256864" y="312409"/>
                </a:lnTo>
                <a:lnTo>
                  <a:pt x="267095" y="303311"/>
                </a:lnTo>
                <a:lnTo>
                  <a:pt x="276595" y="293343"/>
                </a:lnTo>
                <a:lnTo>
                  <a:pt x="285312" y="282562"/>
                </a:lnTo>
                <a:lnTo>
                  <a:pt x="293195" y="271023"/>
                </a:lnTo>
                <a:lnTo>
                  <a:pt x="300193" y="258781"/>
                </a:lnTo>
                <a:lnTo>
                  <a:pt x="306255" y="245892"/>
                </a:lnTo>
                <a:lnTo>
                  <a:pt x="311330" y="232411"/>
                </a:lnTo>
                <a:lnTo>
                  <a:pt x="315366" y="218394"/>
                </a:lnTo>
                <a:lnTo>
                  <a:pt x="318312" y="203896"/>
                </a:lnTo>
                <a:lnTo>
                  <a:pt x="320117" y="188973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9" y="93485"/>
                </a:lnTo>
                <a:lnTo>
                  <a:pt x="296006" y="80986"/>
                </a:lnTo>
                <a:lnTo>
                  <a:pt x="288459" y="69169"/>
                </a:lnTo>
                <a:lnTo>
                  <a:pt x="280058" y="58089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4"/>
                </a:lnTo>
                <a:lnTo>
                  <a:pt x="86318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8" name="object 62"/>
          <p:cNvSpPr/>
          <p:nvPr/>
        </p:nvSpPr>
        <p:spPr>
          <a:xfrm>
            <a:off x="4326962" y="34938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9" name="object 60"/>
          <p:cNvSpPr/>
          <p:nvPr/>
        </p:nvSpPr>
        <p:spPr>
          <a:xfrm>
            <a:off x="3451263" y="457102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0" name="object 58"/>
          <p:cNvSpPr/>
          <p:nvPr/>
        </p:nvSpPr>
        <p:spPr>
          <a:xfrm>
            <a:off x="7513462" y="204543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1" name="object 56"/>
          <p:cNvSpPr/>
          <p:nvPr/>
        </p:nvSpPr>
        <p:spPr>
          <a:xfrm>
            <a:off x="6553321" y="196196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2" name="object 54"/>
          <p:cNvSpPr/>
          <p:nvPr/>
        </p:nvSpPr>
        <p:spPr>
          <a:xfrm>
            <a:off x="7353097" y="275391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3" name="object 52"/>
          <p:cNvSpPr/>
          <p:nvPr/>
        </p:nvSpPr>
        <p:spPr>
          <a:xfrm>
            <a:off x="4696124" y="412086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4" name="object 50"/>
          <p:cNvSpPr/>
          <p:nvPr/>
        </p:nvSpPr>
        <p:spPr>
          <a:xfrm>
            <a:off x="4441297" y="46123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5" name="object 48"/>
          <p:cNvSpPr/>
          <p:nvPr/>
        </p:nvSpPr>
        <p:spPr>
          <a:xfrm>
            <a:off x="3130532" y="40499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6" name="object 42"/>
          <p:cNvSpPr/>
          <p:nvPr/>
        </p:nvSpPr>
        <p:spPr>
          <a:xfrm>
            <a:off x="5748103" y="33118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7" name="object 44"/>
          <p:cNvSpPr/>
          <p:nvPr/>
        </p:nvSpPr>
        <p:spPr>
          <a:xfrm>
            <a:off x="5560113" y="25802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8" name="object 46"/>
          <p:cNvSpPr/>
          <p:nvPr/>
        </p:nvSpPr>
        <p:spPr>
          <a:xfrm>
            <a:off x="5421508" y="296447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9" name="object 40"/>
          <p:cNvSpPr/>
          <p:nvPr/>
        </p:nvSpPr>
        <p:spPr>
          <a:xfrm>
            <a:off x="5213120" y="49216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0" name="object 38"/>
          <p:cNvSpPr/>
          <p:nvPr/>
        </p:nvSpPr>
        <p:spPr>
          <a:xfrm>
            <a:off x="7032365" y="221911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1" name="object 36"/>
          <p:cNvSpPr/>
          <p:nvPr/>
        </p:nvSpPr>
        <p:spPr>
          <a:xfrm>
            <a:off x="7385165" y="340218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6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7"/>
                </a:lnTo>
                <a:lnTo>
                  <a:pt x="310251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2" name="object 34"/>
          <p:cNvSpPr/>
          <p:nvPr/>
        </p:nvSpPr>
        <p:spPr>
          <a:xfrm>
            <a:off x="5038354" y="24830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3" name="object 32"/>
          <p:cNvSpPr/>
          <p:nvPr/>
        </p:nvSpPr>
        <p:spPr>
          <a:xfrm>
            <a:off x="7192732" y="159327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4" name="object 30"/>
          <p:cNvSpPr/>
          <p:nvPr/>
        </p:nvSpPr>
        <p:spPr>
          <a:xfrm>
            <a:off x="6201572" y="316997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5" name="object 28"/>
          <p:cNvSpPr/>
          <p:nvPr/>
        </p:nvSpPr>
        <p:spPr>
          <a:xfrm>
            <a:off x="4877989" y="532865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6" name="object 26"/>
          <p:cNvSpPr/>
          <p:nvPr/>
        </p:nvSpPr>
        <p:spPr>
          <a:xfrm>
            <a:off x="5581873" y="4521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7" name="object 24"/>
          <p:cNvSpPr/>
          <p:nvPr/>
        </p:nvSpPr>
        <p:spPr>
          <a:xfrm>
            <a:off x="3528670" y="35173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8" name="object 22"/>
          <p:cNvSpPr/>
          <p:nvPr/>
        </p:nvSpPr>
        <p:spPr>
          <a:xfrm>
            <a:off x="3252845" y="520650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9" name="object 20"/>
          <p:cNvSpPr/>
          <p:nvPr/>
        </p:nvSpPr>
        <p:spPr>
          <a:xfrm>
            <a:off x="3849401" y="4051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0" name="object 18"/>
          <p:cNvSpPr/>
          <p:nvPr/>
        </p:nvSpPr>
        <p:spPr>
          <a:xfrm>
            <a:off x="6713687" y="269105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1" name="object 6"/>
          <p:cNvSpPr txBox="1"/>
          <p:nvPr/>
        </p:nvSpPr>
        <p:spPr>
          <a:xfrm>
            <a:off x="1332125" y="3759280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sp>
        <p:nvSpPr>
          <p:cNvPr id="112" name="object 5"/>
          <p:cNvSpPr txBox="1"/>
          <p:nvPr/>
        </p:nvSpPr>
        <p:spPr>
          <a:xfrm>
            <a:off x="5426815" y="6116930"/>
            <a:ext cx="542241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Age</a:t>
            </a:r>
            <a:endParaRPr sz="2400">
              <a:cs typeface="Calibri"/>
            </a:endParaRPr>
          </a:p>
        </p:txBody>
      </p:sp>
      <p:grpSp>
        <p:nvGrpSpPr>
          <p:cNvPr id="113" name="Group 112"/>
          <p:cNvGrpSpPr/>
          <p:nvPr/>
        </p:nvGrpSpPr>
        <p:grpSpPr>
          <a:xfrm>
            <a:off x="2383438" y="1888930"/>
            <a:ext cx="6303362" cy="4054670"/>
            <a:chOff x="2343901" y="1923700"/>
            <a:chExt cx="6303362" cy="4054670"/>
          </a:xfrm>
        </p:grpSpPr>
        <p:sp>
          <p:nvSpPr>
            <p:cNvPr id="114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115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  <p:sp>
        <p:nvSpPr>
          <p:cNvPr id="116" name="object 10"/>
          <p:cNvSpPr txBox="1"/>
          <p:nvPr/>
        </p:nvSpPr>
        <p:spPr>
          <a:xfrm>
            <a:off x="2101916" y="369650"/>
            <a:ext cx="6296519" cy="4318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3400"/>
              </a:lnSpc>
              <a:spcBef>
                <a:spcPts val="170"/>
              </a:spcBef>
            </a:pPr>
            <a:r>
              <a:rPr lang="en-US" sz="4800" baseline="1706" dirty="0">
                <a:solidFill>
                  <a:srgbClr val="4E81BC"/>
                </a:solidFill>
                <a:latin typeface="+mj-lt"/>
                <a:cs typeface="Calibri"/>
              </a:rPr>
              <a:t>Agglomerative </a:t>
            </a:r>
            <a:r>
              <a:rPr sz="4800" baseline="1706" dirty="0">
                <a:solidFill>
                  <a:srgbClr val="F69545"/>
                </a:solidFill>
                <a:latin typeface="+mj-lt"/>
                <a:cs typeface="Calibri"/>
              </a:rPr>
              <a:t>Hierarchical</a:t>
            </a:r>
            <a:r>
              <a:rPr sz="4800" spc="0" baseline="1706" dirty="0" smtClean="0">
                <a:solidFill>
                  <a:srgbClr val="4E81BC"/>
                </a:solidFill>
                <a:latin typeface="+mj-lt"/>
                <a:cs typeface="Calibri"/>
              </a:rPr>
              <a:t> Clustering</a:t>
            </a:r>
            <a:endParaRPr sz="3200" dirty="0">
              <a:latin typeface="+mj-lt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4222025739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object 8"/>
          <p:cNvSpPr/>
          <p:nvPr/>
        </p:nvSpPr>
        <p:spPr>
          <a:xfrm>
            <a:off x="1786879" y="5254236"/>
            <a:ext cx="320730" cy="347361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ln w="25399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9" name="object 26"/>
          <p:cNvSpPr/>
          <p:nvPr/>
        </p:nvSpPr>
        <p:spPr>
          <a:xfrm>
            <a:off x="3485667" y="528769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0" name="object 68"/>
          <p:cNvSpPr/>
          <p:nvPr/>
        </p:nvSpPr>
        <p:spPr>
          <a:xfrm>
            <a:off x="5376346" y="528782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1" name="object 32"/>
          <p:cNvSpPr/>
          <p:nvPr/>
        </p:nvSpPr>
        <p:spPr>
          <a:xfrm>
            <a:off x="7835202" y="528769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3" name="object 10"/>
          <p:cNvSpPr txBox="1"/>
          <p:nvPr/>
        </p:nvSpPr>
        <p:spPr>
          <a:xfrm>
            <a:off x="2101916" y="369650"/>
            <a:ext cx="6296519" cy="4318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3400"/>
              </a:lnSpc>
              <a:spcBef>
                <a:spcPts val="170"/>
              </a:spcBef>
            </a:pPr>
            <a:r>
              <a:rPr lang="en-US" sz="4800" baseline="1706" dirty="0">
                <a:solidFill>
                  <a:srgbClr val="4E81BC"/>
                </a:solidFill>
                <a:latin typeface="+mj-lt"/>
                <a:cs typeface="Calibri"/>
              </a:rPr>
              <a:t>Agglomerative </a:t>
            </a:r>
            <a:r>
              <a:rPr sz="4800" baseline="1706" dirty="0">
                <a:solidFill>
                  <a:srgbClr val="F69545"/>
                </a:solidFill>
                <a:latin typeface="+mj-lt"/>
                <a:cs typeface="Calibri"/>
              </a:rPr>
              <a:t>Hierarchical</a:t>
            </a:r>
            <a:r>
              <a:rPr sz="4800" spc="0" baseline="1706" dirty="0" smtClean="0">
                <a:solidFill>
                  <a:srgbClr val="4E81BC"/>
                </a:solidFill>
                <a:latin typeface="+mj-lt"/>
                <a:cs typeface="Calibri"/>
              </a:rPr>
              <a:t> Clustering</a:t>
            </a:r>
            <a:endParaRPr sz="3200" dirty="0">
              <a:latin typeface="+mj-lt"/>
              <a:cs typeface="Calibri"/>
            </a:endParaRPr>
          </a:p>
        </p:txBody>
      </p:sp>
      <p:sp>
        <p:nvSpPr>
          <p:cNvPr id="27" name="Freeform 26"/>
          <p:cNvSpPr/>
          <p:nvPr/>
        </p:nvSpPr>
        <p:spPr>
          <a:xfrm>
            <a:off x="1371599" y="4876800"/>
            <a:ext cx="596901" cy="381000"/>
          </a:xfrm>
          <a:custGeom>
            <a:avLst/>
            <a:gdLst>
              <a:gd name="connsiteX0" fmla="*/ 0 w 571617"/>
              <a:gd name="connsiteY0" fmla="*/ 3770 h 413345"/>
              <a:gd name="connsiteX1" fmla="*/ 0 w 571617"/>
              <a:gd name="connsiteY1" fmla="*/ 3770 h 413345"/>
              <a:gd name="connsiteX2" fmla="*/ 476250 w 571617"/>
              <a:gd name="connsiteY2" fmla="*/ 6945 h 413345"/>
              <a:gd name="connsiteX3" fmla="*/ 571500 w 571617"/>
              <a:gd name="connsiteY3" fmla="*/ 32345 h 413345"/>
              <a:gd name="connsiteX4" fmla="*/ 571500 w 571617"/>
              <a:gd name="connsiteY4" fmla="*/ 413345 h 413345"/>
              <a:gd name="connsiteX0" fmla="*/ 0 w 571500"/>
              <a:gd name="connsiteY0" fmla="*/ 8358 h 417933"/>
              <a:gd name="connsiteX1" fmla="*/ 0 w 571500"/>
              <a:gd name="connsiteY1" fmla="*/ 8358 h 417933"/>
              <a:gd name="connsiteX2" fmla="*/ 476250 w 571500"/>
              <a:gd name="connsiteY2" fmla="*/ 11533 h 417933"/>
              <a:gd name="connsiteX3" fmla="*/ 571500 w 571500"/>
              <a:gd name="connsiteY3" fmla="*/ 36933 h 417933"/>
              <a:gd name="connsiteX4" fmla="*/ 571500 w 571500"/>
              <a:gd name="connsiteY4" fmla="*/ 417933 h 417933"/>
              <a:gd name="connsiteX0" fmla="*/ 0 w 571500"/>
              <a:gd name="connsiteY0" fmla="*/ 0 h 409575"/>
              <a:gd name="connsiteX1" fmla="*/ 0 w 571500"/>
              <a:gd name="connsiteY1" fmla="*/ 0 h 409575"/>
              <a:gd name="connsiteX2" fmla="*/ 571500 w 571500"/>
              <a:gd name="connsiteY2" fmla="*/ 28575 h 409575"/>
              <a:gd name="connsiteX3" fmla="*/ 571500 w 571500"/>
              <a:gd name="connsiteY3" fmla="*/ 409575 h 409575"/>
              <a:gd name="connsiteX0" fmla="*/ 0 w 577850"/>
              <a:gd name="connsiteY0" fmla="*/ 0 h 409575"/>
              <a:gd name="connsiteX1" fmla="*/ 0 w 577850"/>
              <a:gd name="connsiteY1" fmla="*/ 0 h 409575"/>
              <a:gd name="connsiteX2" fmla="*/ 577850 w 577850"/>
              <a:gd name="connsiteY2" fmla="*/ 3175 h 409575"/>
              <a:gd name="connsiteX3" fmla="*/ 571500 w 577850"/>
              <a:gd name="connsiteY3" fmla="*/ 409575 h 4095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77850" h="409575">
                <a:moveTo>
                  <a:pt x="0" y="0"/>
                </a:moveTo>
                <a:lnTo>
                  <a:pt x="0" y="0"/>
                </a:lnTo>
                <a:lnTo>
                  <a:pt x="577850" y="3175"/>
                </a:lnTo>
                <a:lnTo>
                  <a:pt x="571500" y="409575"/>
                </a:lnTo>
              </a:path>
            </a:pathLst>
          </a:custGeom>
          <a:noFill/>
          <a:ln>
            <a:solidFill>
              <a:srgbClr val="6094C9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Freeform 27"/>
          <p:cNvSpPr/>
          <p:nvPr/>
        </p:nvSpPr>
        <p:spPr>
          <a:xfrm flipH="1">
            <a:off x="451015" y="4876800"/>
            <a:ext cx="596901" cy="381000"/>
          </a:xfrm>
          <a:custGeom>
            <a:avLst/>
            <a:gdLst>
              <a:gd name="connsiteX0" fmla="*/ 0 w 571617"/>
              <a:gd name="connsiteY0" fmla="*/ 3770 h 413345"/>
              <a:gd name="connsiteX1" fmla="*/ 0 w 571617"/>
              <a:gd name="connsiteY1" fmla="*/ 3770 h 413345"/>
              <a:gd name="connsiteX2" fmla="*/ 476250 w 571617"/>
              <a:gd name="connsiteY2" fmla="*/ 6945 h 413345"/>
              <a:gd name="connsiteX3" fmla="*/ 571500 w 571617"/>
              <a:gd name="connsiteY3" fmla="*/ 32345 h 413345"/>
              <a:gd name="connsiteX4" fmla="*/ 571500 w 571617"/>
              <a:gd name="connsiteY4" fmla="*/ 413345 h 413345"/>
              <a:gd name="connsiteX0" fmla="*/ 0 w 571500"/>
              <a:gd name="connsiteY0" fmla="*/ 8358 h 417933"/>
              <a:gd name="connsiteX1" fmla="*/ 0 w 571500"/>
              <a:gd name="connsiteY1" fmla="*/ 8358 h 417933"/>
              <a:gd name="connsiteX2" fmla="*/ 476250 w 571500"/>
              <a:gd name="connsiteY2" fmla="*/ 11533 h 417933"/>
              <a:gd name="connsiteX3" fmla="*/ 571500 w 571500"/>
              <a:gd name="connsiteY3" fmla="*/ 36933 h 417933"/>
              <a:gd name="connsiteX4" fmla="*/ 571500 w 571500"/>
              <a:gd name="connsiteY4" fmla="*/ 417933 h 417933"/>
              <a:gd name="connsiteX0" fmla="*/ 0 w 571500"/>
              <a:gd name="connsiteY0" fmla="*/ 0 h 409575"/>
              <a:gd name="connsiteX1" fmla="*/ 0 w 571500"/>
              <a:gd name="connsiteY1" fmla="*/ 0 h 409575"/>
              <a:gd name="connsiteX2" fmla="*/ 571500 w 571500"/>
              <a:gd name="connsiteY2" fmla="*/ 28575 h 409575"/>
              <a:gd name="connsiteX3" fmla="*/ 571500 w 571500"/>
              <a:gd name="connsiteY3" fmla="*/ 409575 h 409575"/>
              <a:gd name="connsiteX0" fmla="*/ 0 w 577850"/>
              <a:gd name="connsiteY0" fmla="*/ 0 h 409575"/>
              <a:gd name="connsiteX1" fmla="*/ 0 w 577850"/>
              <a:gd name="connsiteY1" fmla="*/ 0 h 409575"/>
              <a:gd name="connsiteX2" fmla="*/ 577850 w 577850"/>
              <a:gd name="connsiteY2" fmla="*/ 3175 h 409575"/>
              <a:gd name="connsiteX3" fmla="*/ 571500 w 577850"/>
              <a:gd name="connsiteY3" fmla="*/ 409575 h 4095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77850" h="409575">
                <a:moveTo>
                  <a:pt x="0" y="0"/>
                </a:moveTo>
                <a:lnTo>
                  <a:pt x="0" y="0"/>
                </a:lnTo>
                <a:lnTo>
                  <a:pt x="577850" y="3175"/>
                </a:lnTo>
                <a:lnTo>
                  <a:pt x="571500" y="409575"/>
                </a:lnTo>
              </a:path>
            </a:pathLst>
          </a:custGeom>
          <a:noFill/>
          <a:ln>
            <a:solidFill>
              <a:srgbClr val="6094C9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" name="object 5"/>
          <p:cNvSpPr/>
          <p:nvPr/>
        </p:nvSpPr>
        <p:spPr>
          <a:xfrm>
            <a:off x="8676629" y="1036574"/>
            <a:ext cx="0" cy="4598485"/>
          </a:xfrm>
          <a:custGeom>
            <a:avLst/>
            <a:gdLst/>
            <a:ahLst/>
            <a:cxnLst/>
            <a:rect l="l" t="t" r="r" b="b"/>
            <a:pathLst>
              <a:path h="4598485">
                <a:moveTo>
                  <a:pt x="0" y="4598485"/>
                </a:moveTo>
                <a:lnTo>
                  <a:pt x="0" y="0"/>
                </a:lnTo>
              </a:path>
            </a:pathLst>
          </a:custGeom>
          <a:ln w="38099">
            <a:solidFill>
              <a:srgbClr val="937AB1"/>
            </a:solidFill>
            <a:tailEnd type="arrow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0" name="object 2"/>
          <p:cNvSpPr txBox="1"/>
          <p:nvPr/>
        </p:nvSpPr>
        <p:spPr>
          <a:xfrm rot="5400000">
            <a:off x="8269473" y="3145316"/>
            <a:ext cx="1310588" cy="3810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 algn="ctr">
              <a:lnSpc>
                <a:spcPts val="3000"/>
              </a:lnSpc>
              <a:spcBef>
                <a:spcPts val="150"/>
              </a:spcBef>
            </a:pPr>
            <a:r>
              <a:rPr sz="4200" spc="0" baseline="1950" dirty="0" smtClean="0">
                <a:solidFill>
                  <a:srgbClr val="8063A1"/>
                </a:solidFill>
                <a:cs typeface="Calibri"/>
              </a:rPr>
              <a:t>distance</a:t>
            </a:r>
            <a:endParaRPr sz="2800" dirty="0">
              <a:cs typeface="Calibri"/>
            </a:endParaRPr>
          </a:p>
        </p:txBody>
      </p:sp>
      <p:sp>
        <p:nvSpPr>
          <p:cNvPr id="31" name="Freeform 30"/>
          <p:cNvSpPr/>
          <p:nvPr/>
        </p:nvSpPr>
        <p:spPr>
          <a:xfrm>
            <a:off x="6814291" y="3678833"/>
            <a:ext cx="1186709" cy="1608866"/>
          </a:xfrm>
          <a:custGeom>
            <a:avLst/>
            <a:gdLst>
              <a:gd name="connsiteX0" fmla="*/ 0 w 571617"/>
              <a:gd name="connsiteY0" fmla="*/ 3770 h 413345"/>
              <a:gd name="connsiteX1" fmla="*/ 0 w 571617"/>
              <a:gd name="connsiteY1" fmla="*/ 3770 h 413345"/>
              <a:gd name="connsiteX2" fmla="*/ 476250 w 571617"/>
              <a:gd name="connsiteY2" fmla="*/ 6945 h 413345"/>
              <a:gd name="connsiteX3" fmla="*/ 571500 w 571617"/>
              <a:gd name="connsiteY3" fmla="*/ 32345 h 413345"/>
              <a:gd name="connsiteX4" fmla="*/ 571500 w 571617"/>
              <a:gd name="connsiteY4" fmla="*/ 413345 h 413345"/>
              <a:gd name="connsiteX0" fmla="*/ 0 w 571500"/>
              <a:gd name="connsiteY0" fmla="*/ 8358 h 417933"/>
              <a:gd name="connsiteX1" fmla="*/ 0 w 571500"/>
              <a:gd name="connsiteY1" fmla="*/ 8358 h 417933"/>
              <a:gd name="connsiteX2" fmla="*/ 476250 w 571500"/>
              <a:gd name="connsiteY2" fmla="*/ 11533 h 417933"/>
              <a:gd name="connsiteX3" fmla="*/ 571500 w 571500"/>
              <a:gd name="connsiteY3" fmla="*/ 36933 h 417933"/>
              <a:gd name="connsiteX4" fmla="*/ 571500 w 571500"/>
              <a:gd name="connsiteY4" fmla="*/ 417933 h 417933"/>
              <a:gd name="connsiteX0" fmla="*/ 0 w 571500"/>
              <a:gd name="connsiteY0" fmla="*/ 0 h 409575"/>
              <a:gd name="connsiteX1" fmla="*/ 0 w 571500"/>
              <a:gd name="connsiteY1" fmla="*/ 0 h 409575"/>
              <a:gd name="connsiteX2" fmla="*/ 571500 w 571500"/>
              <a:gd name="connsiteY2" fmla="*/ 28575 h 409575"/>
              <a:gd name="connsiteX3" fmla="*/ 571500 w 571500"/>
              <a:gd name="connsiteY3" fmla="*/ 409575 h 409575"/>
              <a:gd name="connsiteX0" fmla="*/ 0 w 577850"/>
              <a:gd name="connsiteY0" fmla="*/ 0 h 409575"/>
              <a:gd name="connsiteX1" fmla="*/ 0 w 577850"/>
              <a:gd name="connsiteY1" fmla="*/ 0 h 409575"/>
              <a:gd name="connsiteX2" fmla="*/ 577850 w 577850"/>
              <a:gd name="connsiteY2" fmla="*/ 3175 h 409575"/>
              <a:gd name="connsiteX3" fmla="*/ 571500 w 577850"/>
              <a:gd name="connsiteY3" fmla="*/ 409575 h 4095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77850" h="409575">
                <a:moveTo>
                  <a:pt x="0" y="0"/>
                </a:moveTo>
                <a:lnTo>
                  <a:pt x="0" y="0"/>
                </a:lnTo>
                <a:lnTo>
                  <a:pt x="577850" y="3175"/>
                </a:lnTo>
                <a:lnTo>
                  <a:pt x="571500" y="409575"/>
                </a:lnTo>
              </a:path>
            </a:pathLst>
          </a:custGeom>
          <a:noFill/>
          <a:ln>
            <a:solidFill>
              <a:srgbClr val="6094C9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3" name="Freeform 32"/>
          <p:cNvSpPr/>
          <p:nvPr/>
        </p:nvSpPr>
        <p:spPr>
          <a:xfrm flipH="1">
            <a:off x="5486826" y="3678833"/>
            <a:ext cx="1186709" cy="1608866"/>
          </a:xfrm>
          <a:custGeom>
            <a:avLst/>
            <a:gdLst>
              <a:gd name="connsiteX0" fmla="*/ 0 w 571617"/>
              <a:gd name="connsiteY0" fmla="*/ 3770 h 413345"/>
              <a:gd name="connsiteX1" fmla="*/ 0 w 571617"/>
              <a:gd name="connsiteY1" fmla="*/ 3770 h 413345"/>
              <a:gd name="connsiteX2" fmla="*/ 476250 w 571617"/>
              <a:gd name="connsiteY2" fmla="*/ 6945 h 413345"/>
              <a:gd name="connsiteX3" fmla="*/ 571500 w 571617"/>
              <a:gd name="connsiteY3" fmla="*/ 32345 h 413345"/>
              <a:gd name="connsiteX4" fmla="*/ 571500 w 571617"/>
              <a:gd name="connsiteY4" fmla="*/ 413345 h 413345"/>
              <a:gd name="connsiteX0" fmla="*/ 0 w 571500"/>
              <a:gd name="connsiteY0" fmla="*/ 8358 h 417933"/>
              <a:gd name="connsiteX1" fmla="*/ 0 w 571500"/>
              <a:gd name="connsiteY1" fmla="*/ 8358 h 417933"/>
              <a:gd name="connsiteX2" fmla="*/ 476250 w 571500"/>
              <a:gd name="connsiteY2" fmla="*/ 11533 h 417933"/>
              <a:gd name="connsiteX3" fmla="*/ 571500 w 571500"/>
              <a:gd name="connsiteY3" fmla="*/ 36933 h 417933"/>
              <a:gd name="connsiteX4" fmla="*/ 571500 w 571500"/>
              <a:gd name="connsiteY4" fmla="*/ 417933 h 417933"/>
              <a:gd name="connsiteX0" fmla="*/ 0 w 571500"/>
              <a:gd name="connsiteY0" fmla="*/ 0 h 409575"/>
              <a:gd name="connsiteX1" fmla="*/ 0 w 571500"/>
              <a:gd name="connsiteY1" fmla="*/ 0 h 409575"/>
              <a:gd name="connsiteX2" fmla="*/ 571500 w 571500"/>
              <a:gd name="connsiteY2" fmla="*/ 28575 h 409575"/>
              <a:gd name="connsiteX3" fmla="*/ 571500 w 571500"/>
              <a:gd name="connsiteY3" fmla="*/ 409575 h 409575"/>
              <a:gd name="connsiteX0" fmla="*/ 0 w 577850"/>
              <a:gd name="connsiteY0" fmla="*/ 0 h 409575"/>
              <a:gd name="connsiteX1" fmla="*/ 0 w 577850"/>
              <a:gd name="connsiteY1" fmla="*/ 0 h 409575"/>
              <a:gd name="connsiteX2" fmla="*/ 577850 w 577850"/>
              <a:gd name="connsiteY2" fmla="*/ 3175 h 409575"/>
              <a:gd name="connsiteX3" fmla="*/ 571500 w 577850"/>
              <a:gd name="connsiteY3" fmla="*/ 409575 h 4095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77850" h="409575">
                <a:moveTo>
                  <a:pt x="0" y="0"/>
                </a:moveTo>
                <a:lnTo>
                  <a:pt x="0" y="0"/>
                </a:lnTo>
                <a:lnTo>
                  <a:pt x="577850" y="3175"/>
                </a:lnTo>
                <a:lnTo>
                  <a:pt x="571500" y="409575"/>
                </a:lnTo>
              </a:path>
            </a:pathLst>
          </a:custGeom>
          <a:noFill/>
          <a:ln>
            <a:solidFill>
              <a:srgbClr val="6094C9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5" name="object 68"/>
          <p:cNvSpPr/>
          <p:nvPr/>
        </p:nvSpPr>
        <p:spPr>
          <a:xfrm>
            <a:off x="6605774" y="352186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2" name="object 48"/>
          <p:cNvSpPr/>
          <p:nvPr/>
        </p:nvSpPr>
        <p:spPr>
          <a:xfrm>
            <a:off x="1028194" y="471414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7" name="object 74"/>
          <p:cNvSpPr/>
          <p:nvPr/>
        </p:nvSpPr>
        <p:spPr>
          <a:xfrm>
            <a:off x="286325" y="525423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7F1676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8" name="object 48"/>
          <p:cNvSpPr/>
          <p:nvPr/>
        </p:nvSpPr>
        <p:spPr>
          <a:xfrm>
            <a:off x="1773507" y="525423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006820609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" name="object 10"/>
          <p:cNvSpPr txBox="1"/>
          <p:nvPr/>
        </p:nvSpPr>
        <p:spPr>
          <a:xfrm>
            <a:off x="2101916" y="369650"/>
            <a:ext cx="6296519" cy="4318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3400"/>
              </a:lnSpc>
              <a:spcBef>
                <a:spcPts val="170"/>
              </a:spcBef>
            </a:pPr>
            <a:r>
              <a:rPr lang="en-US" sz="4800" baseline="1706" dirty="0">
                <a:solidFill>
                  <a:srgbClr val="4E81BC"/>
                </a:solidFill>
                <a:latin typeface="+mj-lt"/>
                <a:cs typeface="Calibri"/>
              </a:rPr>
              <a:t>Agglomerative </a:t>
            </a:r>
            <a:r>
              <a:rPr sz="4800" baseline="1706" dirty="0">
                <a:solidFill>
                  <a:srgbClr val="F69545"/>
                </a:solidFill>
                <a:latin typeface="+mj-lt"/>
                <a:cs typeface="Calibri"/>
              </a:rPr>
              <a:t>Hierarchical</a:t>
            </a:r>
            <a:r>
              <a:rPr sz="4800" spc="0" baseline="1706" dirty="0" smtClean="0">
                <a:solidFill>
                  <a:srgbClr val="4E81BC"/>
                </a:solidFill>
                <a:latin typeface="+mj-lt"/>
                <a:cs typeface="Calibri"/>
              </a:rPr>
              <a:t> Clustering</a:t>
            </a:r>
            <a:endParaRPr sz="3200" dirty="0">
              <a:latin typeface="+mj-lt"/>
              <a:cs typeface="Calibri"/>
            </a:endParaRPr>
          </a:p>
        </p:txBody>
      </p:sp>
      <p:sp>
        <p:nvSpPr>
          <p:cNvPr id="29" name="object 8"/>
          <p:cNvSpPr/>
          <p:nvPr/>
        </p:nvSpPr>
        <p:spPr>
          <a:xfrm>
            <a:off x="1786879" y="5254236"/>
            <a:ext cx="320730" cy="347361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ln w="25399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0" name="object 26"/>
          <p:cNvSpPr/>
          <p:nvPr/>
        </p:nvSpPr>
        <p:spPr>
          <a:xfrm>
            <a:off x="3485667" y="528769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1" name="object 68"/>
          <p:cNvSpPr/>
          <p:nvPr/>
        </p:nvSpPr>
        <p:spPr>
          <a:xfrm>
            <a:off x="5376346" y="528782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2" name="object 32"/>
          <p:cNvSpPr/>
          <p:nvPr/>
        </p:nvSpPr>
        <p:spPr>
          <a:xfrm>
            <a:off x="7835202" y="528769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3" name="Freeform 32"/>
          <p:cNvSpPr/>
          <p:nvPr/>
        </p:nvSpPr>
        <p:spPr>
          <a:xfrm>
            <a:off x="1371599" y="4876800"/>
            <a:ext cx="596901" cy="381000"/>
          </a:xfrm>
          <a:custGeom>
            <a:avLst/>
            <a:gdLst>
              <a:gd name="connsiteX0" fmla="*/ 0 w 571617"/>
              <a:gd name="connsiteY0" fmla="*/ 3770 h 413345"/>
              <a:gd name="connsiteX1" fmla="*/ 0 w 571617"/>
              <a:gd name="connsiteY1" fmla="*/ 3770 h 413345"/>
              <a:gd name="connsiteX2" fmla="*/ 476250 w 571617"/>
              <a:gd name="connsiteY2" fmla="*/ 6945 h 413345"/>
              <a:gd name="connsiteX3" fmla="*/ 571500 w 571617"/>
              <a:gd name="connsiteY3" fmla="*/ 32345 h 413345"/>
              <a:gd name="connsiteX4" fmla="*/ 571500 w 571617"/>
              <a:gd name="connsiteY4" fmla="*/ 413345 h 413345"/>
              <a:gd name="connsiteX0" fmla="*/ 0 w 571500"/>
              <a:gd name="connsiteY0" fmla="*/ 8358 h 417933"/>
              <a:gd name="connsiteX1" fmla="*/ 0 w 571500"/>
              <a:gd name="connsiteY1" fmla="*/ 8358 h 417933"/>
              <a:gd name="connsiteX2" fmla="*/ 476250 w 571500"/>
              <a:gd name="connsiteY2" fmla="*/ 11533 h 417933"/>
              <a:gd name="connsiteX3" fmla="*/ 571500 w 571500"/>
              <a:gd name="connsiteY3" fmla="*/ 36933 h 417933"/>
              <a:gd name="connsiteX4" fmla="*/ 571500 w 571500"/>
              <a:gd name="connsiteY4" fmla="*/ 417933 h 417933"/>
              <a:gd name="connsiteX0" fmla="*/ 0 w 571500"/>
              <a:gd name="connsiteY0" fmla="*/ 0 h 409575"/>
              <a:gd name="connsiteX1" fmla="*/ 0 w 571500"/>
              <a:gd name="connsiteY1" fmla="*/ 0 h 409575"/>
              <a:gd name="connsiteX2" fmla="*/ 571500 w 571500"/>
              <a:gd name="connsiteY2" fmla="*/ 28575 h 409575"/>
              <a:gd name="connsiteX3" fmla="*/ 571500 w 571500"/>
              <a:gd name="connsiteY3" fmla="*/ 409575 h 409575"/>
              <a:gd name="connsiteX0" fmla="*/ 0 w 577850"/>
              <a:gd name="connsiteY0" fmla="*/ 0 h 409575"/>
              <a:gd name="connsiteX1" fmla="*/ 0 w 577850"/>
              <a:gd name="connsiteY1" fmla="*/ 0 h 409575"/>
              <a:gd name="connsiteX2" fmla="*/ 577850 w 577850"/>
              <a:gd name="connsiteY2" fmla="*/ 3175 h 409575"/>
              <a:gd name="connsiteX3" fmla="*/ 571500 w 577850"/>
              <a:gd name="connsiteY3" fmla="*/ 409575 h 4095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77850" h="409575">
                <a:moveTo>
                  <a:pt x="0" y="0"/>
                </a:moveTo>
                <a:lnTo>
                  <a:pt x="0" y="0"/>
                </a:lnTo>
                <a:lnTo>
                  <a:pt x="577850" y="3175"/>
                </a:lnTo>
                <a:lnTo>
                  <a:pt x="571500" y="409575"/>
                </a:lnTo>
              </a:path>
            </a:pathLst>
          </a:custGeom>
          <a:noFill/>
          <a:ln>
            <a:solidFill>
              <a:srgbClr val="6094C9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Freeform 33"/>
          <p:cNvSpPr/>
          <p:nvPr/>
        </p:nvSpPr>
        <p:spPr>
          <a:xfrm flipH="1">
            <a:off x="451015" y="4876800"/>
            <a:ext cx="596901" cy="381000"/>
          </a:xfrm>
          <a:custGeom>
            <a:avLst/>
            <a:gdLst>
              <a:gd name="connsiteX0" fmla="*/ 0 w 571617"/>
              <a:gd name="connsiteY0" fmla="*/ 3770 h 413345"/>
              <a:gd name="connsiteX1" fmla="*/ 0 w 571617"/>
              <a:gd name="connsiteY1" fmla="*/ 3770 h 413345"/>
              <a:gd name="connsiteX2" fmla="*/ 476250 w 571617"/>
              <a:gd name="connsiteY2" fmla="*/ 6945 h 413345"/>
              <a:gd name="connsiteX3" fmla="*/ 571500 w 571617"/>
              <a:gd name="connsiteY3" fmla="*/ 32345 h 413345"/>
              <a:gd name="connsiteX4" fmla="*/ 571500 w 571617"/>
              <a:gd name="connsiteY4" fmla="*/ 413345 h 413345"/>
              <a:gd name="connsiteX0" fmla="*/ 0 w 571500"/>
              <a:gd name="connsiteY0" fmla="*/ 8358 h 417933"/>
              <a:gd name="connsiteX1" fmla="*/ 0 w 571500"/>
              <a:gd name="connsiteY1" fmla="*/ 8358 h 417933"/>
              <a:gd name="connsiteX2" fmla="*/ 476250 w 571500"/>
              <a:gd name="connsiteY2" fmla="*/ 11533 h 417933"/>
              <a:gd name="connsiteX3" fmla="*/ 571500 w 571500"/>
              <a:gd name="connsiteY3" fmla="*/ 36933 h 417933"/>
              <a:gd name="connsiteX4" fmla="*/ 571500 w 571500"/>
              <a:gd name="connsiteY4" fmla="*/ 417933 h 417933"/>
              <a:gd name="connsiteX0" fmla="*/ 0 w 571500"/>
              <a:gd name="connsiteY0" fmla="*/ 0 h 409575"/>
              <a:gd name="connsiteX1" fmla="*/ 0 w 571500"/>
              <a:gd name="connsiteY1" fmla="*/ 0 h 409575"/>
              <a:gd name="connsiteX2" fmla="*/ 571500 w 571500"/>
              <a:gd name="connsiteY2" fmla="*/ 28575 h 409575"/>
              <a:gd name="connsiteX3" fmla="*/ 571500 w 571500"/>
              <a:gd name="connsiteY3" fmla="*/ 409575 h 409575"/>
              <a:gd name="connsiteX0" fmla="*/ 0 w 577850"/>
              <a:gd name="connsiteY0" fmla="*/ 0 h 409575"/>
              <a:gd name="connsiteX1" fmla="*/ 0 w 577850"/>
              <a:gd name="connsiteY1" fmla="*/ 0 h 409575"/>
              <a:gd name="connsiteX2" fmla="*/ 577850 w 577850"/>
              <a:gd name="connsiteY2" fmla="*/ 3175 h 409575"/>
              <a:gd name="connsiteX3" fmla="*/ 571500 w 577850"/>
              <a:gd name="connsiteY3" fmla="*/ 409575 h 4095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77850" h="409575">
                <a:moveTo>
                  <a:pt x="0" y="0"/>
                </a:moveTo>
                <a:lnTo>
                  <a:pt x="0" y="0"/>
                </a:lnTo>
                <a:lnTo>
                  <a:pt x="577850" y="3175"/>
                </a:lnTo>
                <a:lnTo>
                  <a:pt x="571500" y="409575"/>
                </a:lnTo>
              </a:path>
            </a:pathLst>
          </a:custGeom>
          <a:noFill/>
          <a:ln>
            <a:solidFill>
              <a:srgbClr val="6094C9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5" name="object 5"/>
          <p:cNvSpPr/>
          <p:nvPr/>
        </p:nvSpPr>
        <p:spPr>
          <a:xfrm>
            <a:off x="8676629" y="1036574"/>
            <a:ext cx="0" cy="4598485"/>
          </a:xfrm>
          <a:custGeom>
            <a:avLst/>
            <a:gdLst/>
            <a:ahLst/>
            <a:cxnLst/>
            <a:rect l="l" t="t" r="r" b="b"/>
            <a:pathLst>
              <a:path h="4598485">
                <a:moveTo>
                  <a:pt x="0" y="4598485"/>
                </a:moveTo>
                <a:lnTo>
                  <a:pt x="0" y="0"/>
                </a:lnTo>
              </a:path>
            </a:pathLst>
          </a:custGeom>
          <a:ln w="38099">
            <a:solidFill>
              <a:srgbClr val="937AB1"/>
            </a:solidFill>
            <a:tailEnd type="arrow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1" name="object 2"/>
          <p:cNvSpPr txBox="1"/>
          <p:nvPr/>
        </p:nvSpPr>
        <p:spPr>
          <a:xfrm rot="5400000">
            <a:off x="8269473" y="3145316"/>
            <a:ext cx="1310588" cy="3810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 algn="ctr">
              <a:lnSpc>
                <a:spcPts val="3000"/>
              </a:lnSpc>
              <a:spcBef>
                <a:spcPts val="150"/>
              </a:spcBef>
            </a:pPr>
            <a:r>
              <a:rPr sz="4200" spc="0" baseline="1950" dirty="0" smtClean="0">
                <a:solidFill>
                  <a:srgbClr val="8063A1"/>
                </a:solidFill>
                <a:cs typeface="Calibri"/>
              </a:rPr>
              <a:t>distance</a:t>
            </a:r>
            <a:endParaRPr sz="2800" dirty="0">
              <a:cs typeface="Calibri"/>
            </a:endParaRPr>
          </a:p>
        </p:txBody>
      </p:sp>
      <p:sp>
        <p:nvSpPr>
          <p:cNvPr id="62" name="Freeform 61"/>
          <p:cNvSpPr/>
          <p:nvPr/>
        </p:nvSpPr>
        <p:spPr>
          <a:xfrm>
            <a:off x="6814291" y="3678833"/>
            <a:ext cx="1186709" cy="1608866"/>
          </a:xfrm>
          <a:custGeom>
            <a:avLst/>
            <a:gdLst>
              <a:gd name="connsiteX0" fmla="*/ 0 w 571617"/>
              <a:gd name="connsiteY0" fmla="*/ 3770 h 413345"/>
              <a:gd name="connsiteX1" fmla="*/ 0 w 571617"/>
              <a:gd name="connsiteY1" fmla="*/ 3770 h 413345"/>
              <a:gd name="connsiteX2" fmla="*/ 476250 w 571617"/>
              <a:gd name="connsiteY2" fmla="*/ 6945 h 413345"/>
              <a:gd name="connsiteX3" fmla="*/ 571500 w 571617"/>
              <a:gd name="connsiteY3" fmla="*/ 32345 h 413345"/>
              <a:gd name="connsiteX4" fmla="*/ 571500 w 571617"/>
              <a:gd name="connsiteY4" fmla="*/ 413345 h 413345"/>
              <a:gd name="connsiteX0" fmla="*/ 0 w 571500"/>
              <a:gd name="connsiteY0" fmla="*/ 8358 h 417933"/>
              <a:gd name="connsiteX1" fmla="*/ 0 w 571500"/>
              <a:gd name="connsiteY1" fmla="*/ 8358 h 417933"/>
              <a:gd name="connsiteX2" fmla="*/ 476250 w 571500"/>
              <a:gd name="connsiteY2" fmla="*/ 11533 h 417933"/>
              <a:gd name="connsiteX3" fmla="*/ 571500 w 571500"/>
              <a:gd name="connsiteY3" fmla="*/ 36933 h 417933"/>
              <a:gd name="connsiteX4" fmla="*/ 571500 w 571500"/>
              <a:gd name="connsiteY4" fmla="*/ 417933 h 417933"/>
              <a:gd name="connsiteX0" fmla="*/ 0 w 571500"/>
              <a:gd name="connsiteY0" fmla="*/ 0 h 409575"/>
              <a:gd name="connsiteX1" fmla="*/ 0 w 571500"/>
              <a:gd name="connsiteY1" fmla="*/ 0 h 409575"/>
              <a:gd name="connsiteX2" fmla="*/ 571500 w 571500"/>
              <a:gd name="connsiteY2" fmla="*/ 28575 h 409575"/>
              <a:gd name="connsiteX3" fmla="*/ 571500 w 571500"/>
              <a:gd name="connsiteY3" fmla="*/ 409575 h 409575"/>
              <a:gd name="connsiteX0" fmla="*/ 0 w 577850"/>
              <a:gd name="connsiteY0" fmla="*/ 0 h 409575"/>
              <a:gd name="connsiteX1" fmla="*/ 0 w 577850"/>
              <a:gd name="connsiteY1" fmla="*/ 0 h 409575"/>
              <a:gd name="connsiteX2" fmla="*/ 577850 w 577850"/>
              <a:gd name="connsiteY2" fmla="*/ 3175 h 409575"/>
              <a:gd name="connsiteX3" fmla="*/ 571500 w 577850"/>
              <a:gd name="connsiteY3" fmla="*/ 409575 h 4095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77850" h="409575">
                <a:moveTo>
                  <a:pt x="0" y="0"/>
                </a:moveTo>
                <a:lnTo>
                  <a:pt x="0" y="0"/>
                </a:lnTo>
                <a:lnTo>
                  <a:pt x="577850" y="3175"/>
                </a:lnTo>
                <a:lnTo>
                  <a:pt x="571500" y="409575"/>
                </a:lnTo>
              </a:path>
            </a:pathLst>
          </a:custGeom>
          <a:noFill/>
          <a:ln>
            <a:solidFill>
              <a:srgbClr val="6094C9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3" name="Freeform 62"/>
          <p:cNvSpPr/>
          <p:nvPr/>
        </p:nvSpPr>
        <p:spPr>
          <a:xfrm flipH="1">
            <a:off x="5486826" y="3678833"/>
            <a:ext cx="1186709" cy="1608866"/>
          </a:xfrm>
          <a:custGeom>
            <a:avLst/>
            <a:gdLst>
              <a:gd name="connsiteX0" fmla="*/ 0 w 571617"/>
              <a:gd name="connsiteY0" fmla="*/ 3770 h 413345"/>
              <a:gd name="connsiteX1" fmla="*/ 0 w 571617"/>
              <a:gd name="connsiteY1" fmla="*/ 3770 h 413345"/>
              <a:gd name="connsiteX2" fmla="*/ 476250 w 571617"/>
              <a:gd name="connsiteY2" fmla="*/ 6945 h 413345"/>
              <a:gd name="connsiteX3" fmla="*/ 571500 w 571617"/>
              <a:gd name="connsiteY3" fmla="*/ 32345 h 413345"/>
              <a:gd name="connsiteX4" fmla="*/ 571500 w 571617"/>
              <a:gd name="connsiteY4" fmla="*/ 413345 h 413345"/>
              <a:gd name="connsiteX0" fmla="*/ 0 w 571500"/>
              <a:gd name="connsiteY0" fmla="*/ 8358 h 417933"/>
              <a:gd name="connsiteX1" fmla="*/ 0 w 571500"/>
              <a:gd name="connsiteY1" fmla="*/ 8358 h 417933"/>
              <a:gd name="connsiteX2" fmla="*/ 476250 w 571500"/>
              <a:gd name="connsiteY2" fmla="*/ 11533 h 417933"/>
              <a:gd name="connsiteX3" fmla="*/ 571500 w 571500"/>
              <a:gd name="connsiteY3" fmla="*/ 36933 h 417933"/>
              <a:gd name="connsiteX4" fmla="*/ 571500 w 571500"/>
              <a:gd name="connsiteY4" fmla="*/ 417933 h 417933"/>
              <a:gd name="connsiteX0" fmla="*/ 0 w 571500"/>
              <a:gd name="connsiteY0" fmla="*/ 0 h 409575"/>
              <a:gd name="connsiteX1" fmla="*/ 0 w 571500"/>
              <a:gd name="connsiteY1" fmla="*/ 0 h 409575"/>
              <a:gd name="connsiteX2" fmla="*/ 571500 w 571500"/>
              <a:gd name="connsiteY2" fmla="*/ 28575 h 409575"/>
              <a:gd name="connsiteX3" fmla="*/ 571500 w 571500"/>
              <a:gd name="connsiteY3" fmla="*/ 409575 h 409575"/>
              <a:gd name="connsiteX0" fmla="*/ 0 w 577850"/>
              <a:gd name="connsiteY0" fmla="*/ 0 h 409575"/>
              <a:gd name="connsiteX1" fmla="*/ 0 w 577850"/>
              <a:gd name="connsiteY1" fmla="*/ 0 h 409575"/>
              <a:gd name="connsiteX2" fmla="*/ 577850 w 577850"/>
              <a:gd name="connsiteY2" fmla="*/ 3175 h 409575"/>
              <a:gd name="connsiteX3" fmla="*/ 571500 w 577850"/>
              <a:gd name="connsiteY3" fmla="*/ 409575 h 4095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77850" h="409575">
                <a:moveTo>
                  <a:pt x="0" y="0"/>
                </a:moveTo>
                <a:lnTo>
                  <a:pt x="0" y="0"/>
                </a:lnTo>
                <a:lnTo>
                  <a:pt x="577850" y="3175"/>
                </a:lnTo>
                <a:lnTo>
                  <a:pt x="571500" y="409575"/>
                </a:lnTo>
              </a:path>
            </a:pathLst>
          </a:custGeom>
          <a:noFill/>
          <a:ln>
            <a:solidFill>
              <a:srgbClr val="6094C9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4" name="object 68"/>
          <p:cNvSpPr/>
          <p:nvPr/>
        </p:nvSpPr>
        <p:spPr>
          <a:xfrm>
            <a:off x="6605774" y="352186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5" name="object 48"/>
          <p:cNvSpPr/>
          <p:nvPr/>
        </p:nvSpPr>
        <p:spPr>
          <a:xfrm>
            <a:off x="1028194" y="471414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6" name="object 74"/>
          <p:cNvSpPr/>
          <p:nvPr/>
        </p:nvSpPr>
        <p:spPr>
          <a:xfrm>
            <a:off x="286325" y="525423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7F1676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7" name="object 48"/>
          <p:cNvSpPr/>
          <p:nvPr/>
        </p:nvSpPr>
        <p:spPr>
          <a:xfrm>
            <a:off x="1773507" y="525423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8" name="object 24"/>
          <p:cNvSpPr/>
          <p:nvPr/>
        </p:nvSpPr>
        <p:spPr>
          <a:xfrm>
            <a:off x="8001000" y="3695501"/>
            <a:ext cx="675626" cy="45719"/>
          </a:xfrm>
          <a:custGeom>
            <a:avLst/>
            <a:gdLst/>
            <a:ahLst/>
            <a:cxnLst/>
            <a:rect l="l" t="t" r="r" b="b"/>
            <a:pathLst>
              <a:path w="6733304">
                <a:moveTo>
                  <a:pt x="0" y="0"/>
                </a:moveTo>
                <a:lnTo>
                  <a:pt x="6733304" y="0"/>
                </a:lnTo>
              </a:path>
            </a:pathLst>
          </a:custGeom>
          <a:ln w="25399">
            <a:solidFill>
              <a:srgbClr val="937AB1"/>
            </a:solidFill>
            <a:prstDash val="lgDash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115298724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9" name="object 82"/>
          <p:cNvSpPr/>
          <p:nvPr/>
        </p:nvSpPr>
        <p:spPr>
          <a:xfrm>
            <a:off x="4414372" y="54871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0" name="object 84"/>
          <p:cNvSpPr/>
          <p:nvPr/>
        </p:nvSpPr>
        <p:spPr>
          <a:xfrm>
            <a:off x="5399747" y="55212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1" name="object 86"/>
          <p:cNvSpPr/>
          <p:nvPr/>
        </p:nvSpPr>
        <p:spPr>
          <a:xfrm>
            <a:off x="6251551" y="55023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2" name="object 74"/>
          <p:cNvSpPr/>
          <p:nvPr/>
        </p:nvSpPr>
        <p:spPr>
          <a:xfrm>
            <a:off x="2668469" y="519520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3" name="object 72"/>
          <p:cNvSpPr/>
          <p:nvPr/>
        </p:nvSpPr>
        <p:spPr>
          <a:xfrm>
            <a:off x="5959366" y="251737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40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80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4" name="object 70"/>
          <p:cNvSpPr/>
          <p:nvPr/>
        </p:nvSpPr>
        <p:spPr>
          <a:xfrm>
            <a:off x="5560113" y="213564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5" name="object 68"/>
          <p:cNvSpPr/>
          <p:nvPr/>
        </p:nvSpPr>
        <p:spPr>
          <a:xfrm>
            <a:off x="5148028" y="1723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6" name="object 66"/>
          <p:cNvSpPr/>
          <p:nvPr/>
        </p:nvSpPr>
        <p:spPr>
          <a:xfrm>
            <a:off x="6872003" y="34121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7" name="object 63"/>
          <p:cNvSpPr/>
          <p:nvPr/>
        </p:nvSpPr>
        <p:spPr>
          <a:xfrm>
            <a:off x="5880842" y="502152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6"/>
                </a:lnTo>
                <a:lnTo>
                  <a:pt x="1583" y="198179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6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2"/>
                </a:lnTo>
                <a:lnTo>
                  <a:pt x="49876" y="299561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6"/>
                </a:lnTo>
                <a:lnTo>
                  <a:pt x="196530" y="342926"/>
                </a:lnTo>
                <a:lnTo>
                  <a:pt x="209650" y="339004"/>
                </a:lnTo>
                <a:lnTo>
                  <a:pt x="222295" y="333936"/>
                </a:lnTo>
                <a:lnTo>
                  <a:pt x="234413" y="327778"/>
                </a:lnTo>
                <a:lnTo>
                  <a:pt x="245953" y="320583"/>
                </a:lnTo>
                <a:lnTo>
                  <a:pt x="256864" y="312409"/>
                </a:lnTo>
                <a:lnTo>
                  <a:pt x="267095" y="303311"/>
                </a:lnTo>
                <a:lnTo>
                  <a:pt x="276595" y="293343"/>
                </a:lnTo>
                <a:lnTo>
                  <a:pt x="285312" y="282562"/>
                </a:lnTo>
                <a:lnTo>
                  <a:pt x="293195" y="271023"/>
                </a:lnTo>
                <a:lnTo>
                  <a:pt x="300193" y="258781"/>
                </a:lnTo>
                <a:lnTo>
                  <a:pt x="306255" y="245892"/>
                </a:lnTo>
                <a:lnTo>
                  <a:pt x="311330" y="232411"/>
                </a:lnTo>
                <a:lnTo>
                  <a:pt x="315366" y="218394"/>
                </a:lnTo>
                <a:lnTo>
                  <a:pt x="318312" y="203896"/>
                </a:lnTo>
                <a:lnTo>
                  <a:pt x="320117" y="188973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9" y="93485"/>
                </a:lnTo>
                <a:lnTo>
                  <a:pt x="296006" y="80986"/>
                </a:lnTo>
                <a:lnTo>
                  <a:pt x="288459" y="69169"/>
                </a:lnTo>
                <a:lnTo>
                  <a:pt x="280058" y="58089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4"/>
                </a:lnTo>
                <a:lnTo>
                  <a:pt x="86318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8" name="object 62"/>
          <p:cNvSpPr/>
          <p:nvPr/>
        </p:nvSpPr>
        <p:spPr>
          <a:xfrm>
            <a:off x="4326962" y="34938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9" name="object 60"/>
          <p:cNvSpPr/>
          <p:nvPr/>
        </p:nvSpPr>
        <p:spPr>
          <a:xfrm>
            <a:off x="3451263" y="457102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0" name="object 58"/>
          <p:cNvSpPr/>
          <p:nvPr/>
        </p:nvSpPr>
        <p:spPr>
          <a:xfrm>
            <a:off x="7513462" y="204543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1" name="object 56"/>
          <p:cNvSpPr/>
          <p:nvPr/>
        </p:nvSpPr>
        <p:spPr>
          <a:xfrm>
            <a:off x="6553321" y="196196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2" name="object 54"/>
          <p:cNvSpPr/>
          <p:nvPr/>
        </p:nvSpPr>
        <p:spPr>
          <a:xfrm>
            <a:off x="7353097" y="275391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3" name="object 52"/>
          <p:cNvSpPr/>
          <p:nvPr/>
        </p:nvSpPr>
        <p:spPr>
          <a:xfrm>
            <a:off x="4696124" y="412086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4" name="object 50"/>
          <p:cNvSpPr/>
          <p:nvPr/>
        </p:nvSpPr>
        <p:spPr>
          <a:xfrm>
            <a:off x="4441297" y="46123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5" name="object 48"/>
          <p:cNvSpPr/>
          <p:nvPr/>
        </p:nvSpPr>
        <p:spPr>
          <a:xfrm>
            <a:off x="3130532" y="40499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6" name="object 42"/>
          <p:cNvSpPr/>
          <p:nvPr/>
        </p:nvSpPr>
        <p:spPr>
          <a:xfrm>
            <a:off x="5748103" y="33118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7" name="object 44"/>
          <p:cNvSpPr/>
          <p:nvPr/>
        </p:nvSpPr>
        <p:spPr>
          <a:xfrm>
            <a:off x="5560113" y="25802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8" name="object 46"/>
          <p:cNvSpPr/>
          <p:nvPr/>
        </p:nvSpPr>
        <p:spPr>
          <a:xfrm>
            <a:off x="5421508" y="296447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9" name="object 40"/>
          <p:cNvSpPr/>
          <p:nvPr/>
        </p:nvSpPr>
        <p:spPr>
          <a:xfrm>
            <a:off x="5213120" y="49216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0" name="object 38"/>
          <p:cNvSpPr/>
          <p:nvPr/>
        </p:nvSpPr>
        <p:spPr>
          <a:xfrm>
            <a:off x="7032365" y="221911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1" name="object 36"/>
          <p:cNvSpPr/>
          <p:nvPr/>
        </p:nvSpPr>
        <p:spPr>
          <a:xfrm>
            <a:off x="7385165" y="340218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6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7"/>
                </a:lnTo>
                <a:lnTo>
                  <a:pt x="310251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2" name="object 34"/>
          <p:cNvSpPr/>
          <p:nvPr/>
        </p:nvSpPr>
        <p:spPr>
          <a:xfrm>
            <a:off x="5038354" y="24830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3" name="object 32"/>
          <p:cNvSpPr/>
          <p:nvPr/>
        </p:nvSpPr>
        <p:spPr>
          <a:xfrm>
            <a:off x="7192732" y="159327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4" name="object 30"/>
          <p:cNvSpPr/>
          <p:nvPr/>
        </p:nvSpPr>
        <p:spPr>
          <a:xfrm>
            <a:off x="6201572" y="316997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5" name="object 28"/>
          <p:cNvSpPr/>
          <p:nvPr/>
        </p:nvSpPr>
        <p:spPr>
          <a:xfrm>
            <a:off x="4877989" y="532865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6" name="object 26"/>
          <p:cNvSpPr/>
          <p:nvPr/>
        </p:nvSpPr>
        <p:spPr>
          <a:xfrm>
            <a:off x="5581873" y="4521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7" name="object 24"/>
          <p:cNvSpPr/>
          <p:nvPr/>
        </p:nvSpPr>
        <p:spPr>
          <a:xfrm>
            <a:off x="3528670" y="35173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8" name="object 22"/>
          <p:cNvSpPr/>
          <p:nvPr/>
        </p:nvSpPr>
        <p:spPr>
          <a:xfrm>
            <a:off x="3252845" y="520650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9" name="object 20"/>
          <p:cNvSpPr/>
          <p:nvPr/>
        </p:nvSpPr>
        <p:spPr>
          <a:xfrm>
            <a:off x="3849401" y="4051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0" name="object 18"/>
          <p:cNvSpPr/>
          <p:nvPr/>
        </p:nvSpPr>
        <p:spPr>
          <a:xfrm>
            <a:off x="6713687" y="269105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1" name="object 6"/>
          <p:cNvSpPr txBox="1"/>
          <p:nvPr/>
        </p:nvSpPr>
        <p:spPr>
          <a:xfrm>
            <a:off x="1332125" y="3759280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sp>
        <p:nvSpPr>
          <p:cNvPr id="112" name="object 5"/>
          <p:cNvSpPr txBox="1"/>
          <p:nvPr/>
        </p:nvSpPr>
        <p:spPr>
          <a:xfrm>
            <a:off x="5426815" y="6116930"/>
            <a:ext cx="542241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Age</a:t>
            </a:r>
            <a:endParaRPr sz="2400">
              <a:cs typeface="Calibri"/>
            </a:endParaRPr>
          </a:p>
        </p:txBody>
      </p:sp>
      <p:grpSp>
        <p:nvGrpSpPr>
          <p:cNvPr id="113" name="Group 112"/>
          <p:cNvGrpSpPr/>
          <p:nvPr/>
        </p:nvGrpSpPr>
        <p:grpSpPr>
          <a:xfrm>
            <a:off x="2383438" y="1888930"/>
            <a:ext cx="6303362" cy="4054670"/>
            <a:chOff x="2343901" y="1923700"/>
            <a:chExt cx="6303362" cy="4054670"/>
          </a:xfrm>
        </p:grpSpPr>
        <p:sp>
          <p:nvSpPr>
            <p:cNvPr id="114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115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  <p:sp>
        <p:nvSpPr>
          <p:cNvPr id="116" name="object 10"/>
          <p:cNvSpPr txBox="1"/>
          <p:nvPr/>
        </p:nvSpPr>
        <p:spPr>
          <a:xfrm>
            <a:off x="2101916" y="369650"/>
            <a:ext cx="6296519" cy="4318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3400"/>
              </a:lnSpc>
              <a:spcBef>
                <a:spcPts val="170"/>
              </a:spcBef>
            </a:pPr>
            <a:r>
              <a:rPr lang="en-US" sz="4800" baseline="1706" dirty="0">
                <a:solidFill>
                  <a:srgbClr val="4E81BC"/>
                </a:solidFill>
                <a:latin typeface="+mj-lt"/>
                <a:cs typeface="Calibri"/>
              </a:rPr>
              <a:t>Agglomerative </a:t>
            </a:r>
            <a:r>
              <a:rPr sz="4800" baseline="1706" dirty="0">
                <a:solidFill>
                  <a:srgbClr val="F69545"/>
                </a:solidFill>
                <a:latin typeface="+mj-lt"/>
                <a:cs typeface="Calibri"/>
              </a:rPr>
              <a:t>Hierarchical</a:t>
            </a:r>
            <a:r>
              <a:rPr sz="4800" spc="0" baseline="1706" dirty="0" smtClean="0">
                <a:solidFill>
                  <a:srgbClr val="4E81BC"/>
                </a:solidFill>
                <a:latin typeface="+mj-lt"/>
                <a:cs typeface="Calibri"/>
              </a:rPr>
              <a:t> Clustering</a:t>
            </a:r>
            <a:endParaRPr sz="3200" dirty="0">
              <a:latin typeface="+mj-lt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539599308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" name="object 84"/>
          <p:cNvSpPr/>
          <p:nvPr/>
        </p:nvSpPr>
        <p:spPr>
          <a:xfrm>
            <a:off x="4414372" y="54871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6" name="object 86"/>
          <p:cNvSpPr/>
          <p:nvPr/>
        </p:nvSpPr>
        <p:spPr>
          <a:xfrm>
            <a:off x="5399747" y="55212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8" name="object 88"/>
          <p:cNvSpPr/>
          <p:nvPr/>
        </p:nvSpPr>
        <p:spPr>
          <a:xfrm>
            <a:off x="6251551" y="55023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6" name="object 76"/>
          <p:cNvSpPr/>
          <p:nvPr/>
        </p:nvSpPr>
        <p:spPr>
          <a:xfrm>
            <a:off x="2668469" y="519520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3" name="object 73"/>
          <p:cNvSpPr/>
          <p:nvPr/>
        </p:nvSpPr>
        <p:spPr>
          <a:xfrm>
            <a:off x="5959366" y="251737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1"/>
                </a:moveTo>
                <a:lnTo>
                  <a:pt x="232" y="183108"/>
                </a:lnTo>
                <a:lnTo>
                  <a:pt x="1583" y="198180"/>
                </a:lnTo>
                <a:lnTo>
                  <a:pt x="4094" y="212849"/>
                </a:lnTo>
                <a:lnTo>
                  <a:pt x="7715" y="227058"/>
                </a:lnTo>
                <a:lnTo>
                  <a:pt x="12395" y="240753"/>
                </a:lnTo>
                <a:lnTo>
                  <a:pt x="18082" y="253877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3"/>
                </a:lnTo>
                <a:lnTo>
                  <a:pt x="49876" y="299561"/>
                </a:lnTo>
                <a:lnTo>
                  <a:pt x="59830" y="309002"/>
                </a:lnTo>
                <a:lnTo>
                  <a:pt x="70485" y="317540"/>
                </a:lnTo>
                <a:lnTo>
                  <a:pt x="81788" y="325119"/>
                </a:lnTo>
                <a:lnTo>
                  <a:pt x="93689" y="331685"/>
                </a:lnTo>
                <a:lnTo>
                  <a:pt x="106136" y="337181"/>
                </a:lnTo>
                <a:lnTo>
                  <a:pt x="119079" y="341552"/>
                </a:lnTo>
                <a:lnTo>
                  <a:pt x="132465" y="344743"/>
                </a:lnTo>
                <a:lnTo>
                  <a:pt x="146244" y="346698"/>
                </a:lnTo>
                <a:lnTo>
                  <a:pt x="160365" y="347362"/>
                </a:lnTo>
                <a:lnTo>
                  <a:pt x="169068" y="347111"/>
                </a:lnTo>
                <a:lnTo>
                  <a:pt x="182985" y="345648"/>
                </a:lnTo>
                <a:lnTo>
                  <a:pt x="196529" y="342928"/>
                </a:lnTo>
                <a:lnTo>
                  <a:pt x="209649" y="339006"/>
                </a:lnTo>
                <a:lnTo>
                  <a:pt x="222294" y="333938"/>
                </a:lnTo>
                <a:lnTo>
                  <a:pt x="234412" y="327779"/>
                </a:lnTo>
                <a:lnTo>
                  <a:pt x="245952" y="320585"/>
                </a:lnTo>
                <a:lnTo>
                  <a:pt x="256863" y="312411"/>
                </a:lnTo>
                <a:lnTo>
                  <a:pt x="267094" y="303312"/>
                </a:lnTo>
                <a:lnTo>
                  <a:pt x="276594" y="293344"/>
                </a:lnTo>
                <a:lnTo>
                  <a:pt x="285311" y="282563"/>
                </a:lnTo>
                <a:lnTo>
                  <a:pt x="293194" y="271024"/>
                </a:lnTo>
                <a:lnTo>
                  <a:pt x="300192" y="258782"/>
                </a:lnTo>
                <a:lnTo>
                  <a:pt x="306254" y="245893"/>
                </a:lnTo>
                <a:lnTo>
                  <a:pt x="311328" y="232412"/>
                </a:lnTo>
                <a:lnTo>
                  <a:pt x="315364" y="218395"/>
                </a:lnTo>
                <a:lnTo>
                  <a:pt x="318311" y="203897"/>
                </a:lnTo>
                <a:lnTo>
                  <a:pt x="320116" y="188974"/>
                </a:lnTo>
                <a:lnTo>
                  <a:pt x="320729" y="173681"/>
                </a:lnTo>
                <a:lnTo>
                  <a:pt x="320497" y="164255"/>
                </a:lnTo>
                <a:lnTo>
                  <a:pt x="319146" y="149182"/>
                </a:lnTo>
                <a:lnTo>
                  <a:pt x="316635" y="134513"/>
                </a:lnTo>
                <a:lnTo>
                  <a:pt x="313014" y="120304"/>
                </a:lnTo>
                <a:lnTo>
                  <a:pt x="308334" y="106609"/>
                </a:lnTo>
                <a:lnTo>
                  <a:pt x="302648" y="93485"/>
                </a:lnTo>
                <a:lnTo>
                  <a:pt x="296005" y="80986"/>
                </a:lnTo>
                <a:lnTo>
                  <a:pt x="288458" y="69169"/>
                </a:lnTo>
                <a:lnTo>
                  <a:pt x="280057" y="58089"/>
                </a:lnTo>
                <a:lnTo>
                  <a:pt x="270854" y="47800"/>
                </a:lnTo>
                <a:lnTo>
                  <a:pt x="260899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1" y="251"/>
                </a:lnTo>
                <a:lnTo>
                  <a:pt x="137744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5" y="13424"/>
                </a:lnTo>
                <a:lnTo>
                  <a:pt x="86317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50"/>
                </a:lnTo>
                <a:lnTo>
                  <a:pt x="44135" y="54017"/>
                </a:lnTo>
                <a:lnTo>
                  <a:pt x="35418" y="64798"/>
                </a:lnTo>
                <a:lnTo>
                  <a:pt x="27535" y="76338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9"/>
                </a:lnTo>
                <a:lnTo>
                  <a:pt x="5364" y="128966"/>
                </a:lnTo>
                <a:lnTo>
                  <a:pt x="2418" y="143464"/>
                </a:lnTo>
                <a:lnTo>
                  <a:pt x="613" y="158388"/>
                </a:lnTo>
                <a:lnTo>
                  <a:pt x="0" y="173681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2" name="object 72"/>
          <p:cNvSpPr/>
          <p:nvPr/>
        </p:nvSpPr>
        <p:spPr>
          <a:xfrm>
            <a:off x="5560113" y="213564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0" name="object 70"/>
          <p:cNvSpPr/>
          <p:nvPr/>
        </p:nvSpPr>
        <p:spPr>
          <a:xfrm>
            <a:off x="5148028" y="1723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8" name="object 68"/>
          <p:cNvSpPr/>
          <p:nvPr/>
        </p:nvSpPr>
        <p:spPr>
          <a:xfrm>
            <a:off x="6872003" y="34121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6" name="object 66"/>
          <p:cNvSpPr/>
          <p:nvPr/>
        </p:nvSpPr>
        <p:spPr>
          <a:xfrm>
            <a:off x="5880841" y="502152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2" name="object 62"/>
          <p:cNvSpPr/>
          <p:nvPr/>
        </p:nvSpPr>
        <p:spPr>
          <a:xfrm>
            <a:off x="4326962" y="34938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8" name="object 58"/>
          <p:cNvSpPr/>
          <p:nvPr/>
        </p:nvSpPr>
        <p:spPr>
          <a:xfrm>
            <a:off x="7513462" y="204543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6" name="object 56"/>
          <p:cNvSpPr/>
          <p:nvPr/>
        </p:nvSpPr>
        <p:spPr>
          <a:xfrm>
            <a:off x="6553321" y="196196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4" name="object 54"/>
          <p:cNvSpPr/>
          <p:nvPr/>
        </p:nvSpPr>
        <p:spPr>
          <a:xfrm>
            <a:off x="7353097" y="275391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2" name="object 52"/>
          <p:cNvSpPr/>
          <p:nvPr/>
        </p:nvSpPr>
        <p:spPr>
          <a:xfrm>
            <a:off x="4696124" y="412086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0" name="object 50"/>
          <p:cNvSpPr/>
          <p:nvPr/>
        </p:nvSpPr>
        <p:spPr>
          <a:xfrm>
            <a:off x="4441297" y="46123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8" name="object 48"/>
          <p:cNvSpPr/>
          <p:nvPr/>
        </p:nvSpPr>
        <p:spPr>
          <a:xfrm>
            <a:off x="3130532" y="40499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2" name="object 42"/>
          <p:cNvSpPr/>
          <p:nvPr/>
        </p:nvSpPr>
        <p:spPr>
          <a:xfrm>
            <a:off x="5748103" y="33118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4" name="object 44"/>
          <p:cNvSpPr/>
          <p:nvPr/>
        </p:nvSpPr>
        <p:spPr>
          <a:xfrm>
            <a:off x="5560113" y="25802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6" name="object 46"/>
          <p:cNvSpPr/>
          <p:nvPr/>
        </p:nvSpPr>
        <p:spPr>
          <a:xfrm>
            <a:off x="5421508" y="296447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0" name="object 40"/>
          <p:cNvSpPr/>
          <p:nvPr/>
        </p:nvSpPr>
        <p:spPr>
          <a:xfrm>
            <a:off x="5213120" y="49216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8" name="object 38"/>
          <p:cNvSpPr/>
          <p:nvPr/>
        </p:nvSpPr>
        <p:spPr>
          <a:xfrm>
            <a:off x="7032365" y="221911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6" name="object 36"/>
          <p:cNvSpPr/>
          <p:nvPr/>
        </p:nvSpPr>
        <p:spPr>
          <a:xfrm>
            <a:off x="7385165" y="340218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6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7"/>
                </a:lnTo>
                <a:lnTo>
                  <a:pt x="310251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4" name="object 34"/>
          <p:cNvSpPr/>
          <p:nvPr/>
        </p:nvSpPr>
        <p:spPr>
          <a:xfrm>
            <a:off x="5038354" y="24830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2" name="object 32"/>
          <p:cNvSpPr/>
          <p:nvPr/>
        </p:nvSpPr>
        <p:spPr>
          <a:xfrm>
            <a:off x="7192732" y="159327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8" name="object 28"/>
          <p:cNvSpPr/>
          <p:nvPr/>
        </p:nvSpPr>
        <p:spPr>
          <a:xfrm>
            <a:off x="6201572" y="316997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6" name="object 26"/>
          <p:cNvSpPr/>
          <p:nvPr/>
        </p:nvSpPr>
        <p:spPr>
          <a:xfrm>
            <a:off x="4877989" y="532865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4" name="object 24"/>
          <p:cNvSpPr/>
          <p:nvPr/>
        </p:nvSpPr>
        <p:spPr>
          <a:xfrm>
            <a:off x="5581873" y="4521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2" name="object 22"/>
          <p:cNvSpPr/>
          <p:nvPr/>
        </p:nvSpPr>
        <p:spPr>
          <a:xfrm>
            <a:off x="3528670" y="35173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0" name="object 20"/>
          <p:cNvSpPr/>
          <p:nvPr/>
        </p:nvSpPr>
        <p:spPr>
          <a:xfrm>
            <a:off x="3252845" y="520650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8" name="object 18"/>
          <p:cNvSpPr/>
          <p:nvPr/>
        </p:nvSpPr>
        <p:spPr>
          <a:xfrm>
            <a:off x="3849401" y="4051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6" name="object 16"/>
          <p:cNvSpPr/>
          <p:nvPr/>
        </p:nvSpPr>
        <p:spPr>
          <a:xfrm>
            <a:off x="6713687" y="269105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" name="object 14"/>
          <p:cNvSpPr txBox="1"/>
          <p:nvPr/>
        </p:nvSpPr>
        <p:spPr>
          <a:xfrm>
            <a:off x="2101915" y="369650"/>
            <a:ext cx="6737285" cy="4318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3400"/>
              </a:lnSpc>
              <a:spcBef>
                <a:spcPts val="170"/>
              </a:spcBef>
            </a:pPr>
            <a:r>
              <a:rPr sz="4800" baseline="1706" dirty="0" smtClean="0">
                <a:solidFill>
                  <a:srgbClr val="4E81BC"/>
                </a:solidFill>
                <a:latin typeface="+mj-lt"/>
                <a:cs typeface="Calibri"/>
              </a:rPr>
              <a:t>K­‐Means </a:t>
            </a:r>
            <a:r>
              <a:rPr sz="4800" spc="0" baseline="1706" dirty="0" smtClean="0">
                <a:solidFill>
                  <a:srgbClr val="F69545"/>
                </a:solidFill>
                <a:latin typeface="+mj-lt"/>
                <a:cs typeface="Calibri"/>
              </a:rPr>
              <a:t>K=2</a:t>
            </a:r>
            <a:endParaRPr sz="3200" dirty="0">
              <a:latin typeface="+mj-lt"/>
              <a:cs typeface="Calibri"/>
            </a:endParaRPr>
          </a:p>
        </p:txBody>
      </p:sp>
      <p:sp>
        <p:nvSpPr>
          <p:cNvPr id="13" name="object 13"/>
          <p:cNvSpPr txBox="1"/>
          <p:nvPr/>
        </p:nvSpPr>
        <p:spPr>
          <a:xfrm>
            <a:off x="2101916" y="852250"/>
            <a:ext cx="6737284" cy="4318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3400"/>
              </a:lnSpc>
              <a:spcBef>
                <a:spcPts val="170"/>
              </a:spcBef>
            </a:pPr>
            <a:r>
              <a:rPr sz="4800" spc="0" baseline="1706" dirty="0" smtClean="0">
                <a:solidFill>
                  <a:srgbClr val="7F7E7E"/>
                </a:solidFill>
                <a:latin typeface="+mj-lt"/>
                <a:cs typeface="Calibri"/>
              </a:rPr>
              <a:t>Each</a:t>
            </a:r>
            <a:r>
              <a:rPr lang="en-US" sz="4800" spc="0" baseline="1706" dirty="0" smtClean="0">
                <a:solidFill>
                  <a:srgbClr val="7F7E7E"/>
                </a:solidFill>
                <a:latin typeface="+mj-lt"/>
                <a:cs typeface="Calibri"/>
              </a:rPr>
              <a:t> point belongs to the closest center</a:t>
            </a:r>
            <a:endParaRPr sz="3200" dirty="0">
              <a:latin typeface="+mj-lt"/>
              <a:cs typeface="Calibri"/>
            </a:endParaRPr>
          </a:p>
        </p:txBody>
      </p:sp>
      <p:sp>
        <p:nvSpPr>
          <p:cNvPr id="6" name="object 6"/>
          <p:cNvSpPr txBox="1"/>
          <p:nvPr/>
        </p:nvSpPr>
        <p:spPr>
          <a:xfrm>
            <a:off x="1332125" y="3759280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sp>
        <p:nvSpPr>
          <p:cNvPr id="5" name="object 5"/>
          <p:cNvSpPr txBox="1"/>
          <p:nvPr/>
        </p:nvSpPr>
        <p:spPr>
          <a:xfrm>
            <a:off x="5426815" y="6116930"/>
            <a:ext cx="542241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Age</a:t>
            </a:r>
            <a:endParaRPr sz="2400">
              <a:cs typeface="Calibri"/>
            </a:endParaRPr>
          </a:p>
        </p:txBody>
      </p:sp>
      <p:sp>
        <p:nvSpPr>
          <p:cNvPr id="4" name="object 4"/>
          <p:cNvSpPr txBox="1"/>
          <p:nvPr/>
        </p:nvSpPr>
        <p:spPr>
          <a:xfrm>
            <a:off x="2343901" y="1923700"/>
            <a:ext cx="6303362" cy="405467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grpSp>
        <p:nvGrpSpPr>
          <p:cNvPr id="89" name="Group 88"/>
          <p:cNvGrpSpPr/>
          <p:nvPr/>
        </p:nvGrpSpPr>
        <p:grpSpPr>
          <a:xfrm>
            <a:off x="2383438" y="1888930"/>
            <a:ext cx="6303362" cy="4054670"/>
            <a:chOff x="2343901" y="1923700"/>
            <a:chExt cx="6303362" cy="4054670"/>
          </a:xfrm>
        </p:grpSpPr>
        <p:sp>
          <p:nvSpPr>
            <p:cNvPr id="90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91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  <p:sp>
        <p:nvSpPr>
          <p:cNvPr id="64" name="object 64"/>
          <p:cNvSpPr/>
          <p:nvPr/>
        </p:nvSpPr>
        <p:spPr>
          <a:xfrm>
            <a:off x="4475579" y="3463384"/>
            <a:ext cx="394167" cy="381727"/>
          </a:xfrm>
          <a:custGeom>
            <a:avLst/>
            <a:gdLst/>
            <a:ahLst/>
            <a:cxnLst/>
            <a:rect l="l" t="t" r="r" b="b"/>
            <a:pathLst>
              <a:path w="394167" h="381727">
                <a:moveTo>
                  <a:pt x="0" y="0"/>
                </a:moveTo>
                <a:lnTo>
                  <a:pt x="394167" y="0"/>
                </a:lnTo>
                <a:lnTo>
                  <a:pt x="394167" y="381727"/>
                </a:lnTo>
                <a:lnTo>
                  <a:pt x="0" y="381727"/>
                </a:lnTo>
                <a:lnTo>
                  <a:pt x="0" y="0"/>
                </a:lnTo>
                <a:close/>
              </a:path>
            </a:pathLst>
          </a:custGeom>
          <a:solidFill>
            <a:srgbClr val="AAC56C"/>
          </a:solidFill>
          <a:ln w="57150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0" name="object 30"/>
          <p:cNvSpPr/>
          <p:nvPr/>
        </p:nvSpPr>
        <p:spPr>
          <a:xfrm>
            <a:off x="6128134" y="3392091"/>
            <a:ext cx="394168" cy="381727"/>
          </a:xfrm>
          <a:custGeom>
            <a:avLst/>
            <a:gdLst/>
            <a:ahLst/>
            <a:cxnLst/>
            <a:rect l="l" t="t" r="r" b="b"/>
            <a:pathLst>
              <a:path w="394168" h="381727">
                <a:moveTo>
                  <a:pt x="0" y="0"/>
                </a:moveTo>
                <a:lnTo>
                  <a:pt x="394168" y="0"/>
                </a:lnTo>
                <a:lnTo>
                  <a:pt x="394168" y="381727"/>
                </a:lnTo>
                <a:lnTo>
                  <a:pt x="0" y="381727"/>
                </a:lnTo>
                <a:lnTo>
                  <a:pt x="0" y="0"/>
                </a:lnTo>
                <a:close/>
              </a:path>
            </a:pathLst>
          </a:custGeom>
          <a:solidFill>
            <a:srgbClr val="59BAD1"/>
          </a:solidFill>
          <a:ln w="57150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6" name="object 60"/>
          <p:cNvSpPr/>
          <p:nvPr/>
        </p:nvSpPr>
        <p:spPr>
          <a:xfrm>
            <a:off x="3451263" y="457102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55177331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9" name="object 82"/>
          <p:cNvSpPr/>
          <p:nvPr/>
        </p:nvSpPr>
        <p:spPr>
          <a:xfrm>
            <a:off x="4414372" y="54871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0" name="object 84"/>
          <p:cNvSpPr/>
          <p:nvPr/>
        </p:nvSpPr>
        <p:spPr>
          <a:xfrm>
            <a:off x="5399747" y="55212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1" name="object 86"/>
          <p:cNvSpPr/>
          <p:nvPr/>
        </p:nvSpPr>
        <p:spPr>
          <a:xfrm>
            <a:off x="6251551" y="55023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2" name="object 74"/>
          <p:cNvSpPr/>
          <p:nvPr/>
        </p:nvSpPr>
        <p:spPr>
          <a:xfrm>
            <a:off x="2668469" y="519520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3" name="object 72"/>
          <p:cNvSpPr/>
          <p:nvPr/>
        </p:nvSpPr>
        <p:spPr>
          <a:xfrm>
            <a:off x="5959366" y="251737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40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80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4" name="object 70"/>
          <p:cNvSpPr/>
          <p:nvPr/>
        </p:nvSpPr>
        <p:spPr>
          <a:xfrm>
            <a:off x="5560113" y="213564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5" name="object 68"/>
          <p:cNvSpPr/>
          <p:nvPr/>
        </p:nvSpPr>
        <p:spPr>
          <a:xfrm>
            <a:off x="5148028" y="1723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6" name="object 66"/>
          <p:cNvSpPr/>
          <p:nvPr/>
        </p:nvSpPr>
        <p:spPr>
          <a:xfrm>
            <a:off x="6872003" y="34121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7" name="object 63"/>
          <p:cNvSpPr/>
          <p:nvPr/>
        </p:nvSpPr>
        <p:spPr>
          <a:xfrm>
            <a:off x="5880842" y="502152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6"/>
                </a:lnTo>
                <a:lnTo>
                  <a:pt x="1583" y="198179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6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2"/>
                </a:lnTo>
                <a:lnTo>
                  <a:pt x="49876" y="299561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6"/>
                </a:lnTo>
                <a:lnTo>
                  <a:pt x="196530" y="342926"/>
                </a:lnTo>
                <a:lnTo>
                  <a:pt x="209650" y="339004"/>
                </a:lnTo>
                <a:lnTo>
                  <a:pt x="222295" y="333936"/>
                </a:lnTo>
                <a:lnTo>
                  <a:pt x="234413" y="327778"/>
                </a:lnTo>
                <a:lnTo>
                  <a:pt x="245953" y="320583"/>
                </a:lnTo>
                <a:lnTo>
                  <a:pt x="256864" y="312409"/>
                </a:lnTo>
                <a:lnTo>
                  <a:pt x="267095" y="303311"/>
                </a:lnTo>
                <a:lnTo>
                  <a:pt x="276595" y="293343"/>
                </a:lnTo>
                <a:lnTo>
                  <a:pt x="285312" y="282562"/>
                </a:lnTo>
                <a:lnTo>
                  <a:pt x="293195" y="271023"/>
                </a:lnTo>
                <a:lnTo>
                  <a:pt x="300193" y="258781"/>
                </a:lnTo>
                <a:lnTo>
                  <a:pt x="306255" y="245892"/>
                </a:lnTo>
                <a:lnTo>
                  <a:pt x="311330" y="232411"/>
                </a:lnTo>
                <a:lnTo>
                  <a:pt x="315366" y="218394"/>
                </a:lnTo>
                <a:lnTo>
                  <a:pt x="318312" y="203896"/>
                </a:lnTo>
                <a:lnTo>
                  <a:pt x="320117" y="188973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9" y="93485"/>
                </a:lnTo>
                <a:lnTo>
                  <a:pt x="296006" y="80986"/>
                </a:lnTo>
                <a:lnTo>
                  <a:pt x="288459" y="69169"/>
                </a:lnTo>
                <a:lnTo>
                  <a:pt x="280058" y="58089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4"/>
                </a:lnTo>
                <a:lnTo>
                  <a:pt x="86318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8" name="object 62"/>
          <p:cNvSpPr/>
          <p:nvPr/>
        </p:nvSpPr>
        <p:spPr>
          <a:xfrm>
            <a:off x="4326962" y="34938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9" name="object 60"/>
          <p:cNvSpPr/>
          <p:nvPr/>
        </p:nvSpPr>
        <p:spPr>
          <a:xfrm>
            <a:off x="3451263" y="457102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0" name="object 58"/>
          <p:cNvSpPr/>
          <p:nvPr/>
        </p:nvSpPr>
        <p:spPr>
          <a:xfrm>
            <a:off x="7513462" y="204543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1" name="object 56"/>
          <p:cNvSpPr/>
          <p:nvPr/>
        </p:nvSpPr>
        <p:spPr>
          <a:xfrm>
            <a:off x="6553321" y="196196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2" name="object 54"/>
          <p:cNvSpPr/>
          <p:nvPr/>
        </p:nvSpPr>
        <p:spPr>
          <a:xfrm>
            <a:off x="7353097" y="275391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3" name="object 52"/>
          <p:cNvSpPr/>
          <p:nvPr/>
        </p:nvSpPr>
        <p:spPr>
          <a:xfrm>
            <a:off x="4696124" y="412086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4" name="object 50"/>
          <p:cNvSpPr/>
          <p:nvPr/>
        </p:nvSpPr>
        <p:spPr>
          <a:xfrm>
            <a:off x="4441297" y="46123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5" name="object 48"/>
          <p:cNvSpPr/>
          <p:nvPr/>
        </p:nvSpPr>
        <p:spPr>
          <a:xfrm>
            <a:off x="3130532" y="40499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6" name="object 42"/>
          <p:cNvSpPr/>
          <p:nvPr/>
        </p:nvSpPr>
        <p:spPr>
          <a:xfrm>
            <a:off x="5748103" y="33118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7" name="object 44"/>
          <p:cNvSpPr/>
          <p:nvPr/>
        </p:nvSpPr>
        <p:spPr>
          <a:xfrm>
            <a:off x="5560113" y="25802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8" name="object 46"/>
          <p:cNvSpPr/>
          <p:nvPr/>
        </p:nvSpPr>
        <p:spPr>
          <a:xfrm>
            <a:off x="5421508" y="296447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9" name="object 40"/>
          <p:cNvSpPr/>
          <p:nvPr/>
        </p:nvSpPr>
        <p:spPr>
          <a:xfrm>
            <a:off x="5213120" y="49216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0" name="object 38"/>
          <p:cNvSpPr/>
          <p:nvPr/>
        </p:nvSpPr>
        <p:spPr>
          <a:xfrm>
            <a:off x="7032365" y="221911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1" name="object 36"/>
          <p:cNvSpPr/>
          <p:nvPr/>
        </p:nvSpPr>
        <p:spPr>
          <a:xfrm>
            <a:off x="7385165" y="340218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6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7"/>
                </a:lnTo>
                <a:lnTo>
                  <a:pt x="310251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2" name="object 34"/>
          <p:cNvSpPr/>
          <p:nvPr/>
        </p:nvSpPr>
        <p:spPr>
          <a:xfrm>
            <a:off x="5038354" y="24830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3" name="object 32"/>
          <p:cNvSpPr/>
          <p:nvPr/>
        </p:nvSpPr>
        <p:spPr>
          <a:xfrm>
            <a:off x="7192732" y="159327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4" name="object 30"/>
          <p:cNvSpPr/>
          <p:nvPr/>
        </p:nvSpPr>
        <p:spPr>
          <a:xfrm>
            <a:off x="6201572" y="316997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5" name="object 28"/>
          <p:cNvSpPr/>
          <p:nvPr/>
        </p:nvSpPr>
        <p:spPr>
          <a:xfrm>
            <a:off x="4877989" y="532865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6" name="object 26"/>
          <p:cNvSpPr/>
          <p:nvPr/>
        </p:nvSpPr>
        <p:spPr>
          <a:xfrm>
            <a:off x="5581873" y="4521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7" name="object 24"/>
          <p:cNvSpPr/>
          <p:nvPr/>
        </p:nvSpPr>
        <p:spPr>
          <a:xfrm>
            <a:off x="3528670" y="35173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8" name="object 22"/>
          <p:cNvSpPr/>
          <p:nvPr/>
        </p:nvSpPr>
        <p:spPr>
          <a:xfrm>
            <a:off x="3252845" y="520650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9" name="object 20"/>
          <p:cNvSpPr/>
          <p:nvPr/>
        </p:nvSpPr>
        <p:spPr>
          <a:xfrm>
            <a:off x="3849401" y="4051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0" name="object 18"/>
          <p:cNvSpPr/>
          <p:nvPr/>
        </p:nvSpPr>
        <p:spPr>
          <a:xfrm>
            <a:off x="6713687" y="269105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1" name="object 6"/>
          <p:cNvSpPr txBox="1"/>
          <p:nvPr/>
        </p:nvSpPr>
        <p:spPr>
          <a:xfrm>
            <a:off x="1332125" y="3759280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sp>
        <p:nvSpPr>
          <p:cNvPr id="112" name="object 5"/>
          <p:cNvSpPr txBox="1"/>
          <p:nvPr/>
        </p:nvSpPr>
        <p:spPr>
          <a:xfrm>
            <a:off x="5426815" y="6116930"/>
            <a:ext cx="542241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Age</a:t>
            </a:r>
            <a:endParaRPr sz="2400">
              <a:cs typeface="Calibri"/>
            </a:endParaRPr>
          </a:p>
        </p:txBody>
      </p:sp>
      <p:grpSp>
        <p:nvGrpSpPr>
          <p:cNvPr id="113" name="Group 112"/>
          <p:cNvGrpSpPr/>
          <p:nvPr/>
        </p:nvGrpSpPr>
        <p:grpSpPr>
          <a:xfrm>
            <a:off x="2383438" y="1888930"/>
            <a:ext cx="6303362" cy="4054670"/>
            <a:chOff x="2343901" y="1923700"/>
            <a:chExt cx="6303362" cy="4054670"/>
          </a:xfrm>
        </p:grpSpPr>
        <p:sp>
          <p:nvSpPr>
            <p:cNvPr id="114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115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  <p:sp>
        <p:nvSpPr>
          <p:cNvPr id="116" name="object 10"/>
          <p:cNvSpPr txBox="1"/>
          <p:nvPr/>
        </p:nvSpPr>
        <p:spPr>
          <a:xfrm>
            <a:off x="2101916" y="369650"/>
            <a:ext cx="6296519" cy="4318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3400"/>
              </a:lnSpc>
              <a:spcBef>
                <a:spcPts val="170"/>
              </a:spcBef>
            </a:pPr>
            <a:r>
              <a:rPr lang="en-US" sz="4800" baseline="1706" dirty="0">
                <a:solidFill>
                  <a:srgbClr val="4E81BC"/>
                </a:solidFill>
                <a:latin typeface="+mj-lt"/>
                <a:cs typeface="Calibri"/>
              </a:rPr>
              <a:t>Agglomerative </a:t>
            </a:r>
            <a:r>
              <a:rPr sz="4800" baseline="1706" dirty="0">
                <a:solidFill>
                  <a:srgbClr val="F69545"/>
                </a:solidFill>
                <a:latin typeface="+mj-lt"/>
                <a:cs typeface="Calibri"/>
              </a:rPr>
              <a:t>Hierarchical</a:t>
            </a:r>
            <a:r>
              <a:rPr sz="4800" spc="0" baseline="1706" dirty="0" smtClean="0">
                <a:solidFill>
                  <a:srgbClr val="4E81BC"/>
                </a:solidFill>
                <a:latin typeface="+mj-lt"/>
                <a:cs typeface="Calibri"/>
              </a:rPr>
              <a:t> Clustering</a:t>
            </a:r>
            <a:endParaRPr sz="3200" dirty="0">
              <a:latin typeface="+mj-lt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353985926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object 27"/>
          <p:cNvSpPr/>
          <p:nvPr/>
        </p:nvSpPr>
        <p:spPr>
          <a:xfrm>
            <a:off x="2346246" y="2489821"/>
            <a:ext cx="320729" cy="347361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232" y="183105"/>
                </a:lnTo>
                <a:lnTo>
                  <a:pt x="1582" y="198178"/>
                </a:lnTo>
                <a:lnTo>
                  <a:pt x="4094" y="212847"/>
                </a:lnTo>
                <a:lnTo>
                  <a:pt x="7715" y="227057"/>
                </a:lnTo>
                <a:lnTo>
                  <a:pt x="12394" y="240751"/>
                </a:lnTo>
                <a:lnTo>
                  <a:pt x="18081" y="253876"/>
                </a:lnTo>
                <a:lnTo>
                  <a:pt x="24724" y="266374"/>
                </a:lnTo>
                <a:lnTo>
                  <a:pt x="32271" y="278191"/>
                </a:lnTo>
                <a:lnTo>
                  <a:pt x="40672" y="289272"/>
                </a:lnTo>
                <a:lnTo>
                  <a:pt x="49875" y="299560"/>
                </a:lnTo>
                <a:lnTo>
                  <a:pt x="59829" y="309001"/>
                </a:lnTo>
                <a:lnTo>
                  <a:pt x="70484" y="317539"/>
                </a:lnTo>
                <a:lnTo>
                  <a:pt x="81787" y="325118"/>
                </a:lnTo>
                <a:lnTo>
                  <a:pt x="93688" y="331684"/>
                </a:lnTo>
                <a:lnTo>
                  <a:pt x="106135" y="337180"/>
                </a:lnTo>
                <a:lnTo>
                  <a:pt x="119077" y="341551"/>
                </a:lnTo>
                <a:lnTo>
                  <a:pt x="132464" y="344742"/>
                </a:lnTo>
                <a:lnTo>
                  <a:pt x="146243" y="346697"/>
                </a:lnTo>
                <a:lnTo>
                  <a:pt x="160364" y="347361"/>
                </a:lnTo>
                <a:lnTo>
                  <a:pt x="169068" y="347110"/>
                </a:lnTo>
                <a:lnTo>
                  <a:pt x="182985" y="345646"/>
                </a:lnTo>
                <a:lnTo>
                  <a:pt x="196529" y="342926"/>
                </a:lnTo>
                <a:lnTo>
                  <a:pt x="209649" y="339004"/>
                </a:lnTo>
                <a:lnTo>
                  <a:pt x="222294" y="333936"/>
                </a:lnTo>
                <a:lnTo>
                  <a:pt x="234412" y="327778"/>
                </a:lnTo>
                <a:lnTo>
                  <a:pt x="245952" y="320583"/>
                </a:lnTo>
                <a:lnTo>
                  <a:pt x="256863" y="312409"/>
                </a:lnTo>
                <a:lnTo>
                  <a:pt x="267094" y="303311"/>
                </a:lnTo>
                <a:lnTo>
                  <a:pt x="276593" y="293343"/>
                </a:lnTo>
                <a:lnTo>
                  <a:pt x="285310" y="282562"/>
                </a:lnTo>
                <a:lnTo>
                  <a:pt x="293193" y="271023"/>
                </a:lnTo>
                <a:lnTo>
                  <a:pt x="300192" y="258781"/>
                </a:lnTo>
                <a:lnTo>
                  <a:pt x="306254" y="245892"/>
                </a:lnTo>
                <a:lnTo>
                  <a:pt x="311328" y="232411"/>
                </a:lnTo>
                <a:lnTo>
                  <a:pt x="315364" y="218394"/>
                </a:lnTo>
                <a:lnTo>
                  <a:pt x="318311" y="203896"/>
                </a:lnTo>
                <a:lnTo>
                  <a:pt x="320116" y="188973"/>
                </a:lnTo>
                <a:lnTo>
                  <a:pt x="320729" y="173680"/>
                </a:lnTo>
                <a:lnTo>
                  <a:pt x="320497" y="164254"/>
                </a:lnTo>
                <a:lnTo>
                  <a:pt x="319146" y="149181"/>
                </a:lnTo>
                <a:lnTo>
                  <a:pt x="316635" y="134512"/>
                </a:lnTo>
                <a:lnTo>
                  <a:pt x="313013" y="120303"/>
                </a:lnTo>
                <a:lnTo>
                  <a:pt x="308334" y="106609"/>
                </a:lnTo>
                <a:lnTo>
                  <a:pt x="302647" y="93485"/>
                </a:lnTo>
                <a:lnTo>
                  <a:pt x="296005" y="80986"/>
                </a:lnTo>
                <a:lnTo>
                  <a:pt x="288457" y="69169"/>
                </a:lnTo>
                <a:lnTo>
                  <a:pt x="280056" y="58089"/>
                </a:lnTo>
                <a:lnTo>
                  <a:pt x="270853" y="47800"/>
                </a:lnTo>
                <a:lnTo>
                  <a:pt x="260898" y="38359"/>
                </a:lnTo>
                <a:lnTo>
                  <a:pt x="250244" y="29822"/>
                </a:lnTo>
                <a:lnTo>
                  <a:pt x="238941" y="22242"/>
                </a:lnTo>
                <a:lnTo>
                  <a:pt x="227040" y="15677"/>
                </a:lnTo>
                <a:lnTo>
                  <a:pt x="214593" y="10181"/>
                </a:lnTo>
                <a:lnTo>
                  <a:pt x="201650" y="5810"/>
                </a:lnTo>
                <a:lnTo>
                  <a:pt x="188264" y="2619"/>
                </a:lnTo>
                <a:lnTo>
                  <a:pt x="174484" y="664"/>
                </a:lnTo>
                <a:lnTo>
                  <a:pt x="160364" y="0"/>
                </a:lnTo>
                <a:lnTo>
                  <a:pt x="151662" y="251"/>
                </a:lnTo>
                <a:lnTo>
                  <a:pt x="137744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5" y="13423"/>
                </a:lnTo>
                <a:lnTo>
                  <a:pt x="86317" y="19582"/>
                </a:lnTo>
                <a:lnTo>
                  <a:pt x="74777" y="26776"/>
                </a:lnTo>
                <a:lnTo>
                  <a:pt x="63866" y="34950"/>
                </a:lnTo>
                <a:lnTo>
                  <a:pt x="53635" y="44049"/>
                </a:lnTo>
                <a:lnTo>
                  <a:pt x="44135" y="54016"/>
                </a:lnTo>
                <a:lnTo>
                  <a:pt x="35418" y="64797"/>
                </a:lnTo>
                <a:lnTo>
                  <a:pt x="27535" y="76337"/>
                </a:lnTo>
                <a:lnTo>
                  <a:pt x="20537" y="88578"/>
                </a:lnTo>
                <a:lnTo>
                  <a:pt x="14475" y="101467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0" name="object 8"/>
          <p:cNvSpPr/>
          <p:nvPr/>
        </p:nvSpPr>
        <p:spPr>
          <a:xfrm>
            <a:off x="1786879" y="5254236"/>
            <a:ext cx="320730" cy="347361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ln w="25399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1" name="object 74"/>
          <p:cNvSpPr/>
          <p:nvPr/>
        </p:nvSpPr>
        <p:spPr>
          <a:xfrm>
            <a:off x="286325" y="525423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7F1676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2" name="object 48"/>
          <p:cNvSpPr/>
          <p:nvPr/>
        </p:nvSpPr>
        <p:spPr>
          <a:xfrm>
            <a:off x="1773507" y="525423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3" name="object 26"/>
          <p:cNvSpPr/>
          <p:nvPr/>
        </p:nvSpPr>
        <p:spPr>
          <a:xfrm>
            <a:off x="3485667" y="528769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4" name="object 68"/>
          <p:cNvSpPr/>
          <p:nvPr/>
        </p:nvSpPr>
        <p:spPr>
          <a:xfrm>
            <a:off x="5376346" y="528782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5" name="object 32"/>
          <p:cNvSpPr/>
          <p:nvPr/>
        </p:nvSpPr>
        <p:spPr>
          <a:xfrm>
            <a:off x="7835202" y="528769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094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7" name="object 10"/>
          <p:cNvSpPr txBox="1"/>
          <p:nvPr/>
        </p:nvSpPr>
        <p:spPr>
          <a:xfrm>
            <a:off x="2101916" y="369650"/>
            <a:ext cx="6296519" cy="4318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3400"/>
              </a:lnSpc>
              <a:spcBef>
                <a:spcPts val="170"/>
              </a:spcBef>
            </a:pPr>
            <a:r>
              <a:rPr lang="en-US" sz="4800" baseline="1706" dirty="0">
                <a:solidFill>
                  <a:srgbClr val="4E81BC"/>
                </a:solidFill>
                <a:latin typeface="+mj-lt"/>
                <a:cs typeface="Calibri"/>
              </a:rPr>
              <a:t>Agglomerative </a:t>
            </a:r>
            <a:r>
              <a:rPr sz="4800" baseline="1706" dirty="0">
                <a:solidFill>
                  <a:srgbClr val="F69545"/>
                </a:solidFill>
                <a:latin typeface="+mj-lt"/>
                <a:cs typeface="Calibri"/>
              </a:rPr>
              <a:t>Hierarchical</a:t>
            </a:r>
            <a:r>
              <a:rPr sz="4800" spc="0" baseline="1706" dirty="0" smtClean="0">
                <a:solidFill>
                  <a:srgbClr val="4E81BC"/>
                </a:solidFill>
                <a:latin typeface="+mj-lt"/>
                <a:cs typeface="Calibri"/>
              </a:rPr>
              <a:t> Clustering</a:t>
            </a:r>
            <a:endParaRPr sz="3200" dirty="0">
              <a:latin typeface="+mj-lt"/>
              <a:cs typeface="Calibri"/>
            </a:endParaRPr>
          </a:p>
        </p:txBody>
      </p:sp>
      <p:sp>
        <p:nvSpPr>
          <p:cNvPr id="35" name="Freeform 34"/>
          <p:cNvSpPr/>
          <p:nvPr/>
        </p:nvSpPr>
        <p:spPr>
          <a:xfrm>
            <a:off x="1371599" y="4876800"/>
            <a:ext cx="596901" cy="381000"/>
          </a:xfrm>
          <a:custGeom>
            <a:avLst/>
            <a:gdLst>
              <a:gd name="connsiteX0" fmla="*/ 0 w 571617"/>
              <a:gd name="connsiteY0" fmla="*/ 3770 h 413345"/>
              <a:gd name="connsiteX1" fmla="*/ 0 w 571617"/>
              <a:gd name="connsiteY1" fmla="*/ 3770 h 413345"/>
              <a:gd name="connsiteX2" fmla="*/ 476250 w 571617"/>
              <a:gd name="connsiteY2" fmla="*/ 6945 h 413345"/>
              <a:gd name="connsiteX3" fmla="*/ 571500 w 571617"/>
              <a:gd name="connsiteY3" fmla="*/ 32345 h 413345"/>
              <a:gd name="connsiteX4" fmla="*/ 571500 w 571617"/>
              <a:gd name="connsiteY4" fmla="*/ 413345 h 413345"/>
              <a:gd name="connsiteX0" fmla="*/ 0 w 571500"/>
              <a:gd name="connsiteY0" fmla="*/ 8358 h 417933"/>
              <a:gd name="connsiteX1" fmla="*/ 0 w 571500"/>
              <a:gd name="connsiteY1" fmla="*/ 8358 h 417933"/>
              <a:gd name="connsiteX2" fmla="*/ 476250 w 571500"/>
              <a:gd name="connsiteY2" fmla="*/ 11533 h 417933"/>
              <a:gd name="connsiteX3" fmla="*/ 571500 w 571500"/>
              <a:gd name="connsiteY3" fmla="*/ 36933 h 417933"/>
              <a:gd name="connsiteX4" fmla="*/ 571500 w 571500"/>
              <a:gd name="connsiteY4" fmla="*/ 417933 h 417933"/>
              <a:gd name="connsiteX0" fmla="*/ 0 w 571500"/>
              <a:gd name="connsiteY0" fmla="*/ 0 h 409575"/>
              <a:gd name="connsiteX1" fmla="*/ 0 w 571500"/>
              <a:gd name="connsiteY1" fmla="*/ 0 h 409575"/>
              <a:gd name="connsiteX2" fmla="*/ 571500 w 571500"/>
              <a:gd name="connsiteY2" fmla="*/ 28575 h 409575"/>
              <a:gd name="connsiteX3" fmla="*/ 571500 w 571500"/>
              <a:gd name="connsiteY3" fmla="*/ 409575 h 409575"/>
              <a:gd name="connsiteX0" fmla="*/ 0 w 577850"/>
              <a:gd name="connsiteY0" fmla="*/ 0 h 409575"/>
              <a:gd name="connsiteX1" fmla="*/ 0 w 577850"/>
              <a:gd name="connsiteY1" fmla="*/ 0 h 409575"/>
              <a:gd name="connsiteX2" fmla="*/ 577850 w 577850"/>
              <a:gd name="connsiteY2" fmla="*/ 3175 h 409575"/>
              <a:gd name="connsiteX3" fmla="*/ 571500 w 577850"/>
              <a:gd name="connsiteY3" fmla="*/ 409575 h 4095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77850" h="409575">
                <a:moveTo>
                  <a:pt x="0" y="0"/>
                </a:moveTo>
                <a:lnTo>
                  <a:pt x="0" y="0"/>
                </a:lnTo>
                <a:lnTo>
                  <a:pt x="577850" y="3175"/>
                </a:lnTo>
                <a:lnTo>
                  <a:pt x="571500" y="409575"/>
                </a:lnTo>
              </a:path>
            </a:pathLst>
          </a:custGeom>
          <a:noFill/>
          <a:ln>
            <a:solidFill>
              <a:srgbClr val="6094C9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6" name="Freeform 35"/>
          <p:cNvSpPr/>
          <p:nvPr/>
        </p:nvSpPr>
        <p:spPr>
          <a:xfrm flipH="1">
            <a:off x="451015" y="4876800"/>
            <a:ext cx="596901" cy="381000"/>
          </a:xfrm>
          <a:custGeom>
            <a:avLst/>
            <a:gdLst>
              <a:gd name="connsiteX0" fmla="*/ 0 w 571617"/>
              <a:gd name="connsiteY0" fmla="*/ 3770 h 413345"/>
              <a:gd name="connsiteX1" fmla="*/ 0 w 571617"/>
              <a:gd name="connsiteY1" fmla="*/ 3770 h 413345"/>
              <a:gd name="connsiteX2" fmla="*/ 476250 w 571617"/>
              <a:gd name="connsiteY2" fmla="*/ 6945 h 413345"/>
              <a:gd name="connsiteX3" fmla="*/ 571500 w 571617"/>
              <a:gd name="connsiteY3" fmla="*/ 32345 h 413345"/>
              <a:gd name="connsiteX4" fmla="*/ 571500 w 571617"/>
              <a:gd name="connsiteY4" fmla="*/ 413345 h 413345"/>
              <a:gd name="connsiteX0" fmla="*/ 0 w 571500"/>
              <a:gd name="connsiteY0" fmla="*/ 8358 h 417933"/>
              <a:gd name="connsiteX1" fmla="*/ 0 w 571500"/>
              <a:gd name="connsiteY1" fmla="*/ 8358 h 417933"/>
              <a:gd name="connsiteX2" fmla="*/ 476250 w 571500"/>
              <a:gd name="connsiteY2" fmla="*/ 11533 h 417933"/>
              <a:gd name="connsiteX3" fmla="*/ 571500 w 571500"/>
              <a:gd name="connsiteY3" fmla="*/ 36933 h 417933"/>
              <a:gd name="connsiteX4" fmla="*/ 571500 w 571500"/>
              <a:gd name="connsiteY4" fmla="*/ 417933 h 417933"/>
              <a:gd name="connsiteX0" fmla="*/ 0 w 571500"/>
              <a:gd name="connsiteY0" fmla="*/ 0 h 409575"/>
              <a:gd name="connsiteX1" fmla="*/ 0 w 571500"/>
              <a:gd name="connsiteY1" fmla="*/ 0 h 409575"/>
              <a:gd name="connsiteX2" fmla="*/ 571500 w 571500"/>
              <a:gd name="connsiteY2" fmla="*/ 28575 h 409575"/>
              <a:gd name="connsiteX3" fmla="*/ 571500 w 571500"/>
              <a:gd name="connsiteY3" fmla="*/ 409575 h 409575"/>
              <a:gd name="connsiteX0" fmla="*/ 0 w 577850"/>
              <a:gd name="connsiteY0" fmla="*/ 0 h 409575"/>
              <a:gd name="connsiteX1" fmla="*/ 0 w 577850"/>
              <a:gd name="connsiteY1" fmla="*/ 0 h 409575"/>
              <a:gd name="connsiteX2" fmla="*/ 577850 w 577850"/>
              <a:gd name="connsiteY2" fmla="*/ 3175 h 409575"/>
              <a:gd name="connsiteX3" fmla="*/ 571500 w 577850"/>
              <a:gd name="connsiteY3" fmla="*/ 409575 h 4095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77850" h="409575">
                <a:moveTo>
                  <a:pt x="0" y="0"/>
                </a:moveTo>
                <a:lnTo>
                  <a:pt x="0" y="0"/>
                </a:lnTo>
                <a:lnTo>
                  <a:pt x="577850" y="3175"/>
                </a:lnTo>
                <a:lnTo>
                  <a:pt x="571500" y="409575"/>
                </a:lnTo>
              </a:path>
            </a:pathLst>
          </a:custGeom>
          <a:noFill/>
          <a:ln>
            <a:solidFill>
              <a:srgbClr val="6094C9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7" name="object 5"/>
          <p:cNvSpPr/>
          <p:nvPr/>
        </p:nvSpPr>
        <p:spPr>
          <a:xfrm>
            <a:off x="8676629" y="1036574"/>
            <a:ext cx="0" cy="4598485"/>
          </a:xfrm>
          <a:custGeom>
            <a:avLst/>
            <a:gdLst/>
            <a:ahLst/>
            <a:cxnLst/>
            <a:rect l="l" t="t" r="r" b="b"/>
            <a:pathLst>
              <a:path h="4598485">
                <a:moveTo>
                  <a:pt x="0" y="4598485"/>
                </a:moveTo>
                <a:lnTo>
                  <a:pt x="0" y="0"/>
                </a:lnTo>
              </a:path>
            </a:pathLst>
          </a:custGeom>
          <a:ln w="38099">
            <a:solidFill>
              <a:srgbClr val="937AB1"/>
            </a:solidFill>
            <a:tailEnd type="arrow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8" name="object 2"/>
          <p:cNvSpPr txBox="1"/>
          <p:nvPr/>
        </p:nvSpPr>
        <p:spPr>
          <a:xfrm rot="5400000">
            <a:off x="8269473" y="3145316"/>
            <a:ext cx="1310588" cy="3810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 algn="ctr">
              <a:lnSpc>
                <a:spcPts val="3000"/>
              </a:lnSpc>
              <a:spcBef>
                <a:spcPts val="150"/>
              </a:spcBef>
            </a:pPr>
            <a:r>
              <a:rPr sz="4200" spc="0" baseline="1950" dirty="0" smtClean="0">
                <a:solidFill>
                  <a:srgbClr val="8063A1"/>
                </a:solidFill>
                <a:cs typeface="Calibri"/>
              </a:rPr>
              <a:t>distance</a:t>
            </a:r>
            <a:endParaRPr sz="2800" dirty="0">
              <a:cs typeface="Calibri"/>
            </a:endParaRPr>
          </a:p>
        </p:txBody>
      </p:sp>
      <p:sp>
        <p:nvSpPr>
          <p:cNvPr id="39" name="Freeform 38"/>
          <p:cNvSpPr/>
          <p:nvPr/>
        </p:nvSpPr>
        <p:spPr>
          <a:xfrm>
            <a:off x="6814291" y="3678833"/>
            <a:ext cx="1186709" cy="1608866"/>
          </a:xfrm>
          <a:custGeom>
            <a:avLst/>
            <a:gdLst>
              <a:gd name="connsiteX0" fmla="*/ 0 w 571617"/>
              <a:gd name="connsiteY0" fmla="*/ 3770 h 413345"/>
              <a:gd name="connsiteX1" fmla="*/ 0 w 571617"/>
              <a:gd name="connsiteY1" fmla="*/ 3770 h 413345"/>
              <a:gd name="connsiteX2" fmla="*/ 476250 w 571617"/>
              <a:gd name="connsiteY2" fmla="*/ 6945 h 413345"/>
              <a:gd name="connsiteX3" fmla="*/ 571500 w 571617"/>
              <a:gd name="connsiteY3" fmla="*/ 32345 h 413345"/>
              <a:gd name="connsiteX4" fmla="*/ 571500 w 571617"/>
              <a:gd name="connsiteY4" fmla="*/ 413345 h 413345"/>
              <a:gd name="connsiteX0" fmla="*/ 0 w 571500"/>
              <a:gd name="connsiteY0" fmla="*/ 8358 h 417933"/>
              <a:gd name="connsiteX1" fmla="*/ 0 w 571500"/>
              <a:gd name="connsiteY1" fmla="*/ 8358 h 417933"/>
              <a:gd name="connsiteX2" fmla="*/ 476250 w 571500"/>
              <a:gd name="connsiteY2" fmla="*/ 11533 h 417933"/>
              <a:gd name="connsiteX3" fmla="*/ 571500 w 571500"/>
              <a:gd name="connsiteY3" fmla="*/ 36933 h 417933"/>
              <a:gd name="connsiteX4" fmla="*/ 571500 w 571500"/>
              <a:gd name="connsiteY4" fmla="*/ 417933 h 417933"/>
              <a:gd name="connsiteX0" fmla="*/ 0 w 571500"/>
              <a:gd name="connsiteY0" fmla="*/ 0 h 409575"/>
              <a:gd name="connsiteX1" fmla="*/ 0 w 571500"/>
              <a:gd name="connsiteY1" fmla="*/ 0 h 409575"/>
              <a:gd name="connsiteX2" fmla="*/ 571500 w 571500"/>
              <a:gd name="connsiteY2" fmla="*/ 28575 h 409575"/>
              <a:gd name="connsiteX3" fmla="*/ 571500 w 571500"/>
              <a:gd name="connsiteY3" fmla="*/ 409575 h 409575"/>
              <a:gd name="connsiteX0" fmla="*/ 0 w 577850"/>
              <a:gd name="connsiteY0" fmla="*/ 0 h 409575"/>
              <a:gd name="connsiteX1" fmla="*/ 0 w 577850"/>
              <a:gd name="connsiteY1" fmla="*/ 0 h 409575"/>
              <a:gd name="connsiteX2" fmla="*/ 577850 w 577850"/>
              <a:gd name="connsiteY2" fmla="*/ 3175 h 409575"/>
              <a:gd name="connsiteX3" fmla="*/ 571500 w 577850"/>
              <a:gd name="connsiteY3" fmla="*/ 409575 h 4095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77850" h="409575">
                <a:moveTo>
                  <a:pt x="0" y="0"/>
                </a:moveTo>
                <a:lnTo>
                  <a:pt x="0" y="0"/>
                </a:lnTo>
                <a:lnTo>
                  <a:pt x="577850" y="3175"/>
                </a:lnTo>
                <a:lnTo>
                  <a:pt x="571500" y="409575"/>
                </a:lnTo>
              </a:path>
            </a:pathLst>
          </a:custGeom>
          <a:noFill/>
          <a:ln>
            <a:solidFill>
              <a:srgbClr val="6094C9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0" name="Freeform 39"/>
          <p:cNvSpPr/>
          <p:nvPr/>
        </p:nvSpPr>
        <p:spPr>
          <a:xfrm flipH="1">
            <a:off x="5486826" y="3678833"/>
            <a:ext cx="1186709" cy="1608866"/>
          </a:xfrm>
          <a:custGeom>
            <a:avLst/>
            <a:gdLst>
              <a:gd name="connsiteX0" fmla="*/ 0 w 571617"/>
              <a:gd name="connsiteY0" fmla="*/ 3770 h 413345"/>
              <a:gd name="connsiteX1" fmla="*/ 0 w 571617"/>
              <a:gd name="connsiteY1" fmla="*/ 3770 h 413345"/>
              <a:gd name="connsiteX2" fmla="*/ 476250 w 571617"/>
              <a:gd name="connsiteY2" fmla="*/ 6945 h 413345"/>
              <a:gd name="connsiteX3" fmla="*/ 571500 w 571617"/>
              <a:gd name="connsiteY3" fmla="*/ 32345 h 413345"/>
              <a:gd name="connsiteX4" fmla="*/ 571500 w 571617"/>
              <a:gd name="connsiteY4" fmla="*/ 413345 h 413345"/>
              <a:gd name="connsiteX0" fmla="*/ 0 w 571500"/>
              <a:gd name="connsiteY0" fmla="*/ 8358 h 417933"/>
              <a:gd name="connsiteX1" fmla="*/ 0 w 571500"/>
              <a:gd name="connsiteY1" fmla="*/ 8358 h 417933"/>
              <a:gd name="connsiteX2" fmla="*/ 476250 w 571500"/>
              <a:gd name="connsiteY2" fmla="*/ 11533 h 417933"/>
              <a:gd name="connsiteX3" fmla="*/ 571500 w 571500"/>
              <a:gd name="connsiteY3" fmla="*/ 36933 h 417933"/>
              <a:gd name="connsiteX4" fmla="*/ 571500 w 571500"/>
              <a:gd name="connsiteY4" fmla="*/ 417933 h 417933"/>
              <a:gd name="connsiteX0" fmla="*/ 0 w 571500"/>
              <a:gd name="connsiteY0" fmla="*/ 0 h 409575"/>
              <a:gd name="connsiteX1" fmla="*/ 0 w 571500"/>
              <a:gd name="connsiteY1" fmla="*/ 0 h 409575"/>
              <a:gd name="connsiteX2" fmla="*/ 571500 w 571500"/>
              <a:gd name="connsiteY2" fmla="*/ 28575 h 409575"/>
              <a:gd name="connsiteX3" fmla="*/ 571500 w 571500"/>
              <a:gd name="connsiteY3" fmla="*/ 409575 h 409575"/>
              <a:gd name="connsiteX0" fmla="*/ 0 w 577850"/>
              <a:gd name="connsiteY0" fmla="*/ 0 h 409575"/>
              <a:gd name="connsiteX1" fmla="*/ 0 w 577850"/>
              <a:gd name="connsiteY1" fmla="*/ 0 h 409575"/>
              <a:gd name="connsiteX2" fmla="*/ 577850 w 577850"/>
              <a:gd name="connsiteY2" fmla="*/ 3175 h 409575"/>
              <a:gd name="connsiteX3" fmla="*/ 571500 w 577850"/>
              <a:gd name="connsiteY3" fmla="*/ 409575 h 4095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77850" h="409575">
                <a:moveTo>
                  <a:pt x="0" y="0"/>
                </a:moveTo>
                <a:lnTo>
                  <a:pt x="0" y="0"/>
                </a:lnTo>
                <a:lnTo>
                  <a:pt x="577850" y="3175"/>
                </a:lnTo>
                <a:lnTo>
                  <a:pt x="571500" y="409575"/>
                </a:lnTo>
              </a:path>
            </a:pathLst>
          </a:custGeom>
          <a:noFill/>
          <a:ln>
            <a:solidFill>
              <a:srgbClr val="6094C9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8" name="object 68"/>
          <p:cNvSpPr/>
          <p:nvPr/>
        </p:nvSpPr>
        <p:spPr>
          <a:xfrm>
            <a:off x="6605774" y="352186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1" name="Freeform 40"/>
          <p:cNvSpPr/>
          <p:nvPr/>
        </p:nvSpPr>
        <p:spPr>
          <a:xfrm flipH="1">
            <a:off x="1175489" y="2680522"/>
            <a:ext cx="1186709" cy="2052544"/>
          </a:xfrm>
          <a:custGeom>
            <a:avLst/>
            <a:gdLst>
              <a:gd name="connsiteX0" fmla="*/ 0 w 571617"/>
              <a:gd name="connsiteY0" fmla="*/ 3770 h 413345"/>
              <a:gd name="connsiteX1" fmla="*/ 0 w 571617"/>
              <a:gd name="connsiteY1" fmla="*/ 3770 h 413345"/>
              <a:gd name="connsiteX2" fmla="*/ 476250 w 571617"/>
              <a:gd name="connsiteY2" fmla="*/ 6945 h 413345"/>
              <a:gd name="connsiteX3" fmla="*/ 571500 w 571617"/>
              <a:gd name="connsiteY3" fmla="*/ 32345 h 413345"/>
              <a:gd name="connsiteX4" fmla="*/ 571500 w 571617"/>
              <a:gd name="connsiteY4" fmla="*/ 413345 h 413345"/>
              <a:gd name="connsiteX0" fmla="*/ 0 w 571500"/>
              <a:gd name="connsiteY0" fmla="*/ 8358 h 417933"/>
              <a:gd name="connsiteX1" fmla="*/ 0 w 571500"/>
              <a:gd name="connsiteY1" fmla="*/ 8358 h 417933"/>
              <a:gd name="connsiteX2" fmla="*/ 476250 w 571500"/>
              <a:gd name="connsiteY2" fmla="*/ 11533 h 417933"/>
              <a:gd name="connsiteX3" fmla="*/ 571500 w 571500"/>
              <a:gd name="connsiteY3" fmla="*/ 36933 h 417933"/>
              <a:gd name="connsiteX4" fmla="*/ 571500 w 571500"/>
              <a:gd name="connsiteY4" fmla="*/ 417933 h 417933"/>
              <a:gd name="connsiteX0" fmla="*/ 0 w 571500"/>
              <a:gd name="connsiteY0" fmla="*/ 0 h 409575"/>
              <a:gd name="connsiteX1" fmla="*/ 0 w 571500"/>
              <a:gd name="connsiteY1" fmla="*/ 0 h 409575"/>
              <a:gd name="connsiteX2" fmla="*/ 571500 w 571500"/>
              <a:gd name="connsiteY2" fmla="*/ 28575 h 409575"/>
              <a:gd name="connsiteX3" fmla="*/ 571500 w 571500"/>
              <a:gd name="connsiteY3" fmla="*/ 409575 h 409575"/>
              <a:gd name="connsiteX0" fmla="*/ 0 w 577850"/>
              <a:gd name="connsiteY0" fmla="*/ 0 h 409575"/>
              <a:gd name="connsiteX1" fmla="*/ 0 w 577850"/>
              <a:gd name="connsiteY1" fmla="*/ 0 h 409575"/>
              <a:gd name="connsiteX2" fmla="*/ 577850 w 577850"/>
              <a:gd name="connsiteY2" fmla="*/ 3175 h 409575"/>
              <a:gd name="connsiteX3" fmla="*/ 571500 w 577850"/>
              <a:gd name="connsiteY3" fmla="*/ 409575 h 4095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77850" h="409575">
                <a:moveTo>
                  <a:pt x="0" y="0"/>
                </a:moveTo>
                <a:lnTo>
                  <a:pt x="0" y="0"/>
                </a:lnTo>
                <a:lnTo>
                  <a:pt x="577850" y="3175"/>
                </a:lnTo>
                <a:lnTo>
                  <a:pt x="571500" y="409575"/>
                </a:lnTo>
              </a:path>
            </a:pathLst>
          </a:custGeom>
          <a:noFill/>
          <a:ln>
            <a:solidFill>
              <a:srgbClr val="6094C9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object 28"/>
          <p:cNvSpPr/>
          <p:nvPr/>
        </p:nvSpPr>
        <p:spPr>
          <a:xfrm>
            <a:off x="2346246" y="2489820"/>
            <a:ext cx="320729" cy="34736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ln w="25399">
            <a:solidFill>
              <a:srgbClr val="9E4B45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6" name="object 48"/>
          <p:cNvSpPr/>
          <p:nvPr/>
        </p:nvSpPr>
        <p:spPr>
          <a:xfrm>
            <a:off x="1028194" y="471414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2" name="Freeform 41"/>
          <p:cNvSpPr/>
          <p:nvPr/>
        </p:nvSpPr>
        <p:spPr>
          <a:xfrm>
            <a:off x="2662411" y="2680521"/>
            <a:ext cx="995190" cy="2573713"/>
          </a:xfrm>
          <a:custGeom>
            <a:avLst/>
            <a:gdLst>
              <a:gd name="connsiteX0" fmla="*/ 0 w 571617"/>
              <a:gd name="connsiteY0" fmla="*/ 3770 h 413345"/>
              <a:gd name="connsiteX1" fmla="*/ 0 w 571617"/>
              <a:gd name="connsiteY1" fmla="*/ 3770 h 413345"/>
              <a:gd name="connsiteX2" fmla="*/ 476250 w 571617"/>
              <a:gd name="connsiteY2" fmla="*/ 6945 h 413345"/>
              <a:gd name="connsiteX3" fmla="*/ 571500 w 571617"/>
              <a:gd name="connsiteY3" fmla="*/ 32345 h 413345"/>
              <a:gd name="connsiteX4" fmla="*/ 571500 w 571617"/>
              <a:gd name="connsiteY4" fmla="*/ 413345 h 413345"/>
              <a:gd name="connsiteX0" fmla="*/ 0 w 571500"/>
              <a:gd name="connsiteY0" fmla="*/ 8358 h 417933"/>
              <a:gd name="connsiteX1" fmla="*/ 0 w 571500"/>
              <a:gd name="connsiteY1" fmla="*/ 8358 h 417933"/>
              <a:gd name="connsiteX2" fmla="*/ 476250 w 571500"/>
              <a:gd name="connsiteY2" fmla="*/ 11533 h 417933"/>
              <a:gd name="connsiteX3" fmla="*/ 571500 w 571500"/>
              <a:gd name="connsiteY3" fmla="*/ 36933 h 417933"/>
              <a:gd name="connsiteX4" fmla="*/ 571500 w 571500"/>
              <a:gd name="connsiteY4" fmla="*/ 417933 h 417933"/>
              <a:gd name="connsiteX0" fmla="*/ 0 w 571500"/>
              <a:gd name="connsiteY0" fmla="*/ 0 h 409575"/>
              <a:gd name="connsiteX1" fmla="*/ 0 w 571500"/>
              <a:gd name="connsiteY1" fmla="*/ 0 h 409575"/>
              <a:gd name="connsiteX2" fmla="*/ 571500 w 571500"/>
              <a:gd name="connsiteY2" fmla="*/ 28575 h 409575"/>
              <a:gd name="connsiteX3" fmla="*/ 571500 w 571500"/>
              <a:gd name="connsiteY3" fmla="*/ 409575 h 409575"/>
              <a:gd name="connsiteX0" fmla="*/ 0 w 577850"/>
              <a:gd name="connsiteY0" fmla="*/ 0 h 409575"/>
              <a:gd name="connsiteX1" fmla="*/ 0 w 577850"/>
              <a:gd name="connsiteY1" fmla="*/ 0 h 409575"/>
              <a:gd name="connsiteX2" fmla="*/ 577850 w 577850"/>
              <a:gd name="connsiteY2" fmla="*/ 3175 h 409575"/>
              <a:gd name="connsiteX3" fmla="*/ 571500 w 577850"/>
              <a:gd name="connsiteY3" fmla="*/ 409575 h 4095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77850" h="409575">
                <a:moveTo>
                  <a:pt x="0" y="0"/>
                </a:moveTo>
                <a:lnTo>
                  <a:pt x="0" y="0"/>
                </a:lnTo>
                <a:lnTo>
                  <a:pt x="577850" y="3175"/>
                </a:lnTo>
                <a:lnTo>
                  <a:pt x="571500" y="409575"/>
                </a:lnTo>
              </a:path>
            </a:pathLst>
          </a:custGeom>
          <a:noFill/>
          <a:ln>
            <a:solidFill>
              <a:srgbClr val="6094C9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95037250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" name="object 27"/>
          <p:cNvSpPr/>
          <p:nvPr/>
        </p:nvSpPr>
        <p:spPr>
          <a:xfrm>
            <a:off x="2346246" y="2489821"/>
            <a:ext cx="320729" cy="347361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232" y="183105"/>
                </a:lnTo>
                <a:lnTo>
                  <a:pt x="1582" y="198178"/>
                </a:lnTo>
                <a:lnTo>
                  <a:pt x="4094" y="212847"/>
                </a:lnTo>
                <a:lnTo>
                  <a:pt x="7715" y="227057"/>
                </a:lnTo>
                <a:lnTo>
                  <a:pt x="12394" y="240751"/>
                </a:lnTo>
                <a:lnTo>
                  <a:pt x="18081" y="253876"/>
                </a:lnTo>
                <a:lnTo>
                  <a:pt x="24724" y="266374"/>
                </a:lnTo>
                <a:lnTo>
                  <a:pt x="32271" y="278191"/>
                </a:lnTo>
                <a:lnTo>
                  <a:pt x="40672" y="289272"/>
                </a:lnTo>
                <a:lnTo>
                  <a:pt x="49875" y="299560"/>
                </a:lnTo>
                <a:lnTo>
                  <a:pt x="59829" y="309001"/>
                </a:lnTo>
                <a:lnTo>
                  <a:pt x="70484" y="317539"/>
                </a:lnTo>
                <a:lnTo>
                  <a:pt x="81787" y="325118"/>
                </a:lnTo>
                <a:lnTo>
                  <a:pt x="93688" y="331684"/>
                </a:lnTo>
                <a:lnTo>
                  <a:pt x="106135" y="337180"/>
                </a:lnTo>
                <a:lnTo>
                  <a:pt x="119077" y="341551"/>
                </a:lnTo>
                <a:lnTo>
                  <a:pt x="132464" y="344742"/>
                </a:lnTo>
                <a:lnTo>
                  <a:pt x="146243" y="346697"/>
                </a:lnTo>
                <a:lnTo>
                  <a:pt x="160364" y="347361"/>
                </a:lnTo>
                <a:lnTo>
                  <a:pt x="169068" y="347110"/>
                </a:lnTo>
                <a:lnTo>
                  <a:pt x="182985" y="345646"/>
                </a:lnTo>
                <a:lnTo>
                  <a:pt x="196529" y="342926"/>
                </a:lnTo>
                <a:lnTo>
                  <a:pt x="209649" y="339004"/>
                </a:lnTo>
                <a:lnTo>
                  <a:pt x="222294" y="333936"/>
                </a:lnTo>
                <a:lnTo>
                  <a:pt x="234412" y="327778"/>
                </a:lnTo>
                <a:lnTo>
                  <a:pt x="245952" y="320583"/>
                </a:lnTo>
                <a:lnTo>
                  <a:pt x="256863" y="312409"/>
                </a:lnTo>
                <a:lnTo>
                  <a:pt x="267094" y="303311"/>
                </a:lnTo>
                <a:lnTo>
                  <a:pt x="276593" y="293343"/>
                </a:lnTo>
                <a:lnTo>
                  <a:pt x="285310" y="282562"/>
                </a:lnTo>
                <a:lnTo>
                  <a:pt x="293193" y="271023"/>
                </a:lnTo>
                <a:lnTo>
                  <a:pt x="300192" y="258781"/>
                </a:lnTo>
                <a:lnTo>
                  <a:pt x="306254" y="245892"/>
                </a:lnTo>
                <a:lnTo>
                  <a:pt x="311328" y="232411"/>
                </a:lnTo>
                <a:lnTo>
                  <a:pt x="315364" y="218394"/>
                </a:lnTo>
                <a:lnTo>
                  <a:pt x="318311" y="203896"/>
                </a:lnTo>
                <a:lnTo>
                  <a:pt x="320116" y="188973"/>
                </a:lnTo>
                <a:lnTo>
                  <a:pt x="320729" y="173680"/>
                </a:lnTo>
                <a:lnTo>
                  <a:pt x="320497" y="164254"/>
                </a:lnTo>
                <a:lnTo>
                  <a:pt x="319146" y="149181"/>
                </a:lnTo>
                <a:lnTo>
                  <a:pt x="316635" y="134512"/>
                </a:lnTo>
                <a:lnTo>
                  <a:pt x="313013" y="120303"/>
                </a:lnTo>
                <a:lnTo>
                  <a:pt x="308334" y="106609"/>
                </a:lnTo>
                <a:lnTo>
                  <a:pt x="302647" y="93485"/>
                </a:lnTo>
                <a:lnTo>
                  <a:pt x="296005" y="80986"/>
                </a:lnTo>
                <a:lnTo>
                  <a:pt x="288457" y="69169"/>
                </a:lnTo>
                <a:lnTo>
                  <a:pt x="280056" y="58089"/>
                </a:lnTo>
                <a:lnTo>
                  <a:pt x="270853" y="47800"/>
                </a:lnTo>
                <a:lnTo>
                  <a:pt x="260898" y="38359"/>
                </a:lnTo>
                <a:lnTo>
                  <a:pt x="250244" y="29822"/>
                </a:lnTo>
                <a:lnTo>
                  <a:pt x="238941" y="22242"/>
                </a:lnTo>
                <a:lnTo>
                  <a:pt x="227040" y="15677"/>
                </a:lnTo>
                <a:lnTo>
                  <a:pt x="214593" y="10181"/>
                </a:lnTo>
                <a:lnTo>
                  <a:pt x="201650" y="5810"/>
                </a:lnTo>
                <a:lnTo>
                  <a:pt x="188264" y="2619"/>
                </a:lnTo>
                <a:lnTo>
                  <a:pt x="174484" y="664"/>
                </a:lnTo>
                <a:lnTo>
                  <a:pt x="160364" y="0"/>
                </a:lnTo>
                <a:lnTo>
                  <a:pt x="151662" y="251"/>
                </a:lnTo>
                <a:lnTo>
                  <a:pt x="137744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5" y="13423"/>
                </a:lnTo>
                <a:lnTo>
                  <a:pt x="86317" y="19582"/>
                </a:lnTo>
                <a:lnTo>
                  <a:pt x="74777" y="26776"/>
                </a:lnTo>
                <a:lnTo>
                  <a:pt x="63866" y="34950"/>
                </a:lnTo>
                <a:lnTo>
                  <a:pt x="53635" y="44049"/>
                </a:lnTo>
                <a:lnTo>
                  <a:pt x="44135" y="54016"/>
                </a:lnTo>
                <a:lnTo>
                  <a:pt x="35418" y="64797"/>
                </a:lnTo>
                <a:lnTo>
                  <a:pt x="27535" y="76337"/>
                </a:lnTo>
                <a:lnTo>
                  <a:pt x="20537" y="88578"/>
                </a:lnTo>
                <a:lnTo>
                  <a:pt x="14475" y="101467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8" name="object 8"/>
          <p:cNvSpPr/>
          <p:nvPr/>
        </p:nvSpPr>
        <p:spPr>
          <a:xfrm>
            <a:off x="1786879" y="5254236"/>
            <a:ext cx="320730" cy="347361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ln w="25399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9" name="object 74"/>
          <p:cNvSpPr/>
          <p:nvPr/>
        </p:nvSpPr>
        <p:spPr>
          <a:xfrm>
            <a:off x="286325" y="525423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7F1676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0" name="object 48"/>
          <p:cNvSpPr/>
          <p:nvPr/>
        </p:nvSpPr>
        <p:spPr>
          <a:xfrm>
            <a:off x="1773507" y="525423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1" name="object 26"/>
          <p:cNvSpPr/>
          <p:nvPr/>
        </p:nvSpPr>
        <p:spPr>
          <a:xfrm>
            <a:off x="3485667" y="528769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2" name="object 68"/>
          <p:cNvSpPr/>
          <p:nvPr/>
        </p:nvSpPr>
        <p:spPr>
          <a:xfrm>
            <a:off x="5376346" y="528782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3" name="object 32"/>
          <p:cNvSpPr/>
          <p:nvPr/>
        </p:nvSpPr>
        <p:spPr>
          <a:xfrm>
            <a:off x="7835202" y="528769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5" name="object 10"/>
          <p:cNvSpPr txBox="1"/>
          <p:nvPr/>
        </p:nvSpPr>
        <p:spPr>
          <a:xfrm>
            <a:off x="2101916" y="369650"/>
            <a:ext cx="6296519" cy="4318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3400"/>
              </a:lnSpc>
              <a:spcBef>
                <a:spcPts val="170"/>
              </a:spcBef>
            </a:pPr>
            <a:r>
              <a:rPr lang="en-US" sz="4800" baseline="1706" dirty="0">
                <a:solidFill>
                  <a:srgbClr val="4E81BC"/>
                </a:solidFill>
                <a:latin typeface="+mj-lt"/>
                <a:cs typeface="Calibri"/>
              </a:rPr>
              <a:t>Agglomerative </a:t>
            </a:r>
            <a:r>
              <a:rPr sz="4800" baseline="1706" dirty="0">
                <a:solidFill>
                  <a:srgbClr val="F69545"/>
                </a:solidFill>
                <a:latin typeface="+mj-lt"/>
                <a:cs typeface="Calibri"/>
              </a:rPr>
              <a:t>Hierarchical</a:t>
            </a:r>
            <a:r>
              <a:rPr sz="4800" spc="0" baseline="1706" dirty="0" smtClean="0">
                <a:solidFill>
                  <a:srgbClr val="4E81BC"/>
                </a:solidFill>
                <a:latin typeface="+mj-lt"/>
                <a:cs typeface="Calibri"/>
              </a:rPr>
              <a:t> Clustering</a:t>
            </a:r>
            <a:endParaRPr sz="3200" dirty="0">
              <a:latin typeface="+mj-lt"/>
              <a:cs typeface="Calibri"/>
            </a:endParaRPr>
          </a:p>
        </p:txBody>
      </p:sp>
      <p:sp>
        <p:nvSpPr>
          <p:cNvPr id="36" name="Freeform 35"/>
          <p:cNvSpPr/>
          <p:nvPr/>
        </p:nvSpPr>
        <p:spPr>
          <a:xfrm>
            <a:off x="1371599" y="4876800"/>
            <a:ext cx="596901" cy="381000"/>
          </a:xfrm>
          <a:custGeom>
            <a:avLst/>
            <a:gdLst>
              <a:gd name="connsiteX0" fmla="*/ 0 w 571617"/>
              <a:gd name="connsiteY0" fmla="*/ 3770 h 413345"/>
              <a:gd name="connsiteX1" fmla="*/ 0 w 571617"/>
              <a:gd name="connsiteY1" fmla="*/ 3770 h 413345"/>
              <a:gd name="connsiteX2" fmla="*/ 476250 w 571617"/>
              <a:gd name="connsiteY2" fmla="*/ 6945 h 413345"/>
              <a:gd name="connsiteX3" fmla="*/ 571500 w 571617"/>
              <a:gd name="connsiteY3" fmla="*/ 32345 h 413345"/>
              <a:gd name="connsiteX4" fmla="*/ 571500 w 571617"/>
              <a:gd name="connsiteY4" fmla="*/ 413345 h 413345"/>
              <a:gd name="connsiteX0" fmla="*/ 0 w 571500"/>
              <a:gd name="connsiteY0" fmla="*/ 8358 h 417933"/>
              <a:gd name="connsiteX1" fmla="*/ 0 w 571500"/>
              <a:gd name="connsiteY1" fmla="*/ 8358 h 417933"/>
              <a:gd name="connsiteX2" fmla="*/ 476250 w 571500"/>
              <a:gd name="connsiteY2" fmla="*/ 11533 h 417933"/>
              <a:gd name="connsiteX3" fmla="*/ 571500 w 571500"/>
              <a:gd name="connsiteY3" fmla="*/ 36933 h 417933"/>
              <a:gd name="connsiteX4" fmla="*/ 571500 w 571500"/>
              <a:gd name="connsiteY4" fmla="*/ 417933 h 417933"/>
              <a:gd name="connsiteX0" fmla="*/ 0 w 571500"/>
              <a:gd name="connsiteY0" fmla="*/ 0 h 409575"/>
              <a:gd name="connsiteX1" fmla="*/ 0 w 571500"/>
              <a:gd name="connsiteY1" fmla="*/ 0 h 409575"/>
              <a:gd name="connsiteX2" fmla="*/ 571500 w 571500"/>
              <a:gd name="connsiteY2" fmla="*/ 28575 h 409575"/>
              <a:gd name="connsiteX3" fmla="*/ 571500 w 571500"/>
              <a:gd name="connsiteY3" fmla="*/ 409575 h 409575"/>
              <a:gd name="connsiteX0" fmla="*/ 0 w 577850"/>
              <a:gd name="connsiteY0" fmla="*/ 0 h 409575"/>
              <a:gd name="connsiteX1" fmla="*/ 0 w 577850"/>
              <a:gd name="connsiteY1" fmla="*/ 0 h 409575"/>
              <a:gd name="connsiteX2" fmla="*/ 577850 w 577850"/>
              <a:gd name="connsiteY2" fmla="*/ 3175 h 409575"/>
              <a:gd name="connsiteX3" fmla="*/ 571500 w 577850"/>
              <a:gd name="connsiteY3" fmla="*/ 409575 h 4095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77850" h="409575">
                <a:moveTo>
                  <a:pt x="0" y="0"/>
                </a:moveTo>
                <a:lnTo>
                  <a:pt x="0" y="0"/>
                </a:lnTo>
                <a:lnTo>
                  <a:pt x="577850" y="3175"/>
                </a:lnTo>
                <a:lnTo>
                  <a:pt x="571500" y="409575"/>
                </a:lnTo>
              </a:path>
            </a:pathLst>
          </a:custGeom>
          <a:noFill/>
          <a:ln>
            <a:solidFill>
              <a:srgbClr val="6094C9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7" name="Freeform 36"/>
          <p:cNvSpPr/>
          <p:nvPr/>
        </p:nvSpPr>
        <p:spPr>
          <a:xfrm flipH="1">
            <a:off x="451015" y="4876800"/>
            <a:ext cx="596901" cy="381000"/>
          </a:xfrm>
          <a:custGeom>
            <a:avLst/>
            <a:gdLst>
              <a:gd name="connsiteX0" fmla="*/ 0 w 571617"/>
              <a:gd name="connsiteY0" fmla="*/ 3770 h 413345"/>
              <a:gd name="connsiteX1" fmla="*/ 0 w 571617"/>
              <a:gd name="connsiteY1" fmla="*/ 3770 h 413345"/>
              <a:gd name="connsiteX2" fmla="*/ 476250 w 571617"/>
              <a:gd name="connsiteY2" fmla="*/ 6945 h 413345"/>
              <a:gd name="connsiteX3" fmla="*/ 571500 w 571617"/>
              <a:gd name="connsiteY3" fmla="*/ 32345 h 413345"/>
              <a:gd name="connsiteX4" fmla="*/ 571500 w 571617"/>
              <a:gd name="connsiteY4" fmla="*/ 413345 h 413345"/>
              <a:gd name="connsiteX0" fmla="*/ 0 w 571500"/>
              <a:gd name="connsiteY0" fmla="*/ 8358 h 417933"/>
              <a:gd name="connsiteX1" fmla="*/ 0 w 571500"/>
              <a:gd name="connsiteY1" fmla="*/ 8358 h 417933"/>
              <a:gd name="connsiteX2" fmla="*/ 476250 w 571500"/>
              <a:gd name="connsiteY2" fmla="*/ 11533 h 417933"/>
              <a:gd name="connsiteX3" fmla="*/ 571500 w 571500"/>
              <a:gd name="connsiteY3" fmla="*/ 36933 h 417933"/>
              <a:gd name="connsiteX4" fmla="*/ 571500 w 571500"/>
              <a:gd name="connsiteY4" fmla="*/ 417933 h 417933"/>
              <a:gd name="connsiteX0" fmla="*/ 0 w 571500"/>
              <a:gd name="connsiteY0" fmla="*/ 0 h 409575"/>
              <a:gd name="connsiteX1" fmla="*/ 0 w 571500"/>
              <a:gd name="connsiteY1" fmla="*/ 0 h 409575"/>
              <a:gd name="connsiteX2" fmla="*/ 571500 w 571500"/>
              <a:gd name="connsiteY2" fmla="*/ 28575 h 409575"/>
              <a:gd name="connsiteX3" fmla="*/ 571500 w 571500"/>
              <a:gd name="connsiteY3" fmla="*/ 409575 h 409575"/>
              <a:gd name="connsiteX0" fmla="*/ 0 w 577850"/>
              <a:gd name="connsiteY0" fmla="*/ 0 h 409575"/>
              <a:gd name="connsiteX1" fmla="*/ 0 w 577850"/>
              <a:gd name="connsiteY1" fmla="*/ 0 h 409575"/>
              <a:gd name="connsiteX2" fmla="*/ 577850 w 577850"/>
              <a:gd name="connsiteY2" fmla="*/ 3175 h 409575"/>
              <a:gd name="connsiteX3" fmla="*/ 571500 w 577850"/>
              <a:gd name="connsiteY3" fmla="*/ 409575 h 4095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77850" h="409575">
                <a:moveTo>
                  <a:pt x="0" y="0"/>
                </a:moveTo>
                <a:lnTo>
                  <a:pt x="0" y="0"/>
                </a:lnTo>
                <a:lnTo>
                  <a:pt x="577850" y="3175"/>
                </a:lnTo>
                <a:lnTo>
                  <a:pt x="571500" y="409575"/>
                </a:lnTo>
              </a:path>
            </a:pathLst>
          </a:custGeom>
          <a:noFill/>
          <a:ln>
            <a:solidFill>
              <a:srgbClr val="6094C9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8" name="object 5"/>
          <p:cNvSpPr/>
          <p:nvPr/>
        </p:nvSpPr>
        <p:spPr>
          <a:xfrm>
            <a:off x="8676629" y="1036574"/>
            <a:ext cx="0" cy="4598485"/>
          </a:xfrm>
          <a:custGeom>
            <a:avLst/>
            <a:gdLst/>
            <a:ahLst/>
            <a:cxnLst/>
            <a:rect l="l" t="t" r="r" b="b"/>
            <a:pathLst>
              <a:path h="4598485">
                <a:moveTo>
                  <a:pt x="0" y="4598485"/>
                </a:moveTo>
                <a:lnTo>
                  <a:pt x="0" y="0"/>
                </a:lnTo>
              </a:path>
            </a:pathLst>
          </a:custGeom>
          <a:ln w="38099">
            <a:solidFill>
              <a:srgbClr val="937AB1"/>
            </a:solidFill>
            <a:tailEnd type="arrow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9" name="object 2"/>
          <p:cNvSpPr txBox="1"/>
          <p:nvPr/>
        </p:nvSpPr>
        <p:spPr>
          <a:xfrm rot="5400000">
            <a:off x="8269473" y="3145316"/>
            <a:ext cx="1310588" cy="3810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 algn="ctr">
              <a:lnSpc>
                <a:spcPts val="3000"/>
              </a:lnSpc>
              <a:spcBef>
                <a:spcPts val="150"/>
              </a:spcBef>
            </a:pPr>
            <a:r>
              <a:rPr sz="4200" spc="0" baseline="1950" dirty="0" smtClean="0">
                <a:solidFill>
                  <a:srgbClr val="8063A1"/>
                </a:solidFill>
                <a:cs typeface="Calibri"/>
              </a:rPr>
              <a:t>distance</a:t>
            </a:r>
            <a:endParaRPr sz="2800" dirty="0">
              <a:cs typeface="Calibri"/>
            </a:endParaRPr>
          </a:p>
        </p:txBody>
      </p:sp>
      <p:sp>
        <p:nvSpPr>
          <p:cNvPr id="40" name="Freeform 39"/>
          <p:cNvSpPr/>
          <p:nvPr/>
        </p:nvSpPr>
        <p:spPr>
          <a:xfrm>
            <a:off x="6814291" y="3678833"/>
            <a:ext cx="1186709" cy="1608866"/>
          </a:xfrm>
          <a:custGeom>
            <a:avLst/>
            <a:gdLst>
              <a:gd name="connsiteX0" fmla="*/ 0 w 571617"/>
              <a:gd name="connsiteY0" fmla="*/ 3770 h 413345"/>
              <a:gd name="connsiteX1" fmla="*/ 0 w 571617"/>
              <a:gd name="connsiteY1" fmla="*/ 3770 h 413345"/>
              <a:gd name="connsiteX2" fmla="*/ 476250 w 571617"/>
              <a:gd name="connsiteY2" fmla="*/ 6945 h 413345"/>
              <a:gd name="connsiteX3" fmla="*/ 571500 w 571617"/>
              <a:gd name="connsiteY3" fmla="*/ 32345 h 413345"/>
              <a:gd name="connsiteX4" fmla="*/ 571500 w 571617"/>
              <a:gd name="connsiteY4" fmla="*/ 413345 h 413345"/>
              <a:gd name="connsiteX0" fmla="*/ 0 w 571500"/>
              <a:gd name="connsiteY0" fmla="*/ 8358 h 417933"/>
              <a:gd name="connsiteX1" fmla="*/ 0 w 571500"/>
              <a:gd name="connsiteY1" fmla="*/ 8358 h 417933"/>
              <a:gd name="connsiteX2" fmla="*/ 476250 w 571500"/>
              <a:gd name="connsiteY2" fmla="*/ 11533 h 417933"/>
              <a:gd name="connsiteX3" fmla="*/ 571500 w 571500"/>
              <a:gd name="connsiteY3" fmla="*/ 36933 h 417933"/>
              <a:gd name="connsiteX4" fmla="*/ 571500 w 571500"/>
              <a:gd name="connsiteY4" fmla="*/ 417933 h 417933"/>
              <a:gd name="connsiteX0" fmla="*/ 0 w 571500"/>
              <a:gd name="connsiteY0" fmla="*/ 0 h 409575"/>
              <a:gd name="connsiteX1" fmla="*/ 0 w 571500"/>
              <a:gd name="connsiteY1" fmla="*/ 0 h 409575"/>
              <a:gd name="connsiteX2" fmla="*/ 571500 w 571500"/>
              <a:gd name="connsiteY2" fmla="*/ 28575 h 409575"/>
              <a:gd name="connsiteX3" fmla="*/ 571500 w 571500"/>
              <a:gd name="connsiteY3" fmla="*/ 409575 h 409575"/>
              <a:gd name="connsiteX0" fmla="*/ 0 w 577850"/>
              <a:gd name="connsiteY0" fmla="*/ 0 h 409575"/>
              <a:gd name="connsiteX1" fmla="*/ 0 w 577850"/>
              <a:gd name="connsiteY1" fmla="*/ 0 h 409575"/>
              <a:gd name="connsiteX2" fmla="*/ 577850 w 577850"/>
              <a:gd name="connsiteY2" fmla="*/ 3175 h 409575"/>
              <a:gd name="connsiteX3" fmla="*/ 571500 w 577850"/>
              <a:gd name="connsiteY3" fmla="*/ 409575 h 4095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77850" h="409575">
                <a:moveTo>
                  <a:pt x="0" y="0"/>
                </a:moveTo>
                <a:lnTo>
                  <a:pt x="0" y="0"/>
                </a:lnTo>
                <a:lnTo>
                  <a:pt x="577850" y="3175"/>
                </a:lnTo>
                <a:lnTo>
                  <a:pt x="571500" y="409575"/>
                </a:lnTo>
              </a:path>
            </a:pathLst>
          </a:custGeom>
          <a:noFill/>
          <a:ln>
            <a:solidFill>
              <a:srgbClr val="6094C9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" name="Freeform 40"/>
          <p:cNvSpPr/>
          <p:nvPr/>
        </p:nvSpPr>
        <p:spPr>
          <a:xfrm flipH="1">
            <a:off x="5486826" y="3678833"/>
            <a:ext cx="1186709" cy="1608866"/>
          </a:xfrm>
          <a:custGeom>
            <a:avLst/>
            <a:gdLst>
              <a:gd name="connsiteX0" fmla="*/ 0 w 571617"/>
              <a:gd name="connsiteY0" fmla="*/ 3770 h 413345"/>
              <a:gd name="connsiteX1" fmla="*/ 0 w 571617"/>
              <a:gd name="connsiteY1" fmla="*/ 3770 h 413345"/>
              <a:gd name="connsiteX2" fmla="*/ 476250 w 571617"/>
              <a:gd name="connsiteY2" fmla="*/ 6945 h 413345"/>
              <a:gd name="connsiteX3" fmla="*/ 571500 w 571617"/>
              <a:gd name="connsiteY3" fmla="*/ 32345 h 413345"/>
              <a:gd name="connsiteX4" fmla="*/ 571500 w 571617"/>
              <a:gd name="connsiteY4" fmla="*/ 413345 h 413345"/>
              <a:gd name="connsiteX0" fmla="*/ 0 w 571500"/>
              <a:gd name="connsiteY0" fmla="*/ 8358 h 417933"/>
              <a:gd name="connsiteX1" fmla="*/ 0 w 571500"/>
              <a:gd name="connsiteY1" fmla="*/ 8358 h 417933"/>
              <a:gd name="connsiteX2" fmla="*/ 476250 w 571500"/>
              <a:gd name="connsiteY2" fmla="*/ 11533 h 417933"/>
              <a:gd name="connsiteX3" fmla="*/ 571500 w 571500"/>
              <a:gd name="connsiteY3" fmla="*/ 36933 h 417933"/>
              <a:gd name="connsiteX4" fmla="*/ 571500 w 571500"/>
              <a:gd name="connsiteY4" fmla="*/ 417933 h 417933"/>
              <a:gd name="connsiteX0" fmla="*/ 0 w 571500"/>
              <a:gd name="connsiteY0" fmla="*/ 0 h 409575"/>
              <a:gd name="connsiteX1" fmla="*/ 0 w 571500"/>
              <a:gd name="connsiteY1" fmla="*/ 0 h 409575"/>
              <a:gd name="connsiteX2" fmla="*/ 571500 w 571500"/>
              <a:gd name="connsiteY2" fmla="*/ 28575 h 409575"/>
              <a:gd name="connsiteX3" fmla="*/ 571500 w 571500"/>
              <a:gd name="connsiteY3" fmla="*/ 409575 h 409575"/>
              <a:gd name="connsiteX0" fmla="*/ 0 w 577850"/>
              <a:gd name="connsiteY0" fmla="*/ 0 h 409575"/>
              <a:gd name="connsiteX1" fmla="*/ 0 w 577850"/>
              <a:gd name="connsiteY1" fmla="*/ 0 h 409575"/>
              <a:gd name="connsiteX2" fmla="*/ 577850 w 577850"/>
              <a:gd name="connsiteY2" fmla="*/ 3175 h 409575"/>
              <a:gd name="connsiteX3" fmla="*/ 571500 w 577850"/>
              <a:gd name="connsiteY3" fmla="*/ 409575 h 4095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77850" h="409575">
                <a:moveTo>
                  <a:pt x="0" y="0"/>
                </a:moveTo>
                <a:lnTo>
                  <a:pt x="0" y="0"/>
                </a:lnTo>
                <a:lnTo>
                  <a:pt x="577850" y="3175"/>
                </a:lnTo>
                <a:lnTo>
                  <a:pt x="571500" y="409575"/>
                </a:lnTo>
              </a:path>
            </a:pathLst>
          </a:custGeom>
          <a:noFill/>
          <a:ln>
            <a:solidFill>
              <a:srgbClr val="6094C9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3" name="Freeform 42"/>
          <p:cNvSpPr/>
          <p:nvPr/>
        </p:nvSpPr>
        <p:spPr>
          <a:xfrm flipH="1">
            <a:off x="1175489" y="2680522"/>
            <a:ext cx="1186709" cy="2052544"/>
          </a:xfrm>
          <a:custGeom>
            <a:avLst/>
            <a:gdLst>
              <a:gd name="connsiteX0" fmla="*/ 0 w 571617"/>
              <a:gd name="connsiteY0" fmla="*/ 3770 h 413345"/>
              <a:gd name="connsiteX1" fmla="*/ 0 w 571617"/>
              <a:gd name="connsiteY1" fmla="*/ 3770 h 413345"/>
              <a:gd name="connsiteX2" fmla="*/ 476250 w 571617"/>
              <a:gd name="connsiteY2" fmla="*/ 6945 h 413345"/>
              <a:gd name="connsiteX3" fmla="*/ 571500 w 571617"/>
              <a:gd name="connsiteY3" fmla="*/ 32345 h 413345"/>
              <a:gd name="connsiteX4" fmla="*/ 571500 w 571617"/>
              <a:gd name="connsiteY4" fmla="*/ 413345 h 413345"/>
              <a:gd name="connsiteX0" fmla="*/ 0 w 571500"/>
              <a:gd name="connsiteY0" fmla="*/ 8358 h 417933"/>
              <a:gd name="connsiteX1" fmla="*/ 0 w 571500"/>
              <a:gd name="connsiteY1" fmla="*/ 8358 h 417933"/>
              <a:gd name="connsiteX2" fmla="*/ 476250 w 571500"/>
              <a:gd name="connsiteY2" fmla="*/ 11533 h 417933"/>
              <a:gd name="connsiteX3" fmla="*/ 571500 w 571500"/>
              <a:gd name="connsiteY3" fmla="*/ 36933 h 417933"/>
              <a:gd name="connsiteX4" fmla="*/ 571500 w 571500"/>
              <a:gd name="connsiteY4" fmla="*/ 417933 h 417933"/>
              <a:gd name="connsiteX0" fmla="*/ 0 w 571500"/>
              <a:gd name="connsiteY0" fmla="*/ 0 h 409575"/>
              <a:gd name="connsiteX1" fmla="*/ 0 w 571500"/>
              <a:gd name="connsiteY1" fmla="*/ 0 h 409575"/>
              <a:gd name="connsiteX2" fmla="*/ 571500 w 571500"/>
              <a:gd name="connsiteY2" fmla="*/ 28575 h 409575"/>
              <a:gd name="connsiteX3" fmla="*/ 571500 w 571500"/>
              <a:gd name="connsiteY3" fmla="*/ 409575 h 409575"/>
              <a:gd name="connsiteX0" fmla="*/ 0 w 577850"/>
              <a:gd name="connsiteY0" fmla="*/ 0 h 409575"/>
              <a:gd name="connsiteX1" fmla="*/ 0 w 577850"/>
              <a:gd name="connsiteY1" fmla="*/ 0 h 409575"/>
              <a:gd name="connsiteX2" fmla="*/ 577850 w 577850"/>
              <a:gd name="connsiteY2" fmla="*/ 3175 h 409575"/>
              <a:gd name="connsiteX3" fmla="*/ 571500 w 577850"/>
              <a:gd name="connsiteY3" fmla="*/ 409575 h 4095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77850" h="409575">
                <a:moveTo>
                  <a:pt x="0" y="0"/>
                </a:moveTo>
                <a:lnTo>
                  <a:pt x="0" y="0"/>
                </a:lnTo>
                <a:lnTo>
                  <a:pt x="577850" y="3175"/>
                </a:lnTo>
                <a:lnTo>
                  <a:pt x="571500" y="409575"/>
                </a:lnTo>
              </a:path>
            </a:pathLst>
          </a:custGeom>
          <a:noFill/>
          <a:ln>
            <a:solidFill>
              <a:srgbClr val="6094C9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7" name="Freeform 76"/>
          <p:cNvSpPr/>
          <p:nvPr/>
        </p:nvSpPr>
        <p:spPr>
          <a:xfrm>
            <a:off x="2662411" y="2680521"/>
            <a:ext cx="995190" cy="2573713"/>
          </a:xfrm>
          <a:custGeom>
            <a:avLst/>
            <a:gdLst>
              <a:gd name="connsiteX0" fmla="*/ 0 w 571617"/>
              <a:gd name="connsiteY0" fmla="*/ 3770 h 413345"/>
              <a:gd name="connsiteX1" fmla="*/ 0 w 571617"/>
              <a:gd name="connsiteY1" fmla="*/ 3770 h 413345"/>
              <a:gd name="connsiteX2" fmla="*/ 476250 w 571617"/>
              <a:gd name="connsiteY2" fmla="*/ 6945 h 413345"/>
              <a:gd name="connsiteX3" fmla="*/ 571500 w 571617"/>
              <a:gd name="connsiteY3" fmla="*/ 32345 h 413345"/>
              <a:gd name="connsiteX4" fmla="*/ 571500 w 571617"/>
              <a:gd name="connsiteY4" fmla="*/ 413345 h 413345"/>
              <a:gd name="connsiteX0" fmla="*/ 0 w 571500"/>
              <a:gd name="connsiteY0" fmla="*/ 8358 h 417933"/>
              <a:gd name="connsiteX1" fmla="*/ 0 w 571500"/>
              <a:gd name="connsiteY1" fmla="*/ 8358 h 417933"/>
              <a:gd name="connsiteX2" fmla="*/ 476250 w 571500"/>
              <a:gd name="connsiteY2" fmla="*/ 11533 h 417933"/>
              <a:gd name="connsiteX3" fmla="*/ 571500 w 571500"/>
              <a:gd name="connsiteY3" fmla="*/ 36933 h 417933"/>
              <a:gd name="connsiteX4" fmla="*/ 571500 w 571500"/>
              <a:gd name="connsiteY4" fmla="*/ 417933 h 417933"/>
              <a:gd name="connsiteX0" fmla="*/ 0 w 571500"/>
              <a:gd name="connsiteY0" fmla="*/ 0 h 409575"/>
              <a:gd name="connsiteX1" fmla="*/ 0 w 571500"/>
              <a:gd name="connsiteY1" fmla="*/ 0 h 409575"/>
              <a:gd name="connsiteX2" fmla="*/ 571500 w 571500"/>
              <a:gd name="connsiteY2" fmla="*/ 28575 h 409575"/>
              <a:gd name="connsiteX3" fmla="*/ 571500 w 571500"/>
              <a:gd name="connsiteY3" fmla="*/ 409575 h 409575"/>
              <a:gd name="connsiteX0" fmla="*/ 0 w 577850"/>
              <a:gd name="connsiteY0" fmla="*/ 0 h 409575"/>
              <a:gd name="connsiteX1" fmla="*/ 0 w 577850"/>
              <a:gd name="connsiteY1" fmla="*/ 0 h 409575"/>
              <a:gd name="connsiteX2" fmla="*/ 577850 w 577850"/>
              <a:gd name="connsiteY2" fmla="*/ 3175 h 409575"/>
              <a:gd name="connsiteX3" fmla="*/ 571500 w 577850"/>
              <a:gd name="connsiteY3" fmla="*/ 409575 h 4095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77850" h="409575">
                <a:moveTo>
                  <a:pt x="0" y="0"/>
                </a:moveTo>
                <a:lnTo>
                  <a:pt x="0" y="0"/>
                </a:lnTo>
                <a:lnTo>
                  <a:pt x="577850" y="3175"/>
                </a:lnTo>
                <a:lnTo>
                  <a:pt x="571500" y="409575"/>
                </a:lnTo>
              </a:path>
            </a:pathLst>
          </a:custGeom>
          <a:noFill/>
          <a:ln>
            <a:solidFill>
              <a:srgbClr val="6094C9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4" name="object 48"/>
          <p:cNvSpPr/>
          <p:nvPr/>
        </p:nvSpPr>
        <p:spPr>
          <a:xfrm>
            <a:off x="1028194" y="471414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6" name="object 68"/>
          <p:cNvSpPr/>
          <p:nvPr/>
        </p:nvSpPr>
        <p:spPr>
          <a:xfrm>
            <a:off x="6466819" y="352186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8" name="object 24"/>
          <p:cNvSpPr/>
          <p:nvPr/>
        </p:nvSpPr>
        <p:spPr>
          <a:xfrm>
            <a:off x="3648943" y="2712267"/>
            <a:ext cx="5027683" cy="335733"/>
          </a:xfrm>
          <a:custGeom>
            <a:avLst/>
            <a:gdLst/>
            <a:ahLst/>
            <a:cxnLst/>
            <a:rect l="l" t="t" r="r" b="b"/>
            <a:pathLst>
              <a:path w="6733304">
                <a:moveTo>
                  <a:pt x="0" y="0"/>
                </a:moveTo>
                <a:lnTo>
                  <a:pt x="6733304" y="0"/>
                </a:lnTo>
              </a:path>
            </a:pathLst>
          </a:custGeom>
          <a:ln w="25399">
            <a:solidFill>
              <a:srgbClr val="937AB1"/>
            </a:solidFill>
            <a:prstDash val="lgDash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1" name="object 28"/>
          <p:cNvSpPr/>
          <p:nvPr/>
        </p:nvSpPr>
        <p:spPr>
          <a:xfrm>
            <a:off x="2346246" y="2489820"/>
            <a:ext cx="320729" cy="34736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ln w="25399">
            <a:solidFill>
              <a:srgbClr val="9E4B45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023453111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9" name="object 82"/>
          <p:cNvSpPr/>
          <p:nvPr/>
        </p:nvSpPr>
        <p:spPr>
          <a:xfrm>
            <a:off x="4414372" y="54871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0" name="object 84"/>
          <p:cNvSpPr/>
          <p:nvPr/>
        </p:nvSpPr>
        <p:spPr>
          <a:xfrm>
            <a:off x="5399747" y="55212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1" name="object 86"/>
          <p:cNvSpPr/>
          <p:nvPr/>
        </p:nvSpPr>
        <p:spPr>
          <a:xfrm>
            <a:off x="6251551" y="55023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2" name="object 74"/>
          <p:cNvSpPr/>
          <p:nvPr/>
        </p:nvSpPr>
        <p:spPr>
          <a:xfrm>
            <a:off x="2668469" y="519520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3" name="object 72"/>
          <p:cNvSpPr/>
          <p:nvPr/>
        </p:nvSpPr>
        <p:spPr>
          <a:xfrm>
            <a:off x="5959366" y="251737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40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80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4" name="object 70"/>
          <p:cNvSpPr/>
          <p:nvPr/>
        </p:nvSpPr>
        <p:spPr>
          <a:xfrm>
            <a:off x="5560113" y="213564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5" name="object 68"/>
          <p:cNvSpPr/>
          <p:nvPr/>
        </p:nvSpPr>
        <p:spPr>
          <a:xfrm>
            <a:off x="5148028" y="1723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6" name="object 66"/>
          <p:cNvSpPr/>
          <p:nvPr/>
        </p:nvSpPr>
        <p:spPr>
          <a:xfrm>
            <a:off x="6872003" y="34121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7" name="object 63"/>
          <p:cNvSpPr/>
          <p:nvPr/>
        </p:nvSpPr>
        <p:spPr>
          <a:xfrm>
            <a:off x="5880842" y="502152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6"/>
                </a:lnTo>
                <a:lnTo>
                  <a:pt x="1583" y="198179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6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2"/>
                </a:lnTo>
                <a:lnTo>
                  <a:pt x="49876" y="299561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6"/>
                </a:lnTo>
                <a:lnTo>
                  <a:pt x="196530" y="342926"/>
                </a:lnTo>
                <a:lnTo>
                  <a:pt x="209650" y="339004"/>
                </a:lnTo>
                <a:lnTo>
                  <a:pt x="222295" y="333936"/>
                </a:lnTo>
                <a:lnTo>
                  <a:pt x="234413" y="327778"/>
                </a:lnTo>
                <a:lnTo>
                  <a:pt x="245953" y="320583"/>
                </a:lnTo>
                <a:lnTo>
                  <a:pt x="256864" y="312409"/>
                </a:lnTo>
                <a:lnTo>
                  <a:pt x="267095" y="303311"/>
                </a:lnTo>
                <a:lnTo>
                  <a:pt x="276595" y="293343"/>
                </a:lnTo>
                <a:lnTo>
                  <a:pt x="285312" y="282562"/>
                </a:lnTo>
                <a:lnTo>
                  <a:pt x="293195" y="271023"/>
                </a:lnTo>
                <a:lnTo>
                  <a:pt x="300193" y="258781"/>
                </a:lnTo>
                <a:lnTo>
                  <a:pt x="306255" y="245892"/>
                </a:lnTo>
                <a:lnTo>
                  <a:pt x="311330" y="232411"/>
                </a:lnTo>
                <a:lnTo>
                  <a:pt x="315366" y="218394"/>
                </a:lnTo>
                <a:lnTo>
                  <a:pt x="318312" y="203896"/>
                </a:lnTo>
                <a:lnTo>
                  <a:pt x="320117" y="188973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9" y="93485"/>
                </a:lnTo>
                <a:lnTo>
                  <a:pt x="296006" y="80986"/>
                </a:lnTo>
                <a:lnTo>
                  <a:pt x="288459" y="69169"/>
                </a:lnTo>
                <a:lnTo>
                  <a:pt x="280058" y="58089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4"/>
                </a:lnTo>
                <a:lnTo>
                  <a:pt x="86318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8" name="object 62"/>
          <p:cNvSpPr/>
          <p:nvPr/>
        </p:nvSpPr>
        <p:spPr>
          <a:xfrm>
            <a:off x="4326962" y="34938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9" name="object 60"/>
          <p:cNvSpPr/>
          <p:nvPr/>
        </p:nvSpPr>
        <p:spPr>
          <a:xfrm>
            <a:off x="3451263" y="457102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0" name="object 58"/>
          <p:cNvSpPr/>
          <p:nvPr/>
        </p:nvSpPr>
        <p:spPr>
          <a:xfrm>
            <a:off x="7513462" y="204543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1" name="object 56"/>
          <p:cNvSpPr/>
          <p:nvPr/>
        </p:nvSpPr>
        <p:spPr>
          <a:xfrm>
            <a:off x="6553321" y="196196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2" name="object 54"/>
          <p:cNvSpPr/>
          <p:nvPr/>
        </p:nvSpPr>
        <p:spPr>
          <a:xfrm>
            <a:off x="7353097" y="275391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3" name="object 52"/>
          <p:cNvSpPr/>
          <p:nvPr/>
        </p:nvSpPr>
        <p:spPr>
          <a:xfrm>
            <a:off x="4696124" y="412086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4" name="object 50"/>
          <p:cNvSpPr/>
          <p:nvPr/>
        </p:nvSpPr>
        <p:spPr>
          <a:xfrm>
            <a:off x="4441297" y="46123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5" name="object 48"/>
          <p:cNvSpPr/>
          <p:nvPr/>
        </p:nvSpPr>
        <p:spPr>
          <a:xfrm>
            <a:off x="3130532" y="40499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6" name="object 42"/>
          <p:cNvSpPr/>
          <p:nvPr/>
        </p:nvSpPr>
        <p:spPr>
          <a:xfrm>
            <a:off x="5748103" y="33118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7" name="object 44"/>
          <p:cNvSpPr/>
          <p:nvPr/>
        </p:nvSpPr>
        <p:spPr>
          <a:xfrm>
            <a:off x="5560113" y="25802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8" name="object 46"/>
          <p:cNvSpPr/>
          <p:nvPr/>
        </p:nvSpPr>
        <p:spPr>
          <a:xfrm>
            <a:off x="5421508" y="296447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9" name="object 40"/>
          <p:cNvSpPr/>
          <p:nvPr/>
        </p:nvSpPr>
        <p:spPr>
          <a:xfrm>
            <a:off x="5213120" y="49216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0" name="object 38"/>
          <p:cNvSpPr/>
          <p:nvPr/>
        </p:nvSpPr>
        <p:spPr>
          <a:xfrm>
            <a:off x="7032365" y="221911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1" name="object 36"/>
          <p:cNvSpPr/>
          <p:nvPr/>
        </p:nvSpPr>
        <p:spPr>
          <a:xfrm>
            <a:off x="7385165" y="340218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6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7"/>
                </a:lnTo>
                <a:lnTo>
                  <a:pt x="310251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2" name="object 34"/>
          <p:cNvSpPr/>
          <p:nvPr/>
        </p:nvSpPr>
        <p:spPr>
          <a:xfrm>
            <a:off x="5038354" y="24830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3" name="object 32"/>
          <p:cNvSpPr/>
          <p:nvPr/>
        </p:nvSpPr>
        <p:spPr>
          <a:xfrm>
            <a:off x="7192732" y="159327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4" name="object 30"/>
          <p:cNvSpPr/>
          <p:nvPr/>
        </p:nvSpPr>
        <p:spPr>
          <a:xfrm>
            <a:off x="6201572" y="316997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5" name="object 28"/>
          <p:cNvSpPr/>
          <p:nvPr/>
        </p:nvSpPr>
        <p:spPr>
          <a:xfrm>
            <a:off x="4877989" y="532865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6" name="object 26"/>
          <p:cNvSpPr/>
          <p:nvPr/>
        </p:nvSpPr>
        <p:spPr>
          <a:xfrm>
            <a:off x="5581873" y="4521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7" name="object 24"/>
          <p:cNvSpPr/>
          <p:nvPr/>
        </p:nvSpPr>
        <p:spPr>
          <a:xfrm>
            <a:off x="3528670" y="35173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8" name="object 22"/>
          <p:cNvSpPr/>
          <p:nvPr/>
        </p:nvSpPr>
        <p:spPr>
          <a:xfrm>
            <a:off x="3252845" y="520650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9" name="object 20"/>
          <p:cNvSpPr/>
          <p:nvPr/>
        </p:nvSpPr>
        <p:spPr>
          <a:xfrm>
            <a:off x="3849401" y="4051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0" name="object 18"/>
          <p:cNvSpPr/>
          <p:nvPr/>
        </p:nvSpPr>
        <p:spPr>
          <a:xfrm>
            <a:off x="6713687" y="269105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1" name="object 6"/>
          <p:cNvSpPr txBox="1"/>
          <p:nvPr/>
        </p:nvSpPr>
        <p:spPr>
          <a:xfrm>
            <a:off x="1332125" y="3759280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sp>
        <p:nvSpPr>
          <p:cNvPr id="112" name="object 5"/>
          <p:cNvSpPr txBox="1"/>
          <p:nvPr/>
        </p:nvSpPr>
        <p:spPr>
          <a:xfrm>
            <a:off x="5426815" y="6116930"/>
            <a:ext cx="542241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Age</a:t>
            </a:r>
            <a:endParaRPr sz="2400">
              <a:cs typeface="Calibri"/>
            </a:endParaRPr>
          </a:p>
        </p:txBody>
      </p:sp>
      <p:grpSp>
        <p:nvGrpSpPr>
          <p:cNvPr id="113" name="Group 112"/>
          <p:cNvGrpSpPr/>
          <p:nvPr/>
        </p:nvGrpSpPr>
        <p:grpSpPr>
          <a:xfrm>
            <a:off x="2383438" y="1888930"/>
            <a:ext cx="6303362" cy="4054670"/>
            <a:chOff x="2343901" y="1923700"/>
            <a:chExt cx="6303362" cy="4054670"/>
          </a:xfrm>
        </p:grpSpPr>
        <p:sp>
          <p:nvSpPr>
            <p:cNvPr id="114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115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  <p:sp>
        <p:nvSpPr>
          <p:cNvPr id="116" name="object 10"/>
          <p:cNvSpPr txBox="1"/>
          <p:nvPr/>
        </p:nvSpPr>
        <p:spPr>
          <a:xfrm>
            <a:off x="2101916" y="369650"/>
            <a:ext cx="6296519" cy="4318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3400"/>
              </a:lnSpc>
              <a:spcBef>
                <a:spcPts val="170"/>
              </a:spcBef>
            </a:pPr>
            <a:r>
              <a:rPr lang="en-US" sz="4800" baseline="1706" dirty="0">
                <a:solidFill>
                  <a:srgbClr val="4E81BC"/>
                </a:solidFill>
                <a:latin typeface="+mj-lt"/>
                <a:cs typeface="Calibri"/>
              </a:rPr>
              <a:t>Agglomerative </a:t>
            </a:r>
            <a:r>
              <a:rPr sz="4800" baseline="1706" dirty="0">
                <a:solidFill>
                  <a:srgbClr val="F69545"/>
                </a:solidFill>
                <a:latin typeface="+mj-lt"/>
                <a:cs typeface="Calibri"/>
              </a:rPr>
              <a:t>Hierarchical</a:t>
            </a:r>
            <a:r>
              <a:rPr sz="4800" spc="0" baseline="1706" dirty="0" smtClean="0">
                <a:solidFill>
                  <a:srgbClr val="4E81BC"/>
                </a:solidFill>
                <a:latin typeface="+mj-lt"/>
                <a:cs typeface="Calibri"/>
              </a:rPr>
              <a:t> Clustering</a:t>
            </a:r>
            <a:endParaRPr sz="3200" dirty="0">
              <a:latin typeface="+mj-lt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645235569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9" name="object 82"/>
          <p:cNvSpPr/>
          <p:nvPr/>
        </p:nvSpPr>
        <p:spPr>
          <a:xfrm>
            <a:off x="4414372" y="54871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0" name="object 84"/>
          <p:cNvSpPr/>
          <p:nvPr/>
        </p:nvSpPr>
        <p:spPr>
          <a:xfrm>
            <a:off x="5399747" y="55212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1" name="object 86"/>
          <p:cNvSpPr/>
          <p:nvPr/>
        </p:nvSpPr>
        <p:spPr>
          <a:xfrm>
            <a:off x="6251551" y="55023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2" name="object 74"/>
          <p:cNvSpPr/>
          <p:nvPr/>
        </p:nvSpPr>
        <p:spPr>
          <a:xfrm>
            <a:off x="2668469" y="519520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3" name="object 72"/>
          <p:cNvSpPr/>
          <p:nvPr/>
        </p:nvSpPr>
        <p:spPr>
          <a:xfrm>
            <a:off x="5959366" y="251737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40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80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4" name="object 70"/>
          <p:cNvSpPr/>
          <p:nvPr/>
        </p:nvSpPr>
        <p:spPr>
          <a:xfrm>
            <a:off x="5560113" y="213564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5" name="object 68"/>
          <p:cNvSpPr/>
          <p:nvPr/>
        </p:nvSpPr>
        <p:spPr>
          <a:xfrm>
            <a:off x="5148028" y="1723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6" name="object 66"/>
          <p:cNvSpPr/>
          <p:nvPr/>
        </p:nvSpPr>
        <p:spPr>
          <a:xfrm>
            <a:off x="6872003" y="34121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7" name="object 63"/>
          <p:cNvSpPr/>
          <p:nvPr/>
        </p:nvSpPr>
        <p:spPr>
          <a:xfrm>
            <a:off x="5880842" y="502152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6"/>
                </a:lnTo>
                <a:lnTo>
                  <a:pt x="1583" y="198179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6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2"/>
                </a:lnTo>
                <a:lnTo>
                  <a:pt x="49876" y="299561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6"/>
                </a:lnTo>
                <a:lnTo>
                  <a:pt x="196530" y="342926"/>
                </a:lnTo>
                <a:lnTo>
                  <a:pt x="209650" y="339004"/>
                </a:lnTo>
                <a:lnTo>
                  <a:pt x="222295" y="333936"/>
                </a:lnTo>
                <a:lnTo>
                  <a:pt x="234413" y="327778"/>
                </a:lnTo>
                <a:lnTo>
                  <a:pt x="245953" y="320583"/>
                </a:lnTo>
                <a:lnTo>
                  <a:pt x="256864" y="312409"/>
                </a:lnTo>
                <a:lnTo>
                  <a:pt x="267095" y="303311"/>
                </a:lnTo>
                <a:lnTo>
                  <a:pt x="276595" y="293343"/>
                </a:lnTo>
                <a:lnTo>
                  <a:pt x="285312" y="282562"/>
                </a:lnTo>
                <a:lnTo>
                  <a:pt x="293195" y="271023"/>
                </a:lnTo>
                <a:lnTo>
                  <a:pt x="300193" y="258781"/>
                </a:lnTo>
                <a:lnTo>
                  <a:pt x="306255" y="245892"/>
                </a:lnTo>
                <a:lnTo>
                  <a:pt x="311330" y="232411"/>
                </a:lnTo>
                <a:lnTo>
                  <a:pt x="315366" y="218394"/>
                </a:lnTo>
                <a:lnTo>
                  <a:pt x="318312" y="203896"/>
                </a:lnTo>
                <a:lnTo>
                  <a:pt x="320117" y="188973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9" y="93485"/>
                </a:lnTo>
                <a:lnTo>
                  <a:pt x="296006" y="80986"/>
                </a:lnTo>
                <a:lnTo>
                  <a:pt x="288459" y="69169"/>
                </a:lnTo>
                <a:lnTo>
                  <a:pt x="280058" y="58089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4"/>
                </a:lnTo>
                <a:lnTo>
                  <a:pt x="86318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8" name="object 62"/>
          <p:cNvSpPr/>
          <p:nvPr/>
        </p:nvSpPr>
        <p:spPr>
          <a:xfrm>
            <a:off x="4326962" y="34938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9" name="object 60"/>
          <p:cNvSpPr/>
          <p:nvPr/>
        </p:nvSpPr>
        <p:spPr>
          <a:xfrm>
            <a:off x="3451263" y="457102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0" name="object 58"/>
          <p:cNvSpPr/>
          <p:nvPr/>
        </p:nvSpPr>
        <p:spPr>
          <a:xfrm>
            <a:off x="7513462" y="204543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1" name="object 56"/>
          <p:cNvSpPr/>
          <p:nvPr/>
        </p:nvSpPr>
        <p:spPr>
          <a:xfrm>
            <a:off x="6553321" y="196196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2" name="object 54"/>
          <p:cNvSpPr/>
          <p:nvPr/>
        </p:nvSpPr>
        <p:spPr>
          <a:xfrm>
            <a:off x="7353097" y="275391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3" name="object 52"/>
          <p:cNvSpPr/>
          <p:nvPr/>
        </p:nvSpPr>
        <p:spPr>
          <a:xfrm>
            <a:off x="4696124" y="412086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4" name="object 50"/>
          <p:cNvSpPr/>
          <p:nvPr/>
        </p:nvSpPr>
        <p:spPr>
          <a:xfrm>
            <a:off x="4441297" y="46123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5" name="object 48"/>
          <p:cNvSpPr/>
          <p:nvPr/>
        </p:nvSpPr>
        <p:spPr>
          <a:xfrm>
            <a:off x="3130532" y="40499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6" name="object 42"/>
          <p:cNvSpPr/>
          <p:nvPr/>
        </p:nvSpPr>
        <p:spPr>
          <a:xfrm>
            <a:off x="5748103" y="33118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7" name="object 44"/>
          <p:cNvSpPr/>
          <p:nvPr/>
        </p:nvSpPr>
        <p:spPr>
          <a:xfrm>
            <a:off x="5560113" y="25802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8" name="object 46"/>
          <p:cNvSpPr/>
          <p:nvPr/>
        </p:nvSpPr>
        <p:spPr>
          <a:xfrm>
            <a:off x="5421508" y="296447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9" name="object 40"/>
          <p:cNvSpPr/>
          <p:nvPr/>
        </p:nvSpPr>
        <p:spPr>
          <a:xfrm>
            <a:off x="5213120" y="49216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0" name="object 38"/>
          <p:cNvSpPr/>
          <p:nvPr/>
        </p:nvSpPr>
        <p:spPr>
          <a:xfrm>
            <a:off x="7032365" y="221911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1" name="object 36"/>
          <p:cNvSpPr/>
          <p:nvPr/>
        </p:nvSpPr>
        <p:spPr>
          <a:xfrm>
            <a:off x="7385165" y="340218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6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7"/>
                </a:lnTo>
                <a:lnTo>
                  <a:pt x="310251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2" name="object 34"/>
          <p:cNvSpPr/>
          <p:nvPr/>
        </p:nvSpPr>
        <p:spPr>
          <a:xfrm>
            <a:off x="5038354" y="24830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3" name="object 32"/>
          <p:cNvSpPr/>
          <p:nvPr/>
        </p:nvSpPr>
        <p:spPr>
          <a:xfrm>
            <a:off x="7192732" y="159327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4" name="object 30"/>
          <p:cNvSpPr/>
          <p:nvPr/>
        </p:nvSpPr>
        <p:spPr>
          <a:xfrm>
            <a:off x="6201572" y="316997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5" name="object 28"/>
          <p:cNvSpPr/>
          <p:nvPr/>
        </p:nvSpPr>
        <p:spPr>
          <a:xfrm>
            <a:off x="4877989" y="532865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6" name="object 26"/>
          <p:cNvSpPr/>
          <p:nvPr/>
        </p:nvSpPr>
        <p:spPr>
          <a:xfrm>
            <a:off x="5581873" y="4521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7" name="object 24"/>
          <p:cNvSpPr/>
          <p:nvPr/>
        </p:nvSpPr>
        <p:spPr>
          <a:xfrm>
            <a:off x="3528670" y="35173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8" name="object 22"/>
          <p:cNvSpPr/>
          <p:nvPr/>
        </p:nvSpPr>
        <p:spPr>
          <a:xfrm>
            <a:off x="3252845" y="520650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9" name="object 20"/>
          <p:cNvSpPr/>
          <p:nvPr/>
        </p:nvSpPr>
        <p:spPr>
          <a:xfrm>
            <a:off x="3849401" y="4051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0" name="object 18"/>
          <p:cNvSpPr/>
          <p:nvPr/>
        </p:nvSpPr>
        <p:spPr>
          <a:xfrm>
            <a:off x="6713687" y="269105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1" name="object 6"/>
          <p:cNvSpPr txBox="1"/>
          <p:nvPr/>
        </p:nvSpPr>
        <p:spPr>
          <a:xfrm>
            <a:off x="1332125" y="3759280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sp>
        <p:nvSpPr>
          <p:cNvPr id="112" name="object 5"/>
          <p:cNvSpPr txBox="1"/>
          <p:nvPr/>
        </p:nvSpPr>
        <p:spPr>
          <a:xfrm>
            <a:off x="5426815" y="6116930"/>
            <a:ext cx="542241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Age</a:t>
            </a:r>
            <a:endParaRPr sz="2400">
              <a:cs typeface="Calibri"/>
            </a:endParaRPr>
          </a:p>
        </p:txBody>
      </p:sp>
      <p:grpSp>
        <p:nvGrpSpPr>
          <p:cNvPr id="113" name="Group 112"/>
          <p:cNvGrpSpPr/>
          <p:nvPr/>
        </p:nvGrpSpPr>
        <p:grpSpPr>
          <a:xfrm>
            <a:off x="2383438" y="1888930"/>
            <a:ext cx="6303362" cy="4054670"/>
            <a:chOff x="2343901" y="1923700"/>
            <a:chExt cx="6303362" cy="4054670"/>
          </a:xfrm>
        </p:grpSpPr>
        <p:sp>
          <p:nvSpPr>
            <p:cNvPr id="114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115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  <p:sp>
        <p:nvSpPr>
          <p:cNvPr id="116" name="object 10"/>
          <p:cNvSpPr txBox="1"/>
          <p:nvPr/>
        </p:nvSpPr>
        <p:spPr>
          <a:xfrm>
            <a:off x="2101916" y="369650"/>
            <a:ext cx="6296519" cy="4318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3400"/>
              </a:lnSpc>
              <a:spcBef>
                <a:spcPts val="170"/>
              </a:spcBef>
            </a:pPr>
            <a:r>
              <a:rPr lang="en-US" sz="4800" baseline="1706" dirty="0">
                <a:solidFill>
                  <a:srgbClr val="4E81BC"/>
                </a:solidFill>
                <a:latin typeface="+mj-lt"/>
                <a:cs typeface="Calibri"/>
              </a:rPr>
              <a:t>Agglomerative </a:t>
            </a:r>
            <a:r>
              <a:rPr sz="4800" baseline="1706" dirty="0">
                <a:solidFill>
                  <a:srgbClr val="F69545"/>
                </a:solidFill>
                <a:latin typeface="+mj-lt"/>
                <a:cs typeface="Calibri"/>
              </a:rPr>
              <a:t>Hierarchical</a:t>
            </a:r>
            <a:r>
              <a:rPr sz="4800" spc="0" baseline="1706" dirty="0" smtClean="0">
                <a:solidFill>
                  <a:srgbClr val="4E81BC"/>
                </a:solidFill>
                <a:latin typeface="+mj-lt"/>
                <a:cs typeface="Calibri"/>
              </a:rPr>
              <a:t> Clustering</a:t>
            </a:r>
            <a:endParaRPr sz="3200" dirty="0">
              <a:latin typeface="+mj-lt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852719069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" name="Freeform 83"/>
          <p:cNvSpPr/>
          <p:nvPr/>
        </p:nvSpPr>
        <p:spPr>
          <a:xfrm>
            <a:off x="1371599" y="4876800"/>
            <a:ext cx="596901" cy="381000"/>
          </a:xfrm>
          <a:custGeom>
            <a:avLst/>
            <a:gdLst>
              <a:gd name="connsiteX0" fmla="*/ 0 w 571617"/>
              <a:gd name="connsiteY0" fmla="*/ 3770 h 413345"/>
              <a:gd name="connsiteX1" fmla="*/ 0 w 571617"/>
              <a:gd name="connsiteY1" fmla="*/ 3770 h 413345"/>
              <a:gd name="connsiteX2" fmla="*/ 476250 w 571617"/>
              <a:gd name="connsiteY2" fmla="*/ 6945 h 413345"/>
              <a:gd name="connsiteX3" fmla="*/ 571500 w 571617"/>
              <a:gd name="connsiteY3" fmla="*/ 32345 h 413345"/>
              <a:gd name="connsiteX4" fmla="*/ 571500 w 571617"/>
              <a:gd name="connsiteY4" fmla="*/ 413345 h 413345"/>
              <a:gd name="connsiteX0" fmla="*/ 0 w 571500"/>
              <a:gd name="connsiteY0" fmla="*/ 8358 h 417933"/>
              <a:gd name="connsiteX1" fmla="*/ 0 w 571500"/>
              <a:gd name="connsiteY1" fmla="*/ 8358 h 417933"/>
              <a:gd name="connsiteX2" fmla="*/ 476250 w 571500"/>
              <a:gd name="connsiteY2" fmla="*/ 11533 h 417933"/>
              <a:gd name="connsiteX3" fmla="*/ 571500 w 571500"/>
              <a:gd name="connsiteY3" fmla="*/ 36933 h 417933"/>
              <a:gd name="connsiteX4" fmla="*/ 571500 w 571500"/>
              <a:gd name="connsiteY4" fmla="*/ 417933 h 417933"/>
              <a:gd name="connsiteX0" fmla="*/ 0 w 571500"/>
              <a:gd name="connsiteY0" fmla="*/ 0 h 409575"/>
              <a:gd name="connsiteX1" fmla="*/ 0 w 571500"/>
              <a:gd name="connsiteY1" fmla="*/ 0 h 409575"/>
              <a:gd name="connsiteX2" fmla="*/ 571500 w 571500"/>
              <a:gd name="connsiteY2" fmla="*/ 28575 h 409575"/>
              <a:gd name="connsiteX3" fmla="*/ 571500 w 571500"/>
              <a:gd name="connsiteY3" fmla="*/ 409575 h 409575"/>
              <a:gd name="connsiteX0" fmla="*/ 0 w 577850"/>
              <a:gd name="connsiteY0" fmla="*/ 0 h 409575"/>
              <a:gd name="connsiteX1" fmla="*/ 0 w 577850"/>
              <a:gd name="connsiteY1" fmla="*/ 0 h 409575"/>
              <a:gd name="connsiteX2" fmla="*/ 577850 w 577850"/>
              <a:gd name="connsiteY2" fmla="*/ 3175 h 409575"/>
              <a:gd name="connsiteX3" fmla="*/ 571500 w 577850"/>
              <a:gd name="connsiteY3" fmla="*/ 409575 h 4095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77850" h="409575">
                <a:moveTo>
                  <a:pt x="0" y="0"/>
                </a:moveTo>
                <a:lnTo>
                  <a:pt x="0" y="0"/>
                </a:lnTo>
                <a:lnTo>
                  <a:pt x="577850" y="3175"/>
                </a:lnTo>
                <a:lnTo>
                  <a:pt x="571500" y="409575"/>
                </a:lnTo>
              </a:path>
            </a:pathLst>
          </a:custGeom>
          <a:noFill/>
          <a:ln>
            <a:solidFill>
              <a:srgbClr val="6094C9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5" name="Freeform 84"/>
          <p:cNvSpPr/>
          <p:nvPr/>
        </p:nvSpPr>
        <p:spPr>
          <a:xfrm flipH="1">
            <a:off x="451015" y="4876800"/>
            <a:ext cx="596901" cy="381000"/>
          </a:xfrm>
          <a:custGeom>
            <a:avLst/>
            <a:gdLst>
              <a:gd name="connsiteX0" fmla="*/ 0 w 571617"/>
              <a:gd name="connsiteY0" fmla="*/ 3770 h 413345"/>
              <a:gd name="connsiteX1" fmla="*/ 0 w 571617"/>
              <a:gd name="connsiteY1" fmla="*/ 3770 h 413345"/>
              <a:gd name="connsiteX2" fmla="*/ 476250 w 571617"/>
              <a:gd name="connsiteY2" fmla="*/ 6945 h 413345"/>
              <a:gd name="connsiteX3" fmla="*/ 571500 w 571617"/>
              <a:gd name="connsiteY3" fmla="*/ 32345 h 413345"/>
              <a:gd name="connsiteX4" fmla="*/ 571500 w 571617"/>
              <a:gd name="connsiteY4" fmla="*/ 413345 h 413345"/>
              <a:gd name="connsiteX0" fmla="*/ 0 w 571500"/>
              <a:gd name="connsiteY0" fmla="*/ 8358 h 417933"/>
              <a:gd name="connsiteX1" fmla="*/ 0 w 571500"/>
              <a:gd name="connsiteY1" fmla="*/ 8358 h 417933"/>
              <a:gd name="connsiteX2" fmla="*/ 476250 w 571500"/>
              <a:gd name="connsiteY2" fmla="*/ 11533 h 417933"/>
              <a:gd name="connsiteX3" fmla="*/ 571500 w 571500"/>
              <a:gd name="connsiteY3" fmla="*/ 36933 h 417933"/>
              <a:gd name="connsiteX4" fmla="*/ 571500 w 571500"/>
              <a:gd name="connsiteY4" fmla="*/ 417933 h 417933"/>
              <a:gd name="connsiteX0" fmla="*/ 0 w 571500"/>
              <a:gd name="connsiteY0" fmla="*/ 0 h 409575"/>
              <a:gd name="connsiteX1" fmla="*/ 0 w 571500"/>
              <a:gd name="connsiteY1" fmla="*/ 0 h 409575"/>
              <a:gd name="connsiteX2" fmla="*/ 571500 w 571500"/>
              <a:gd name="connsiteY2" fmla="*/ 28575 h 409575"/>
              <a:gd name="connsiteX3" fmla="*/ 571500 w 571500"/>
              <a:gd name="connsiteY3" fmla="*/ 409575 h 409575"/>
              <a:gd name="connsiteX0" fmla="*/ 0 w 577850"/>
              <a:gd name="connsiteY0" fmla="*/ 0 h 409575"/>
              <a:gd name="connsiteX1" fmla="*/ 0 w 577850"/>
              <a:gd name="connsiteY1" fmla="*/ 0 h 409575"/>
              <a:gd name="connsiteX2" fmla="*/ 577850 w 577850"/>
              <a:gd name="connsiteY2" fmla="*/ 3175 h 409575"/>
              <a:gd name="connsiteX3" fmla="*/ 571500 w 577850"/>
              <a:gd name="connsiteY3" fmla="*/ 409575 h 4095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77850" h="409575">
                <a:moveTo>
                  <a:pt x="0" y="0"/>
                </a:moveTo>
                <a:lnTo>
                  <a:pt x="0" y="0"/>
                </a:lnTo>
                <a:lnTo>
                  <a:pt x="577850" y="3175"/>
                </a:lnTo>
                <a:lnTo>
                  <a:pt x="571500" y="409575"/>
                </a:lnTo>
              </a:path>
            </a:pathLst>
          </a:custGeom>
          <a:noFill/>
          <a:ln>
            <a:solidFill>
              <a:srgbClr val="6094C9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6" name="object 5"/>
          <p:cNvSpPr/>
          <p:nvPr/>
        </p:nvSpPr>
        <p:spPr>
          <a:xfrm>
            <a:off x="8676629" y="1036574"/>
            <a:ext cx="0" cy="4598485"/>
          </a:xfrm>
          <a:custGeom>
            <a:avLst/>
            <a:gdLst/>
            <a:ahLst/>
            <a:cxnLst/>
            <a:rect l="l" t="t" r="r" b="b"/>
            <a:pathLst>
              <a:path h="4598485">
                <a:moveTo>
                  <a:pt x="0" y="4598485"/>
                </a:moveTo>
                <a:lnTo>
                  <a:pt x="0" y="0"/>
                </a:lnTo>
              </a:path>
            </a:pathLst>
          </a:custGeom>
          <a:ln w="38099">
            <a:solidFill>
              <a:srgbClr val="937AB1"/>
            </a:solidFill>
            <a:tailEnd type="arrow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7" name="object 2"/>
          <p:cNvSpPr txBox="1"/>
          <p:nvPr/>
        </p:nvSpPr>
        <p:spPr>
          <a:xfrm rot="5400000">
            <a:off x="8269473" y="3145316"/>
            <a:ext cx="1310588" cy="3810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 algn="ctr">
              <a:lnSpc>
                <a:spcPts val="3000"/>
              </a:lnSpc>
              <a:spcBef>
                <a:spcPts val="150"/>
              </a:spcBef>
            </a:pPr>
            <a:r>
              <a:rPr sz="4200" spc="0" baseline="1950" dirty="0" smtClean="0">
                <a:solidFill>
                  <a:srgbClr val="8063A1"/>
                </a:solidFill>
                <a:cs typeface="Calibri"/>
              </a:rPr>
              <a:t>distance</a:t>
            </a:r>
            <a:endParaRPr sz="2800" dirty="0">
              <a:cs typeface="Calibri"/>
            </a:endParaRPr>
          </a:p>
        </p:txBody>
      </p:sp>
      <p:sp>
        <p:nvSpPr>
          <p:cNvPr id="88" name="Freeform 87"/>
          <p:cNvSpPr/>
          <p:nvPr/>
        </p:nvSpPr>
        <p:spPr>
          <a:xfrm>
            <a:off x="6814291" y="3678833"/>
            <a:ext cx="1186709" cy="1608866"/>
          </a:xfrm>
          <a:custGeom>
            <a:avLst/>
            <a:gdLst>
              <a:gd name="connsiteX0" fmla="*/ 0 w 571617"/>
              <a:gd name="connsiteY0" fmla="*/ 3770 h 413345"/>
              <a:gd name="connsiteX1" fmla="*/ 0 w 571617"/>
              <a:gd name="connsiteY1" fmla="*/ 3770 h 413345"/>
              <a:gd name="connsiteX2" fmla="*/ 476250 w 571617"/>
              <a:gd name="connsiteY2" fmla="*/ 6945 h 413345"/>
              <a:gd name="connsiteX3" fmla="*/ 571500 w 571617"/>
              <a:gd name="connsiteY3" fmla="*/ 32345 h 413345"/>
              <a:gd name="connsiteX4" fmla="*/ 571500 w 571617"/>
              <a:gd name="connsiteY4" fmla="*/ 413345 h 413345"/>
              <a:gd name="connsiteX0" fmla="*/ 0 w 571500"/>
              <a:gd name="connsiteY0" fmla="*/ 8358 h 417933"/>
              <a:gd name="connsiteX1" fmla="*/ 0 w 571500"/>
              <a:gd name="connsiteY1" fmla="*/ 8358 h 417933"/>
              <a:gd name="connsiteX2" fmla="*/ 476250 w 571500"/>
              <a:gd name="connsiteY2" fmla="*/ 11533 h 417933"/>
              <a:gd name="connsiteX3" fmla="*/ 571500 w 571500"/>
              <a:gd name="connsiteY3" fmla="*/ 36933 h 417933"/>
              <a:gd name="connsiteX4" fmla="*/ 571500 w 571500"/>
              <a:gd name="connsiteY4" fmla="*/ 417933 h 417933"/>
              <a:gd name="connsiteX0" fmla="*/ 0 w 571500"/>
              <a:gd name="connsiteY0" fmla="*/ 0 h 409575"/>
              <a:gd name="connsiteX1" fmla="*/ 0 w 571500"/>
              <a:gd name="connsiteY1" fmla="*/ 0 h 409575"/>
              <a:gd name="connsiteX2" fmla="*/ 571500 w 571500"/>
              <a:gd name="connsiteY2" fmla="*/ 28575 h 409575"/>
              <a:gd name="connsiteX3" fmla="*/ 571500 w 571500"/>
              <a:gd name="connsiteY3" fmla="*/ 409575 h 409575"/>
              <a:gd name="connsiteX0" fmla="*/ 0 w 577850"/>
              <a:gd name="connsiteY0" fmla="*/ 0 h 409575"/>
              <a:gd name="connsiteX1" fmla="*/ 0 w 577850"/>
              <a:gd name="connsiteY1" fmla="*/ 0 h 409575"/>
              <a:gd name="connsiteX2" fmla="*/ 577850 w 577850"/>
              <a:gd name="connsiteY2" fmla="*/ 3175 h 409575"/>
              <a:gd name="connsiteX3" fmla="*/ 571500 w 577850"/>
              <a:gd name="connsiteY3" fmla="*/ 409575 h 4095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77850" h="409575">
                <a:moveTo>
                  <a:pt x="0" y="0"/>
                </a:moveTo>
                <a:lnTo>
                  <a:pt x="0" y="0"/>
                </a:lnTo>
                <a:lnTo>
                  <a:pt x="577850" y="3175"/>
                </a:lnTo>
                <a:lnTo>
                  <a:pt x="571500" y="409575"/>
                </a:lnTo>
              </a:path>
            </a:pathLst>
          </a:custGeom>
          <a:noFill/>
          <a:ln>
            <a:solidFill>
              <a:srgbClr val="6094C9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9" name="Freeform 88"/>
          <p:cNvSpPr/>
          <p:nvPr/>
        </p:nvSpPr>
        <p:spPr>
          <a:xfrm flipH="1">
            <a:off x="5486826" y="3678833"/>
            <a:ext cx="1186709" cy="1608866"/>
          </a:xfrm>
          <a:custGeom>
            <a:avLst/>
            <a:gdLst>
              <a:gd name="connsiteX0" fmla="*/ 0 w 571617"/>
              <a:gd name="connsiteY0" fmla="*/ 3770 h 413345"/>
              <a:gd name="connsiteX1" fmla="*/ 0 w 571617"/>
              <a:gd name="connsiteY1" fmla="*/ 3770 h 413345"/>
              <a:gd name="connsiteX2" fmla="*/ 476250 w 571617"/>
              <a:gd name="connsiteY2" fmla="*/ 6945 h 413345"/>
              <a:gd name="connsiteX3" fmla="*/ 571500 w 571617"/>
              <a:gd name="connsiteY3" fmla="*/ 32345 h 413345"/>
              <a:gd name="connsiteX4" fmla="*/ 571500 w 571617"/>
              <a:gd name="connsiteY4" fmla="*/ 413345 h 413345"/>
              <a:gd name="connsiteX0" fmla="*/ 0 w 571500"/>
              <a:gd name="connsiteY0" fmla="*/ 8358 h 417933"/>
              <a:gd name="connsiteX1" fmla="*/ 0 w 571500"/>
              <a:gd name="connsiteY1" fmla="*/ 8358 h 417933"/>
              <a:gd name="connsiteX2" fmla="*/ 476250 w 571500"/>
              <a:gd name="connsiteY2" fmla="*/ 11533 h 417933"/>
              <a:gd name="connsiteX3" fmla="*/ 571500 w 571500"/>
              <a:gd name="connsiteY3" fmla="*/ 36933 h 417933"/>
              <a:gd name="connsiteX4" fmla="*/ 571500 w 571500"/>
              <a:gd name="connsiteY4" fmla="*/ 417933 h 417933"/>
              <a:gd name="connsiteX0" fmla="*/ 0 w 571500"/>
              <a:gd name="connsiteY0" fmla="*/ 0 h 409575"/>
              <a:gd name="connsiteX1" fmla="*/ 0 w 571500"/>
              <a:gd name="connsiteY1" fmla="*/ 0 h 409575"/>
              <a:gd name="connsiteX2" fmla="*/ 571500 w 571500"/>
              <a:gd name="connsiteY2" fmla="*/ 28575 h 409575"/>
              <a:gd name="connsiteX3" fmla="*/ 571500 w 571500"/>
              <a:gd name="connsiteY3" fmla="*/ 409575 h 409575"/>
              <a:gd name="connsiteX0" fmla="*/ 0 w 577850"/>
              <a:gd name="connsiteY0" fmla="*/ 0 h 409575"/>
              <a:gd name="connsiteX1" fmla="*/ 0 w 577850"/>
              <a:gd name="connsiteY1" fmla="*/ 0 h 409575"/>
              <a:gd name="connsiteX2" fmla="*/ 577850 w 577850"/>
              <a:gd name="connsiteY2" fmla="*/ 3175 h 409575"/>
              <a:gd name="connsiteX3" fmla="*/ 571500 w 577850"/>
              <a:gd name="connsiteY3" fmla="*/ 409575 h 4095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77850" h="409575">
                <a:moveTo>
                  <a:pt x="0" y="0"/>
                </a:moveTo>
                <a:lnTo>
                  <a:pt x="0" y="0"/>
                </a:lnTo>
                <a:lnTo>
                  <a:pt x="577850" y="3175"/>
                </a:lnTo>
                <a:lnTo>
                  <a:pt x="571500" y="409575"/>
                </a:lnTo>
              </a:path>
            </a:pathLst>
          </a:custGeom>
          <a:noFill/>
          <a:ln>
            <a:solidFill>
              <a:srgbClr val="6094C9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0" name="Freeform 89"/>
          <p:cNvSpPr/>
          <p:nvPr/>
        </p:nvSpPr>
        <p:spPr>
          <a:xfrm flipH="1">
            <a:off x="1175488" y="2680521"/>
            <a:ext cx="1186709" cy="2052545"/>
          </a:xfrm>
          <a:custGeom>
            <a:avLst/>
            <a:gdLst>
              <a:gd name="connsiteX0" fmla="*/ 0 w 571617"/>
              <a:gd name="connsiteY0" fmla="*/ 3770 h 413345"/>
              <a:gd name="connsiteX1" fmla="*/ 0 w 571617"/>
              <a:gd name="connsiteY1" fmla="*/ 3770 h 413345"/>
              <a:gd name="connsiteX2" fmla="*/ 476250 w 571617"/>
              <a:gd name="connsiteY2" fmla="*/ 6945 h 413345"/>
              <a:gd name="connsiteX3" fmla="*/ 571500 w 571617"/>
              <a:gd name="connsiteY3" fmla="*/ 32345 h 413345"/>
              <a:gd name="connsiteX4" fmla="*/ 571500 w 571617"/>
              <a:gd name="connsiteY4" fmla="*/ 413345 h 413345"/>
              <a:gd name="connsiteX0" fmla="*/ 0 w 571500"/>
              <a:gd name="connsiteY0" fmla="*/ 8358 h 417933"/>
              <a:gd name="connsiteX1" fmla="*/ 0 w 571500"/>
              <a:gd name="connsiteY1" fmla="*/ 8358 h 417933"/>
              <a:gd name="connsiteX2" fmla="*/ 476250 w 571500"/>
              <a:gd name="connsiteY2" fmla="*/ 11533 h 417933"/>
              <a:gd name="connsiteX3" fmla="*/ 571500 w 571500"/>
              <a:gd name="connsiteY3" fmla="*/ 36933 h 417933"/>
              <a:gd name="connsiteX4" fmla="*/ 571500 w 571500"/>
              <a:gd name="connsiteY4" fmla="*/ 417933 h 417933"/>
              <a:gd name="connsiteX0" fmla="*/ 0 w 571500"/>
              <a:gd name="connsiteY0" fmla="*/ 0 h 409575"/>
              <a:gd name="connsiteX1" fmla="*/ 0 w 571500"/>
              <a:gd name="connsiteY1" fmla="*/ 0 h 409575"/>
              <a:gd name="connsiteX2" fmla="*/ 571500 w 571500"/>
              <a:gd name="connsiteY2" fmla="*/ 28575 h 409575"/>
              <a:gd name="connsiteX3" fmla="*/ 571500 w 571500"/>
              <a:gd name="connsiteY3" fmla="*/ 409575 h 409575"/>
              <a:gd name="connsiteX0" fmla="*/ 0 w 577850"/>
              <a:gd name="connsiteY0" fmla="*/ 0 h 409575"/>
              <a:gd name="connsiteX1" fmla="*/ 0 w 577850"/>
              <a:gd name="connsiteY1" fmla="*/ 0 h 409575"/>
              <a:gd name="connsiteX2" fmla="*/ 577850 w 577850"/>
              <a:gd name="connsiteY2" fmla="*/ 3175 h 409575"/>
              <a:gd name="connsiteX3" fmla="*/ 571500 w 577850"/>
              <a:gd name="connsiteY3" fmla="*/ 409575 h 4095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77850" h="409575">
                <a:moveTo>
                  <a:pt x="0" y="0"/>
                </a:moveTo>
                <a:lnTo>
                  <a:pt x="0" y="0"/>
                </a:lnTo>
                <a:lnTo>
                  <a:pt x="577850" y="3175"/>
                </a:lnTo>
                <a:lnTo>
                  <a:pt x="571500" y="409575"/>
                </a:lnTo>
              </a:path>
            </a:pathLst>
          </a:custGeom>
          <a:noFill/>
          <a:ln>
            <a:solidFill>
              <a:srgbClr val="6094C9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1" name="Freeform 90"/>
          <p:cNvSpPr/>
          <p:nvPr/>
        </p:nvSpPr>
        <p:spPr>
          <a:xfrm>
            <a:off x="2662410" y="2680521"/>
            <a:ext cx="995425" cy="2607177"/>
          </a:xfrm>
          <a:custGeom>
            <a:avLst/>
            <a:gdLst>
              <a:gd name="connsiteX0" fmla="*/ 0 w 571617"/>
              <a:gd name="connsiteY0" fmla="*/ 3770 h 413345"/>
              <a:gd name="connsiteX1" fmla="*/ 0 w 571617"/>
              <a:gd name="connsiteY1" fmla="*/ 3770 h 413345"/>
              <a:gd name="connsiteX2" fmla="*/ 476250 w 571617"/>
              <a:gd name="connsiteY2" fmla="*/ 6945 h 413345"/>
              <a:gd name="connsiteX3" fmla="*/ 571500 w 571617"/>
              <a:gd name="connsiteY3" fmla="*/ 32345 h 413345"/>
              <a:gd name="connsiteX4" fmla="*/ 571500 w 571617"/>
              <a:gd name="connsiteY4" fmla="*/ 413345 h 413345"/>
              <a:gd name="connsiteX0" fmla="*/ 0 w 571500"/>
              <a:gd name="connsiteY0" fmla="*/ 8358 h 417933"/>
              <a:gd name="connsiteX1" fmla="*/ 0 w 571500"/>
              <a:gd name="connsiteY1" fmla="*/ 8358 h 417933"/>
              <a:gd name="connsiteX2" fmla="*/ 476250 w 571500"/>
              <a:gd name="connsiteY2" fmla="*/ 11533 h 417933"/>
              <a:gd name="connsiteX3" fmla="*/ 571500 w 571500"/>
              <a:gd name="connsiteY3" fmla="*/ 36933 h 417933"/>
              <a:gd name="connsiteX4" fmla="*/ 571500 w 571500"/>
              <a:gd name="connsiteY4" fmla="*/ 417933 h 417933"/>
              <a:gd name="connsiteX0" fmla="*/ 0 w 571500"/>
              <a:gd name="connsiteY0" fmla="*/ 0 h 409575"/>
              <a:gd name="connsiteX1" fmla="*/ 0 w 571500"/>
              <a:gd name="connsiteY1" fmla="*/ 0 h 409575"/>
              <a:gd name="connsiteX2" fmla="*/ 571500 w 571500"/>
              <a:gd name="connsiteY2" fmla="*/ 28575 h 409575"/>
              <a:gd name="connsiteX3" fmla="*/ 571500 w 571500"/>
              <a:gd name="connsiteY3" fmla="*/ 409575 h 409575"/>
              <a:gd name="connsiteX0" fmla="*/ 0 w 577850"/>
              <a:gd name="connsiteY0" fmla="*/ 0 h 409575"/>
              <a:gd name="connsiteX1" fmla="*/ 0 w 577850"/>
              <a:gd name="connsiteY1" fmla="*/ 0 h 409575"/>
              <a:gd name="connsiteX2" fmla="*/ 577850 w 577850"/>
              <a:gd name="connsiteY2" fmla="*/ 3175 h 409575"/>
              <a:gd name="connsiteX3" fmla="*/ 571500 w 577850"/>
              <a:gd name="connsiteY3" fmla="*/ 409575 h 409575"/>
              <a:gd name="connsiteX0" fmla="*/ 0 w 577850"/>
              <a:gd name="connsiteY0" fmla="*/ 0 h 409575"/>
              <a:gd name="connsiteX1" fmla="*/ 0 w 577850"/>
              <a:gd name="connsiteY1" fmla="*/ 0 h 409575"/>
              <a:gd name="connsiteX2" fmla="*/ 577850 w 577850"/>
              <a:gd name="connsiteY2" fmla="*/ 3175 h 409575"/>
              <a:gd name="connsiteX3" fmla="*/ 571500 w 577850"/>
              <a:gd name="connsiteY3" fmla="*/ 409575 h 409575"/>
              <a:gd name="connsiteX0" fmla="*/ 0 w 577850"/>
              <a:gd name="connsiteY0" fmla="*/ 0 h 409575"/>
              <a:gd name="connsiteX1" fmla="*/ 0 w 577850"/>
              <a:gd name="connsiteY1" fmla="*/ 0 h 409575"/>
              <a:gd name="connsiteX2" fmla="*/ 577850 w 577850"/>
              <a:gd name="connsiteY2" fmla="*/ 3175 h 409575"/>
              <a:gd name="connsiteX3" fmla="*/ 571500 w 577850"/>
              <a:gd name="connsiteY3" fmla="*/ 409575 h 409575"/>
              <a:gd name="connsiteX0" fmla="*/ 0 w 577850"/>
              <a:gd name="connsiteY0" fmla="*/ 0 h 409575"/>
              <a:gd name="connsiteX1" fmla="*/ 0 w 577850"/>
              <a:gd name="connsiteY1" fmla="*/ 0 h 409575"/>
              <a:gd name="connsiteX2" fmla="*/ 577850 w 577850"/>
              <a:gd name="connsiteY2" fmla="*/ 3175 h 409575"/>
              <a:gd name="connsiteX3" fmla="*/ 571500 w 577850"/>
              <a:gd name="connsiteY3" fmla="*/ 409575 h 409575"/>
              <a:gd name="connsiteX0" fmla="*/ 0 w 577850"/>
              <a:gd name="connsiteY0" fmla="*/ 0 h 409575"/>
              <a:gd name="connsiteX1" fmla="*/ 0 w 577850"/>
              <a:gd name="connsiteY1" fmla="*/ 0 h 409575"/>
              <a:gd name="connsiteX2" fmla="*/ 577850 w 577850"/>
              <a:gd name="connsiteY2" fmla="*/ 3175 h 409575"/>
              <a:gd name="connsiteX3" fmla="*/ 571500 w 577850"/>
              <a:gd name="connsiteY3" fmla="*/ 409575 h 409575"/>
              <a:gd name="connsiteX0" fmla="*/ 0 w 574187"/>
              <a:gd name="connsiteY0" fmla="*/ 0 h 409575"/>
              <a:gd name="connsiteX1" fmla="*/ 0 w 574187"/>
              <a:gd name="connsiteY1" fmla="*/ 0 h 409575"/>
              <a:gd name="connsiteX2" fmla="*/ 574187 w 574187"/>
              <a:gd name="connsiteY2" fmla="*/ 1180 h 409575"/>
              <a:gd name="connsiteX3" fmla="*/ 571500 w 574187"/>
              <a:gd name="connsiteY3" fmla="*/ 409575 h 4095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74187" h="409575">
                <a:moveTo>
                  <a:pt x="0" y="0"/>
                </a:moveTo>
                <a:lnTo>
                  <a:pt x="0" y="0"/>
                </a:lnTo>
                <a:lnTo>
                  <a:pt x="574187" y="1180"/>
                </a:lnTo>
                <a:cubicBezTo>
                  <a:pt x="573291" y="137312"/>
                  <a:pt x="572396" y="273443"/>
                  <a:pt x="571500" y="409575"/>
                </a:cubicBezTo>
              </a:path>
            </a:pathLst>
          </a:custGeom>
          <a:noFill/>
          <a:ln>
            <a:solidFill>
              <a:srgbClr val="6094C9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object 23"/>
          <p:cNvSpPr/>
          <p:nvPr/>
        </p:nvSpPr>
        <p:spPr>
          <a:xfrm>
            <a:off x="4487329" y="1162574"/>
            <a:ext cx="320729" cy="34736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1"/>
                </a:moveTo>
                <a:lnTo>
                  <a:pt x="232" y="183108"/>
                </a:lnTo>
                <a:lnTo>
                  <a:pt x="1583" y="198180"/>
                </a:lnTo>
                <a:lnTo>
                  <a:pt x="4094" y="212849"/>
                </a:lnTo>
                <a:lnTo>
                  <a:pt x="7715" y="227058"/>
                </a:lnTo>
                <a:lnTo>
                  <a:pt x="12395" y="240753"/>
                </a:lnTo>
                <a:lnTo>
                  <a:pt x="18082" y="253877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3"/>
                </a:lnTo>
                <a:lnTo>
                  <a:pt x="49876" y="299561"/>
                </a:lnTo>
                <a:lnTo>
                  <a:pt x="59830" y="309002"/>
                </a:lnTo>
                <a:lnTo>
                  <a:pt x="70485" y="317540"/>
                </a:lnTo>
                <a:lnTo>
                  <a:pt x="81788" y="325119"/>
                </a:lnTo>
                <a:lnTo>
                  <a:pt x="93689" y="331685"/>
                </a:lnTo>
                <a:lnTo>
                  <a:pt x="106136" y="337181"/>
                </a:lnTo>
                <a:lnTo>
                  <a:pt x="119079" y="341552"/>
                </a:lnTo>
                <a:lnTo>
                  <a:pt x="132465" y="344743"/>
                </a:lnTo>
                <a:lnTo>
                  <a:pt x="146244" y="346698"/>
                </a:lnTo>
                <a:lnTo>
                  <a:pt x="160365" y="347362"/>
                </a:lnTo>
                <a:lnTo>
                  <a:pt x="169068" y="347111"/>
                </a:lnTo>
                <a:lnTo>
                  <a:pt x="182985" y="345648"/>
                </a:lnTo>
                <a:lnTo>
                  <a:pt x="196529" y="342928"/>
                </a:lnTo>
                <a:lnTo>
                  <a:pt x="209649" y="339006"/>
                </a:lnTo>
                <a:lnTo>
                  <a:pt x="222294" y="333938"/>
                </a:lnTo>
                <a:lnTo>
                  <a:pt x="234412" y="327779"/>
                </a:lnTo>
                <a:lnTo>
                  <a:pt x="245952" y="320585"/>
                </a:lnTo>
                <a:lnTo>
                  <a:pt x="256863" y="312411"/>
                </a:lnTo>
                <a:lnTo>
                  <a:pt x="267094" y="303312"/>
                </a:lnTo>
                <a:lnTo>
                  <a:pt x="276594" y="293344"/>
                </a:lnTo>
                <a:lnTo>
                  <a:pt x="285311" y="282563"/>
                </a:lnTo>
                <a:lnTo>
                  <a:pt x="293194" y="271024"/>
                </a:lnTo>
                <a:lnTo>
                  <a:pt x="300192" y="258782"/>
                </a:lnTo>
                <a:lnTo>
                  <a:pt x="306254" y="245893"/>
                </a:lnTo>
                <a:lnTo>
                  <a:pt x="311328" y="232412"/>
                </a:lnTo>
                <a:lnTo>
                  <a:pt x="315364" y="218395"/>
                </a:lnTo>
                <a:lnTo>
                  <a:pt x="318311" y="203897"/>
                </a:lnTo>
                <a:lnTo>
                  <a:pt x="320116" y="188974"/>
                </a:lnTo>
                <a:lnTo>
                  <a:pt x="320729" y="173681"/>
                </a:lnTo>
                <a:lnTo>
                  <a:pt x="320497" y="164255"/>
                </a:lnTo>
                <a:lnTo>
                  <a:pt x="319146" y="149182"/>
                </a:lnTo>
                <a:lnTo>
                  <a:pt x="316635" y="134513"/>
                </a:lnTo>
                <a:lnTo>
                  <a:pt x="313014" y="120304"/>
                </a:lnTo>
                <a:lnTo>
                  <a:pt x="308334" y="106609"/>
                </a:lnTo>
                <a:lnTo>
                  <a:pt x="302648" y="93485"/>
                </a:lnTo>
                <a:lnTo>
                  <a:pt x="296005" y="80986"/>
                </a:lnTo>
                <a:lnTo>
                  <a:pt x="288458" y="69169"/>
                </a:lnTo>
                <a:lnTo>
                  <a:pt x="280057" y="58089"/>
                </a:lnTo>
                <a:lnTo>
                  <a:pt x="270854" y="47800"/>
                </a:lnTo>
                <a:lnTo>
                  <a:pt x="260899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1" y="251"/>
                </a:lnTo>
                <a:lnTo>
                  <a:pt x="137744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5" y="13424"/>
                </a:lnTo>
                <a:lnTo>
                  <a:pt x="86317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50"/>
                </a:lnTo>
                <a:lnTo>
                  <a:pt x="44135" y="54017"/>
                </a:lnTo>
                <a:lnTo>
                  <a:pt x="35418" y="64798"/>
                </a:lnTo>
                <a:lnTo>
                  <a:pt x="27535" y="76338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9"/>
                </a:lnTo>
                <a:lnTo>
                  <a:pt x="5364" y="128966"/>
                </a:lnTo>
                <a:lnTo>
                  <a:pt x="2418" y="143464"/>
                </a:lnTo>
                <a:lnTo>
                  <a:pt x="613" y="158388"/>
                </a:lnTo>
                <a:lnTo>
                  <a:pt x="0" y="173681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4" name="object 24"/>
          <p:cNvSpPr/>
          <p:nvPr/>
        </p:nvSpPr>
        <p:spPr>
          <a:xfrm>
            <a:off x="4487328" y="1162574"/>
            <a:ext cx="320730" cy="34736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ln w="25399">
            <a:solidFill>
              <a:srgbClr val="9E4B45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7" name="object 27"/>
          <p:cNvSpPr/>
          <p:nvPr/>
        </p:nvSpPr>
        <p:spPr>
          <a:xfrm>
            <a:off x="2346246" y="2489821"/>
            <a:ext cx="320729" cy="347361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232" y="183105"/>
                </a:lnTo>
                <a:lnTo>
                  <a:pt x="1582" y="198178"/>
                </a:lnTo>
                <a:lnTo>
                  <a:pt x="4094" y="212847"/>
                </a:lnTo>
                <a:lnTo>
                  <a:pt x="7715" y="227057"/>
                </a:lnTo>
                <a:lnTo>
                  <a:pt x="12394" y="240751"/>
                </a:lnTo>
                <a:lnTo>
                  <a:pt x="18081" y="253876"/>
                </a:lnTo>
                <a:lnTo>
                  <a:pt x="24724" y="266374"/>
                </a:lnTo>
                <a:lnTo>
                  <a:pt x="32271" y="278191"/>
                </a:lnTo>
                <a:lnTo>
                  <a:pt x="40672" y="289272"/>
                </a:lnTo>
                <a:lnTo>
                  <a:pt x="49875" y="299560"/>
                </a:lnTo>
                <a:lnTo>
                  <a:pt x="59829" y="309001"/>
                </a:lnTo>
                <a:lnTo>
                  <a:pt x="70484" y="317539"/>
                </a:lnTo>
                <a:lnTo>
                  <a:pt x="81787" y="325118"/>
                </a:lnTo>
                <a:lnTo>
                  <a:pt x="93688" y="331684"/>
                </a:lnTo>
                <a:lnTo>
                  <a:pt x="106135" y="337180"/>
                </a:lnTo>
                <a:lnTo>
                  <a:pt x="119077" y="341551"/>
                </a:lnTo>
                <a:lnTo>
                  <a:pt x="132464" y="344742"/>
                </a:lnTo>
                <a:lnTo>
                  <a:pt x="146243" y="346697"/>
                </a:lnTo>
                <a:lnTo>
                  <a:pt x="160364" y="347361"/>
                </a:lnTo>
                <a:lnTo>
                  <a:pt x="169068" y="347110"/>
                </a:lnTo>
                <a:lnTo>
                  <a:pt x="182985" y="345646"/>
                </a:lnTo>
                <a:lnTo>
                  <a:pt x="196529" y="342926"/>
                </a:lnTo>
                <a:lnTo>
                  <a:pt x="209649" y="339004"/>
                </a:lnTo>
                <a:lnTo>
                  <a:pt x="222294" y="333936"/>
                </a:lnTo>
                <a:lnTo>
                  <a:pt x="234412" y="327778"/>
                </a:lnTo>
                <a:lnTo>
                  <a:pt x="245952" y="320583"/>
                </a:lnTo>
                <a:lnTo>
                  <a:pt x="256863" y="312409"/>
                </a:lnTo>
                <a:lnTo>
                  <a:pt x="267094" y="303311"/>
                </a:lnTo>
                <a:lnTo>
                  <a:pt x="276593" y="293343"/>
                </a:lnTo>
                <a:lnTo>
                  <a:pt x="285310" y="282562"/>
                </a:lnTo>
                <a:lnTo>
                  <a:pt x="293193" y="271023"/>
                </a:lnTo>
                <a:lnTo>
                  <a:pt x="300192" y="258781"/>
                </a:lnTo>
                <a:lnTo>
                  <a:pt x="306254" y="245892"/>
                </a:lnTo>
                <a:lnTo>
                  <a:pt x="311328" y="232411"/>
                </a:lnTo>
                <a:lnTo>
                  <a:pt x="315364" y="218394"/>
                </a:lnTo>
                <a:lnTo>
                  <a:pt x="318311" y="203896"/>
                </a:lnTo>
                <a:lnTo>
                  <a:pt x="320116" y="188973"/>
                </a:lnTo>
                <a:lnTo>
                  <a:pt x="320729" y="173680"/>
                </a:lnTo>
                <a:lnTo>
                  <a:pt x="320497" y="164254"/>
                </a:lnTo>
                <a:lnTo>
                  <a:pt x="319146" y="149181"/>
                </a:lnTo>
                <a:lnTo>
                  <a:pt x="316635" y="134512"/>
                </a:lnTo>
                <a:lnTo>
                  <a:pt x="313013" y="120303"/>
                </a:lnTo>
                <a:lnTo>
                  <a:pt x="308334" y="106609"/>
                </a:lnTo>
                <a:lnTo>
                  <a:pt x="302647" y="93485"/>
                </a:lnTo>
                <a:lnTo>
                  <a:pt x="296005" y="80986"/>
                </a:lnTo>
                <a:lnTo>
                  <a:pt x="288457" y="69169"/>
                </a:lnTo>
                <a:lnTo>
                  <a:pt x="280056" y="58089"/>
                </a:lnTo>
                <a:lnTo>
                  <a:pt x="270853" y="47800"/>
                </a:lnTo>
                <a:lnTo>
                  <a:pt x="260898" y="38359"/>
                </a:lnTo>
                <a:lnTo>
                  <a:pt x="250244" y="29822"/>
                </a:lnTo>
                <a:lnTo>
                  <a:pt x="238941" y="22242"/>
                </a:lnTo>
                <a:lnTo>
                  <a:pt x="227040" y="15677"/>
                </a:lnTo>
                <a:lnTo>
                  <a:pt x="214593" y="10181"/>
                </a:lnTo>
                <a:lnTo>
                  <a:pt x="201650" y="5810"/>
                </a:lnTo>
                <a:lnTo>
                  <a:pt x="188264" y="2619"/>
                </a:lnTo>
                <a:lnTo>
                  <a:pt x="174484" y="664"/>
                </a:lnTo>
                <a:lnTo>
                  <a:pt x="160364" y="0"/>
                </a:lnTo>
                <a:lnTo>
                  <a:pt x="151662" y="251"/>
                </a:lnTo>
                <a:lnTo>
                  <a:pt x="137744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5" y="13423"/>
                </a:lnTo>
                <a:lnTo>
                  <a:pt x="86317" y="19582"/>
                </a:lnTo>
                <a:lnTo>
                  <a:pt x="74777" y="26776"/>
                </a:lnTo>
                <a:lnTo>
                  <a:pt x="63866" y="34950"/>
                </a:lnTo>
                <a:lnTo>
                  <a:pt x="53635" y="44049"/>
                </a:lnTo>
                <a:lnTo>
                  <a:pt x="44135" y="54016"/>
                </a:lnTo>
                <a:lnTo>
                  <a:pt x="35418" y="64797"/>
                </a:lnTo>
                <a:lnTo>
                  <a:pt x="27535" y="76337"/>
                </a:lnTo>
                <a:lnTo>
                  <a:pt x="20537" y="88578"/>
                </a:lnTo>
                <a:lnTo>
                  <a:pt x="14475" y="101467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5" name="object 8"/>
          <p:cNvSpPr/>
          <p:nvPr/>
        </p:nvSpPr>
        <p:spPr>
          <a:xfrm>
            <a:off x="1786879" y="5254236"/>
            <a:ext cx="320730" cy="347361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ln w="25399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6" name="object 74"/>
          <p:cNvSpPr/>
          <p:nvPr/>
        </p:nvSpPr>
        <p:spPr>
          <a:xfrm>
            <a:off x="286325" y="525423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7F1676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7" name="object 48"/>
          <p:cNvSpPr/>
          <p:nvPr/>
        </p:nvSpPr>
        <p:spPr>
          <a:xfrm>
            <a:off x="1773507" y="525423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8" name="object 26"/>
          <p:cNvSpPr/>
          <p:nvPr/>
        </p:nvSpPr>
        <p:spPr>
          <a:xfrm>
            <a:off x="3485667" y="528769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9" name="object 68"/>
          <p:cNvSpPr/>
          <p:nvPr/>
        </p:nvSpPr>
        <p:spPr>
          <a:xfrm>
            <a:off x="5376346" y="528782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0" name="object 32"/>
          <p:cNvSpPr/>
          <p:nvPr/>
        </p:nvSpPr>
        <p:spPr>
          <a:xfrm>
            <a:off x="7835202" y="528769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094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1" name="object 48"/>
          <p:cNvSpPr/>
          <p:nvPr/>
        </p:nvSpPr>
        <p:spPr>
          <a:xfrm>
            <a:off x="1028194" y="471414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3" name="object 10"/>
          <p:cNvSpPr txBox="1"/>
          <p:nvPr/>
        </p:nvSpPr>
        <p:spPr>
          <a:xfrm>
            <a:off x="2101916" y="369650"/>
            <a:ext cx="6296519" cy="4318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3400"/>
              </a:lnSpc>
              <a:spcBef>
                <a:spcPts val="170"/>
              </a:spcBef>
            </a:pPr>
            <a:r>
              <a:rPr lang="en-US" sz="4800" baseline="1706" dirty="0">
                <a:solidFill>
                  <a:srgbClr val="4E81BC"/>
                </a:solidFill>
                <a:latin typeface="+mj-lt"/>
                <a:cs typeface="Calibri"/>
              </a:rPr>
              <a:t>Agglomerative </a:t>
            </a:r>
            <a:r>
              <a:rPr sz="4800" baseline="1706" dirty="0">
                <a:solidFill>
                  <a:srgbClr val="F69545"/>
                </a:solidFill>
                <a:latin typeface="+mj-lt"/>
                <a:cs typeface="Calibri"/>
              </a:rPr>
              <a:t>Hierarchical</a:t>
            </a:r>
            <a:r>
              <a:rPr sz="4800" spc="0" baseline="1706" dirty="0" smtClean="0">
                <a:solidFill>
                  <a:srgbClr val="4E81BC"/>
                </a:solidFill>
                <a:latin typeface="+mj-lt"/>
                <a:cs typeface="Calibri"/>
              </a:rPr>
              <a:t> Clustering</a:t>
            </a:r>
            <a:endParaRPr sz="3200" dirty="0">
              <a:latin typeface="+mj-lt"/>
              <a:cs typeface="Calibri"/>
            </a:endParaRPr>
          </a:p>
        </p:txBody>
      </p:sp>
      <p:sp>
        <p:nvSpPr>
          <p:cNvPr id="92" name="Freeform 91"/>
          <p:cNvSpPr/>
          <p:nvPr/>
        </p:nvSpPr>
        <p:spPr>
          <a:xfrm flipH="1">
            <a:off x="2514599" y="1304660"/>
            <a:ext cx="1972727" cy="1185159"/>
          </a:xfrm>
          <a:custGeom>
            <a:avLst/>
            <a:gdLst>
              <a:gd name="connsiteX0" fmla="*/ 0 w 571617"/>
              <a:gd name="connsiteY0" fmla="*/ 3770 h 413345"/>
              <a:gd name="connsiteX1" fmla="*/ 0 w 571617"/>
              <a:gd name="connsiteY1" fmla="*/ 3770 h 413345"/>
              <a:gd name="connsiteX2" fmla="*/ 476250 w 571617"/>
              <a:gd name="connsiteY2" fmla="*/ 6945 h 413345"/>
              <a:gd name="connsiteX3" fmla="*/ 571500 w 571617"/>
              <a:gd name="connsiteY3" fmla="*/ 32345 h 413345"/>
              <a:gd name="connsiteX4" fmla="*/ 571500 w 571617"/>
              <a:gd name="connsiteY4" fmla="*/ 413345 h 413345"/>
              <a:gd name="connsiteX0" fmla="*/ 0 w 571500"/>
              <a:gd name="connsiteY0" fmla="*/ 8358 h 417933"/>
              <a:gd name="connsiteX1" fmla="*/ 0 w 571500"/>
              <a:gd name="connsiteY1" fmla="*/ 8358 h 417933"/>
              <a:gd name="connsiteX2" fmla="*/ 476250 w 571500"/>
              <a:gd name="connsiteY2" fmla="*/ 11533 h 417933"/>
              <a:gd name="connsiteX3" fmla="*/ 571500 w 571500"/>
              <a:gd name="connsiteY3" fmla="*/ 36933 h 417933"/>
              <a:gd name="connsiteX4" fmla="*/ 571500 w 571500"/>
              <a:gd name="connsiteY4" fmla="*/ 417933 h 417933"/>
              <a:gd name="connsiteX0" fmla="*/ 0 w 571500"/>
              <a:gd name="connsiteY0" fmla="*/ 0 h 409575"/>
              <a:gd name="connsiteX1" fmla="*/ 0 w 571500"/>
              <a:gd name="connsiteY1" fmla="*/ 0 h 409575"/>
              <a:gd name="connsiteX2" fmla="*/ 571500 w 571500"/>
              <a:gd name="connsiteY2" fmla="*/ 28575 h 409575"/>
              <a:gd name="connsiteX3" fmla="*/ 571500 w 571500"/>
              <a:gd name="connsiteY3" fmla="*/ 409575 h 409575"/>
              <a:gd name="connsiteX0" fmla="*/ 0 w 577850"/>
              <a:gd name="connsiteY0" fmla="*/ 0 h 409575"/>
              <a:gd name="connsiteX1" fmla="*/ 0 w 577850"/>
              <a:gd name="connsiteY1" fmla="*/ 0 h 409575"/>
              <a:gd name="connsiteX2" fmla="*/ 577850 w 577850"/>
              <a:gd name="connsiteY2" fmla="*/ 3175 h 409575"/>
              <a:gd name="connsiteX3" fmla="*/ 571500 w 577850"/>
              <a:gd name="connsiteY3" fmla="*/ 409575 h 4095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77850" h="409575">
                <a:moveTo>
                  <a:pt x="0" y="0"/>
                </a:moveTo>
                <a:lnTo>
                  <a:pt x="0" y="0"/>
                </a:lnTo>
                <a:lnTo>
                  <a:pt x="577850" y="3175"/>
                </a:lnTo>
                <a:lnTo>
                  <a:pt x="571500" y="409575"/>
                </a:lnTo>
              </a:path>
            </a:pathLst>
          </a:custGeom>
          <a:noFill/>
          <a:ln>
            <a:solidFill>
              <a:srgbClr val="6094C9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3" name="Freeform 92"/>
          <p:cNvSpPr/>
          <p:nvPr/>
        </p:nvSpPr>
        <p:spPr>
          <a:xfrm>
            <a:off x="4808059" y="1304660"/>
            <a:ext cx="1862338" cy="2217076"/>
          </a:xfrm>
          <a:custGeom>
            <a:avLst/>
            <a:gdLst>
              <a:gd name="connsiteX0" fmla="*/ 0 w 571617"/>
              <a:gd name="connsiteY0" fmla="*/ 3770 h 413345"/>
              <a:gd name="connsiteX1" fmla="*/ 0 w 571617"/>
              <a:gd name="connsiteY1" fmla="*/ 3770 h 413345"/>
              <a:gd name="connsiteX2" fmla="*/ 476250 w 571617"/>
              <a:gd name="connsiteY2" fmla="*/ 6945 h 413345"/>
              <a:gd name="connsiteX3" fmla="*/ 571500 w 571617"/>
              <a:gd name="connsiteY3" fmla="*/ 32345 h 413345"/>
              <a:gd name="connsiteX4" fmla="*/ 571500 w 571617"/>
              <a:gd name="connsiteY4" fmla="*/ 413345 h 413345"/>
              <a:gd name="connsiteX0" fmla="*/ 0 w 571500"/>
              <a:gd name="connsiteY0" fmla="*/ 8358 h 417933"/>
              <a:gd name="connsiteX1" fmla="*/ 0 w 571500"/>
              <a:gd name="connsiteY1" fmla="*/ 8358 h 417933"/>
              <a:gd name="connsiteX2" fmla="*/ 476250 w 571500"/>
              <a:gd name="connsiteY2" fmla="*/ 11533 h 417933"/>
              <a:gd name="connsiteX3" fmla="*/ 571500 w 571500"/>
              <a:gd name="connsiteY3" fmla="*/ 36933 h 417933"/>
              <a:gd name="connsiteX4" fmla="*/ 571500 w 571500"/>
              <a:gd name="connsiteY4" fmla="*/ 417933 h 417933"/>
              <a:gd name="connsiteX0" fmla="*/ 0 w 571500"/>
              <a:gd name="connsiteY0" fmla="*/ 0 h 409575"/>
              <a:gd name="connsiteX1" fmla="*/ 0 w 571500"/>
              <a:gd name="connsiteY1" fmla="*/ 0 h 409575"/>
              <a:gd name="connsiteX2" fmla="*/ 571500 w 571500"/>
              <a:gd name="connsiteY2" fmla="*/ 28575 h 409575"/>
              <a:gd name="connsiteX3" fmla="*/ 571500 w 571500"/>
              <a:gd name="connsiteY3" fmla="*/ 409575 h 409575"/>
              <a:gd name="connsiteX0" fmla="*/ 0 w 577850"/>
              <a:gd name="connsiteY0" fmla="*/ 0 h 409575"/>
              <a:gd name="connsiteX1" fmla="*/ 0 w 577850"/>
              <a:gd name="connsiteY1" fmla="*/ 0 h 409575"/>
              <a:gd name="connsiteX2" fmla="*/ 577850 w 577850"/>
              <a:gd name="connsiteY2" fmla="*/ 3175 h 409575"/>
              <a:gd name="connsiteX3" fmla="*/ 571500 w 577850"/>
              <a:gd name="connsiteY3" fmla="*/ 409575 h 4095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77850" h="409575">
                <a:moveTo>
                  <a:pt x="0" y="0"/>
                </a:moveTo>
                <a:lnTo>
                  <a:pt x="0" y="0"/>
                </a:lnTo>
                <a:lnTo>
                  <a:pt x="577850" y="3175"/>
                </a:lnTo>
                <a:lnTo>
                  <a:pt x="571500" y="409575"/>
                </a:lnTo>
              </a:path>
            </a:pathLst>
          </a:custGeom>
          <a:noFill/>
          <a:ln>
            <a:solidFill>
              <a:srgbClr val="6094C9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8" name="object 28"/>
          <p:cNvSpPr/>
          <p:nvPr/>
        </p:nvSpPr>
        <p:spPr>
          <a:xfrm>
            <a:off x="2346246" y="2489695"/>
            <a:ext cx="320729" cy="34736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ln w="25399">
            <a:solidFill>
              <a:srgbClr val="9E4B45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2" name="object 68"/>
          <p:cNvSpPr/>
          <p:nvPr/>
        </p:nvSpPr>
        <p:spPr>
          <a:xfrm>
            <a:off x="6466819" y="352173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459052803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" name="object 10"/>
          <p:cNvSpPr txBox="1"/>
          <p:nvPr/>
        </p:nvSpPr>
        <p:spPr>
          <a:xfrm>
            <a:off x="2101916" y="369650"/>
            <a:ext cx="6296519" cy="4318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3400"/>
              </a:lnSpc>
              <a:spcBef>
                <a:spcPts val="170"/>
              </a:spcBef>
            </a:pPr>
            <a:r>
              <a:rPr lang="en-US" sz="4800" baseline="1706" dirty="0">
                <a:solidFill>
                  <a:srgbClr val="4E81BC"/>
                </a:solidFill>
                <a:latin typeface="+mj-lt"/>
                <a:cs typeface="Calibri"/>
              </a:rPr>
              <a:t>Agglomerative </a:t>
            </a:r>
            <a:r>
              <a:rPr sz="4800" baseline="1706" dirty="0">
                <a:solidFill>
                  <a:srgbClr val="F69545"/>
                </a:solidFill>
                <a:latin typeface="+mj-lt"/>
                <a:cs typeface="Calibri"/>
              </a:rPr>
              <a:t>Hierarchical</a:t>
            </a:r>
            <a:r>
              <a:rPr sz="4800" spc="0" baseline="1706" dirty="0" smtClean="0">
                <a:solidFill>
                  <a:srgbClr val="4E81BC"/>
                </a:solidFill>
                <a:latin typeface="+mj-lt"/>
                <a:cs typeface="Calibri"/>
              </a:rPr>
              <a:t> Clustering</a:t>
            </a:r>
            <a:endParaRPr sz="3200" dirty="0">
              <a:latin typeface="+mj-lt"/>
              <a:cs typeface="Calibri"/>
            </a:endParaRPr>
          </a:p>
        </p:txBody>
      </p:sp>
      <p:sp>
        <p:nvSpPr>
          <p:cNvPr id="44" name="Freeform 43"/>
          <p:cNvSpPr/>
          <p:nvPr/>
        </p:nvSpPr>
        <p:spPr>
          <a:xfrm>
            <a:off x="1371599" y="4876800"/>
            <a:ext cx="596901" cy="381000"/>
          </a:xfrm>
          <a:custGeom>
            <a:avLst/>
            <a:gdLst>
              <a:gd name="connsiteX0" fmla="*/ 0 w 571617"/>
              <a:gd name="connsiteY0" fmla="*/ 3770 h 413345"/>
              <a:gd name="connsiteX1" fmla="*/ 0 w 571617"/>
              <a:gd name="connsiteY1" fmla="*/ 3770 h 413345"/>
              <a:gd name="connsiteX2" fmla="*/ 476250 w 571617"/>
              <a:gd name="connsiteY2" fmla="*/ 6945 h 413345"/>
              <a:gd name="connsiteX3" fmla="*/ 571500 w 571617"/>
              <a:gd name="connsiteY3" fmla="*/ 32345 h 413345"/>
              <a:gd name="connsiteX4" fmla="*/ 571500 w 571617"/>
              <a:gd name="connsiteY4" fmla="*/ 413345 h 413345"/>
              <a:gd name="connsiteX0" fmla="*/ 0 w 571500"/>
              <a:gd name="connsiteY0" fmla="*/ 8358 h 417933"/>
              <a:gd name="connsiteX1" fmla="*/ 0 w 571500"/>
              <a:gd name="connsiteY1" fmla="*/ 8358 h 417933"/>
              <a:gd name="connsiteX2" fmla="*/ 476250 w 571500"/>
              <a:gd name="connsiteY2" fmla="*/ 11533 h 417933"/>
              <a:gd name="connsiteX3" fmla="*/ 571500 w 571500"/>
              <a:gd name="connsiteY3" fmla="*/ 36933 h 417933"/>
              <a:gd name="connsiteX4" fmla="*/ 571500 w 571500"/>
              <a:gd name="connsiteY4" fmla="*/ 417933 h 417933"/>
              <a:gd name="connsiteX0" fmla="*/ 0 w 571500"/>
              <a:gd name="connsiteY0" fmla="*/ 0 h 409575"/>
              <a:gd name="connsiteX1" fmla="*/ 0 w 571500"/>
              <a:gd name="connsiteY1" fmla="*/ 0 h 409575"/>
              <a:gd name="connsiteX2" fmla="*/ 571500 w 571500"/>
              <a:gd name="connsiteY2" fmla="*/ 28575 h 409575"/>
              <a:gd name="connsiteX3" fmla="*/ 571500 w 571500"/>
              <a:gd name="connsiteY3" fmla="*/ 409575 h 409575"/>
              <a:gd name="connsiteX0" fmla="*/ 0 w 577850"/>
              <a:gd name="connsiteY0" fmla="*/ 0 h 409575"/>
              <a:gd name="connsiteX1" fmla="*/ 0 w 577850"/>
              <a:gd name="connsiteY1" fmla="*/ 0 h 409575"/>
              <a:gd name="connsiteX2" fmla="*/ 577850 w 577850"/>
              <a:gd name="connsiteY2" fmla="*/ 3175 h 409575"/>
              <a:gd name="connsiteX3" fmla="*/ 571500 w 577850"/>
              <a:gd name="connsiteY3" fmla="*/ 409575 h 4095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77850" h="409575">
                <a:moveTo>
                  <a:pt x="0" y="0"/>
                </a:moveTo>
                <a:lnTo>
                  <a:pt x="0" y="0"/>
                </a:lnTo>
                <a:lnTo>
                  <a:pt x="577850" y="3175"/>
                </a:lnTo>
                <a:lnTo>
                  <a:pt x="571500" y="409575"/>
                </a:lnTo>
              </a:path>
            </a:pathLst>
          </a:custGeom>
          <a:noFill/>
          <a:ln>
            <a:solidFill>
              <a:srgbClr val="6094C9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5" name="Freeform 44"/>
          <p:cNvSpPr/>
          <p:nvPr/>
        </p:nvSpPr>
        <p:spPr>
          <a:xfrm flipH="1">
            <a:off x="451015" y="4876800"/>
            <a:ext cx="596901" cy="381000"/>
          </a:xfrm>
          <a:custGeom>
            <a:avLst/>
            <a:gdLst>
              <a:gd name="connsiteX0" fmla="*/ 0 w 571617"/>
              <a:gd name="connsiteY0" fmla="*/ 3770 h 413345"/>
              <a:gd name="connsiteX1" fmla="*/ 0 w 571617"/>
              <a:gd name="connsiteY1" fmla="*/ 3770 h 413345"/>
              <a:gd name="connsiteX2" fmla="*/ 476250 w 571617"/>
              <a:gd name="connsiteY2" fmla="*/ 6945 h 413345"/>
              <a:gd name="connsiteX3" fmla="*/ 571500 w 571617"/>
              <a:gd name="connsiteY3" fmla="*/ 32345 h 413345"/>
              <a:gd name="connsiteX4" fmla="*/ 571500 w 571617"/>
              <a:gd name="connsiteY4" fmla="*/ 413345 h 413345"/>
              <a:gd name="connsiteX0" fmla="*/ 0 w 571500"/>
              <a:gd name="connsiteY0" fmla="*/ 8358 h 417933"/>
              <a:gd name="connsiteX1" fmla="*/ 0 w 571500"/>
              <a:gd name="connsiteY1" fmla="*/ 8358 h 417933"/>
              <a:gd name="connsiteX2" fmla="*/ 476250 w 571500"/>
              <a:gd name="connsiteY2" fmla="*/ 11533 h 417933"/>
              <a:gd name="connsiteX3" fmla="*/ 571500 w 571500"/>
              <a:gd name="connsiteY3" fmla="*/ 36933 h 417933"/>
              <a:gd name="connsiteX4" fmla="*/ 571500 w 571500"/>
              <a:gd name="connsiteY4" fmla="*/ 417933 h 417933"/>
              <a:gd name="connsiteX0" fmla="*/ 0 w 571500"/>
              <a:gd name="connsiteY0" fmla="*/ 0 h 409575"/>
              <a:gd name="connsiteX1" fmla="*/ 0 w 571500"/>
              <a:gd name="connsiteY1" fmla="*/ 0 h 409575"/>
              <a:gd name="connsiteX2" fmla="*/ 571500 w 571500"/>
              <a:gd name="connsiteY2" fmla="*/ 28575 h 409575"/>
              <a:gd name="connsiteX3" fmla="*/ 571500 w 571500"/>
              <a:gd name="connsiteY3" fmla="*/ 409575 h 409575"/>
              <a:gd name="connsiteX0" fmla="*/ 0 w 577850"/>
              <a:gd name="connsiteY0" fmla="*/ 0 h 409575"/>
              <a:gd name="connsiteX1" fmla="*/ 0 w 577850"/>
              <a:gd name="connsiteY1" fmla="*/ 0 h 409575"/>
              <a:gd name="connsiteX2" fmla="*/ 577850 w 577850"/>
              <a:gd name="connsiteY2" fmla="*/ 3175 h 409575"/>
              <a:gd name="connsiteX3" fmla="*/ 571500 w 577850"/>
              <a:gd name="connsiteY3" fmla="*/ 409575 h 4095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77850" h="409575">
                <a:moveTo>
                  <a:pt x="0" y="0"/>
                </a:moveTo>
                <a:lnTo>
                  <a:pt x="0" y="0"/>
                </a:lnTo>
                <a:lnTo>
                  <a:pt x="577850" y="3175"/>
                </a:lnTo>
                <a:lnTo>
                  <a:pt x="571500" y="409575"/>
                </a:lnTo>
              </a:path>
            </a:pathLst>
          </a:custGeom>
          <a:noFill/>
          <a:ln>
            <a:solidFill>
              <a:srgbClr val="6094C9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6" name="object 5"/>
          <p:cNvSpPr/>
          <p:nvPr/>
        </p:nvSpPr>
        <p:spPr>
          <a:xfrm>
            <a:off x="8676629" y="1036574"/>
            <a:ext cx="0" cy="4598485"/>
          </a:xfrm>
          <a:custGeom>
            <a:avLst/>
            <a:gdLst/>
            <a:ahLst/>
            <a:cxnLst/>
            <a:rect l="l" t="t" r="r" b="b"/>
            <a:pathLst>
              <a:path h="4598485">
                <a:moveTo>
                  <a:pt x="0" y="4598485"/>
                </a:moveTo>
                <a:lnTo>
                  <a:pt x="0" y="0"/>
                </a:lnTo>
              </a:path>
            </a:pathLst>
          </a:custGeom>
          <a:ln w="38099">
            <a:solidFill>
              <a:srgbClr val="937AB1"/>
            </a:solidFill>
            <a:tailEnd type="arrow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7" name="object 2"/>
          <p:cNvSpPr txBox="1"/>
          <p:nvPr/>
        </p:nvSpPr>
        <p:spPr>
          <a:xfrm rot="5400000">
            <a:off x="8269473" y="3145316"/>
            <a:ext cx="1310588" cy="3810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 algn="ctr">
              <a:lnSpc>
                <a:spcPts val="3000"/>
              </a:lnSpc>
              <a:spcBef>
                <a:spcPts val="150"/>
              </a:spcBef>
            </a:pPr>
            <a:r>
              <a:rPr sz="4200" spc="0" baseline="1950" dirty="0" smtClean="0">
                <a:solidFill>
                  <a:srgbClr val="8063A1"/>
                </a:solidFill>
                <a:cs typeface="Calibri"/>
              </a:rPr>
              <a:t>distance</a:t>
            </a:r>
            <a:endParaRPr sz="2800" dirty="0">
              <a:cs typeface="Calibri"/>
            </a:endParaRPr>
          </a:p>
        </p:txBody>
      </p:sp>
      <p:sp>
        <p:nvSpPr>
          <p:cNvPr id="48" name="Freeform 47"/>
          <p:cNvSpPr/>
          <p:nvPr/>
        </p:nvSpPr>
        <p:spPr>
          <a:xfrm>
            <a:off x="6814291" y="3678833"/>
            <a:ext cx="1186709" cy="1608866"/>
          </a:xfrm>
          <a:custGeom>
            <a:avLst/>
            <a:gdLst>
              <a:gd name="connsiteX0" fmla="*/ 0 w 571617"/>
              <a:gd name="connsiteY0" fmla="*/ 3770 h 413345"/>
              <a:gd name="connsiteX1" fmla="*/ 0 w 571617"/>
              <a:gd name="connsiteY1" fmla="*/ 3770 h 413345"/>
              <a:gd name="connsiteX2" fmla="*/ 476250 w 571617"/>
              <a:gd name="connsiteY2" fmla="*/ 6945 h 413345"/>
              <a:gd name="connsiteX3" fmla="*/ 571500 w 571617"/>
              <a:gd name="connsiteY3" fmla="*/ 32345 h 413345"/>
              <a:gd name="connsiteX4" fmla="*/ 571500 w 571617"/>
              <a:gd name="connsiteY4" fmla="*/ 413345 h 413345"/>
              <a:gd name="connsiteX0" fmla="*/ 0 w 571500"/>
              <a:gd name="connsiteY0" fmla="*/ 8358 h 417933"/>
              <a:gd name="connsiteX1" fmla="*/ 0 w 571500"/>
              <a:gd name="connsiteY1" fmla="*/ 8358 h 417933"/>
              <a:gd name="connsiteX2" fmla="*/ 476250 w 571500"/>
              <a:gd name="connsiteY2" fmla="*/ 11533 h 417933"/>
              <a:gd name="connsiteX3" fmla="*/ 571500 w 571500"/>
              <a:gd name="connsiteY3" fmla="*/ 36933 h 417933"/>
              <a:gd name="connsiteX4" fmla="*/ 571500 w 571500"/>
              <a:gd name="connsiteY4" fmla="*/ 417933 h 417933"/>
              <a:gd name="connsiteX0" fmla="*/ 0 w 571500"/>
              <a:gd name="connsiteY0" fmla="*/ 0 h 409575"/>
              <a:gd name="connsiteX1" fmla="*/ 0 w 571500"/>
              <a:gd name="connsiteY1" fmla="*/ 0 h 409575"/>
              <a:gd name="connsiteX2" fmla="*/ 571500 w 571500"/>
              <a:gd name="connsiteY2" fmla="*/ 28575 h 409575"/>
              <a:gd name="connsiteX3" fmla="*/ 571500 w 571500"/>
              <a:gd name="connsiteY3" fmla="*/ 409575 h 409575"/>
              <a:gd name="connsiteX0" fmla="*/ 0 w 577850"/>
              <a:gd name="connsiteY0" fmla="*/ 0 h 409575"/>
              <a:gd name="connsiteX1" fmla="*/ 0 w 577850"/>
              <a:gd name="connsiteY1" fmla="*/ 0 h 409575"/>
              <a:gd name="connsiteX2" fmla="*/ 577850 w 577850"/>
              <a:gd name="connsiteY2" fmla="*/ 3175 h 409575"/>
              <a:gd name="connsiteX3" fmla="*/ 571500 w 577850"/>
              <a:gd name="connsiteY3" fmla="*/ 409575 h 4095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77850" h="409575">
                <a:moveTo>
                  <a:pt x="0" y="0"/>
                </a:moveTo>
                <a:lnTo>
                  <a:pt x="0" y="0"/>
                </a:lnTo>
                <a:lnTo>
                  <a:pt x="577850" y="3175"/>
                </a:lnTo>
                <a:lnTo>
                  <a:pt x="571500" y="409575"/>
                </a:lnTo>
              </a:path>
            </a:pathLst>
          </a:custGeom>
          <a:noFill/>
          <a:ln>
            <a:solidFill>
              <a:srgbClr val="6094C9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9" name="Freeform 48"/>
          <p:cNvSpPr/>
          <p:nvPr/>
        </p:nvSpPr>
        <p:spPr>
          <a:xfrm flipH="1">
            <a:off x="5486826" y="3678833"/>
            <a:ext cx="1186709" cy="1608866"/>
          </a:xfrm>
          <a:custGeom>
            <a:avLst/>
            <a:gdLst>
              <a:gd name="connsiteX0" fmla="*/ 0 w 571617"/>
              <a:gd name="connsiteY0" fmla="*/ 3770 h 413345"/>
              <a:gd name="connsiteX1" fmla="*/ 0 w 571617"/>
              <a:gd name="connsiteY1" fmla="*/ 3770 h 413345"/>
              <a:gd name="connsiteX2" fmla="*/ 476250 w 571617"/>
              <a:gd name="connsiteY2" fmla="*/ 6945 h 413345"/>
              <a:gd name="connsiteX3" fmla="*/ 571500 w 571617"/>
              <a:gd name="connsiteY3" fmla="*/ 32345 h 413345"/>
              <a:gd name="connsiteX4" fmla="*/ 571500 w 571617"/>
              <a:gd name="connsiteY4" fmla="*/ 413345 h 413345"/>
              <a:gd name="connsiteX0" fmla="*/ 0 w 571500"/>
              <a:gd name="connsiteY0" fmla="*/ 8358 h 417933"/>
              <a:gd name="connsiteX1" fmla="*/ 0 w 571500"/>
              <a:gd name="connsiteY1" fmla="*/ 8358 h 417933"/>
              <a:gd name="connsiteX2" fmla="*/ 476250 w 571500"/>
              <a:gd name="connsiteY2" fmla="*/ 11533 h 417933"/>
              <a:gd name="connsiteX3" fmla="*/ 571500 w 571500"/>
              <a:gd name="connsiteY3" fmla="*/ 36933 h 417933"/>
              <a:gd name="connsiteX4" fmla="*/ 571500 w 571500"/>
              <a:gd name="connsiteY4" fmla="*/ 417933 h 417933"/>
              <a:gd name="connsiteX0" fmla="*/ 0 w 571500"/>
              <a:gd name="connsiteY0" fmla="*/ 0 h 409575"/>
              <a:gd name="connsiteX1" fmla="*/ 0 w 571500"/>
              <a:gd name="connsiteY1" fmla="*/ 0 h 409575"/>
              <a:gd name="connsiteX2" fmla="*/ 571500 w 571500"/>
              <a:gd name="connsiteY2" fmla="*/ 28575 h 409575"/>
              <a:gd name="connsiteX3" fmla="*/ 571500 w 571500"/>
              <a:gd name="connsiteY3" fmla="*/ 409575 h 409575"/>
              <a:gd name="connsiteX0" fmla="*/ 0 w 577850"/>
              <a:gd name="connsiteY0" fmla="*/ 0 h 409575"/>
              <a:gd name="connsiteX1" fmla="*/ 0 w 577850"/>
              <a:gd name="connsiteY1" fmla="*/ 0 h 409575"/>
              <a:gd name="connsiteX2" fmla="*/ 577850 w 577850"/>
              <a:gd name="connsiteY2" fmla="*/ 3175 h 409575"/>
              <a:gd name="connsiteX3" fmla="*/ 571500 w 577850"/>
              <a:gd name="connsiteY3" fmla="*/ 409575 h 4095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77850" h="409575">
                <a:moveTo>
                  <a:pt x="0" y="0"/>
                </a:moveTo>
                <a:lnTo>
                  <a:pt x="0" y="0"/>
                </a:lnTo>
                <a:lnTo>
                  <a:pt x="577850" y="3175"/>
                </a:lnTo>
                <a:lnTo>
                  <a:pt x="571500" y="409575"/>
                </a:lnTo>
              </a:path>
            </a:pathLst>
          </a:custGeom>
          <a:noFill/>
          <a:ln>
            <a:solidFill>
              <a:srgbClr val="6094C9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1" name="Freeform 50"/>
          <p:cNvSpPr/>
          <p:nvPr/>
        </p:nvSpPr>
        <p:spPr>
          <a:xfrm flipH="1">
            <a:off x="1175488" y="2680521"/>
            <a:ext cx="1186709" cy="2052545"/>
          </a:xfrm>
          <a:custGeom>
            <a:avLst/>
            <a:gdLst>
              <a:gd name="connsiteX0" fmla="*/ 0 w 571617"/>
              <a:gd name="connsiteY0" fmla="*/ 3770 h 413345"/>
              <a:gd name="connsiteX1" fmla="*/ 0 w 571617"/>
              <a:gd name="connsiteY1" fmla="*/ 3770 h 413345"/>
              <a:gd name="connsiteX2" fmla="*/ 476250 w 571617"/>
              <a:gd name="connsiteY2" fmla="*/ 6945 h 413345"/>
              <a:gd name="connsiteX3" fmla="*/ 571500 w 571617"/>
              <a:gd name="connsiteY3" fmla="*/ 32345 h 413345"/>
              <a:gd name="connsiteX4" fmla="*/ 571500 w 571617"/>
              <a:gd name="connsiteY4" fmla="*/ 413345 h 413345"/>
              <a:gd name="connsiteX0" fmla="*/ 0 w 571500"/>
              <a:gd name="connsiteY0" fmla="*/ 8358 h 417933"/>
              <a:gd name="connsiteX1" fmla="*/ 0 w 571500"/>
              <a:gd name="connsiteY1" fmla="*/ 8358 h 417933"/>
              <a:gd name="connsiteX2" fmla="*/ 476250 w 571500"/>
              <a:gd name="connsiteY2" fmla="*/ 11533 h 417933"/>
              <a:gd name="connsiteX3" fmla="*/ 571500 w 571500"/>
              <a:gd name="connsiteY3" fmla="*/ 36933 h 417933"/>
              <a:gd name="connsiteX4" fmla="*/ 571500 w 571500"/>
              <a:gd name="connsiteY4" fmla="*/ 417933 h 417933"/>
              <a:gd name="connsiteX0" fmla="*/ 0 w 571500"/>
              <a:gd name="connsiteY0" fmla="*/ 0 h 409575"/>
              <a:gd name="connsiteX1" fmla="*/ 0 w 571500"/>
              <a:gd name="connsiteY1" fmla="*/ 0 h 409575"/>
              <a:gd name="connsiteX2" fmla="*/ 571500 w 571500"/>
              <a:gd name="connsiteY2" fmla="*/ 28575 h 409575"/>
              <a:gd name="connsiteX3" fmla="*/ 571500 w 571500"/>
              <a:gd name="connsiteY3" fmla="*/ 409575 h 409575"/>
              <a:gd name="connsiteX0" fmla="*/ 0 w 577850"/>
              <a:gd name="connsiteY0" fmla="*/ 0 h 409575"/>
              <a:gd name="connsiteX1" fmla="*/ 0 w 577850"/>
              <a:gd name="connsiteY1" fmla="*/ 0 h 409575"/>
              <a:gd name="connsiteX2" fmla="*/ 577850 w 577850"/>
              <a:gd name="connsiteY2" fmla="*/ 3175 h 409575"/>
              <a:gd name="connsiteX3" fmla="*/ 571500 w 577850"/>
              <a:gd name="connsiteY3" fmla="*/ 409575 h 4095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77850" h="409575">
                <a:moveTo>
                  <a:pt x="0" y="0"/>
                </a:moveTo>
                <a:lnTo>
                  <a:pt x="0" y="0"/>
                </a:lnTo>
                <a:lnTo>
                  <a:pt x="577850" y="3175"/>
                </a:lnTo>
                <a:lnTo>
                  <a:pt x="571500" y="409575"/>
                </a:lnTo>
              </a:path>
            </a:pathLst>
          </a:custGeom>
          <a:noFill/>
          <a:ln>
            <a:solidFill>
              <a:srgbClr val="6094C9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3" name="Freeform 92"/>
          <p:cNvSpPr/>
          <p:nvPr/>
        </p:nvSpPr>
        <p:spPr>
          <a:xfrm>
            <a:off x="2662410" y="2680521"/>
            <a:ext cx="995425" cy="2607177"/>
          </a:xfrm>
          <a:custGeom>
            <a:avLst/>
            <a:gdLst>
              <a:gd name="connsiteX0" fmla="*/ 0 w 571617"/>
              <a:gd name="connsiteY0" fmla="*/ 3770 h 413345"/>
              <a:gd name="connsiteX1" fmla="*/ 0 w 571617"/>
              <a:gd name="connsiteY1" fmla="*/ 3770 h 413345"/>
              <a:gd name="connsiteX2" fmla="*/ 476250 w 571617"/>
              <a:gd name="connsiteY2" fmla="*/ 6945 h 413345"/>
              <a:gd name="connsiteX3" fmla="*/ 571500 w 571617"/>
              <a:gd name="connsiteY3" fmla="*/ 32345 h 413345"/>
              <a:gd name="connsiteX4" fmla="*/ 571500 w 571617"/>
              <a:gd name="connsiteY4" fmla="*/ 413345 h 413345"/>
              <a:gd name="connsiteX0" fmla="*/ 0 w 571500"/>
              <a:gd name="connsiteY0" fmla="*/ 8358 h 417933"/>
              <a:gd name="connsiteX1" fmla="*/ 0 w 571500"/>
              <a:gd name="connsiteY1" fmla="*/ 8358 h 417933"/>
              <a:gd name="connsiteX2" fmla="*/ 476250 w 571500"/>
              <a:gd name="connsiteY2" fmla="*/ 11533 h 417933"/>
              <a:gd name="connsiteX3" fmla="*/ 571500 w 571500"/>
              <a:gd name="connsiteY3" fmla="*/ 36933 h 417933"/>
              <a:gd name="connsiteX4" fmla="*/ 571500 w 571500"/>
              <a:gd name="connsiteY4" fmla="*/ 417933 h 417933"/>
              <a:gd name="connsiteX0" fmla="*/ 0 w 571500"/>
              <a:gd name="connsiteY0" fmla="*/ 0 h 409575"/>
              <a:gd name="connsiteX1" fmla="*/ 0 w 571500"/>
              <a:gd name="connsiteY1" fmla="*/ 0 h 409575"/>
              <a:gd name="connsiteX2" fmla="*/ 571500 w 571500"/>
              <a:gd name="connsiteY2" fmla="*/ 28575 h 409575"/>
              <a:gd name="connsiteX3" fmla="*/ 571500 w 571500"/>
              <a:gd name="connsiteY3" fmla="*/ 409575 h 409575"/>
              <a:gd name="connsiteX0" fmla="*/ 0 w 577850"/>
              <a:gd name="connsiteY0" fmla="*/ 0 h 409575"/>
              <a:gd name="connsiteX1" fmla="*/ 0 w 577850"/>
              <a:gd name="connsiteY1" fmla="*/ 0 h 409575"/>
              <a:gd name="connsiteX2" fmla="*/ 577850 w 577850"/>
              <a:gd name="connsiteY2" fmla="*/ 3175 h 409575"/>
              <a:gd name="connsiteX3" fmla="*/ 571500 w 577850"/>
              <a:gd name="connsiteY3" fmla="*/ 409575 h 409575"/>
              <a:gd name="connsiteX0" fmla="*/ 0 w 577850"/>
              <a:gd name="connsiteY0" fmla="*/ 0 h 409575"/>
              <a:gd name="connsiteX1" fmla="*/ 0 w 577850"/>
              <a:gd name="connsiteY1" fmla="*/ 0 h 409575"/>
              <a:gd name="connsiteX2" fmla="*/ 577850 w 577850"/>
              <a:gd name="connsiteY2" fmla="*/ 3175 h 409575"/>
              <a:gd name="connsiteX3" fmla="*/ 571500 w 577850"/>
              <a:gd name="connsiteY3" fmla="*/ 409575 h 409575"/>
              <a:gd name="connsiteX0" fmla="*/ 0 w 577850"/>
              <a:gd name="connsiteY0" fmla="*/ 0 h 409575"/>
              <a:gd name="connsiteX1" fmla="*/ 0 w 577850"/>
              <a:gd name="connsiteY1" fmla="*/ 0 h 409575"/>
              <a:gd name="connsiteX2" fmla="*/ 577850 w 577850"/>
              <a:gd name="connsiteY2" fmla="*/ 3175 h 409575"/>
              <a:gd name="connsiteX3" fmla="*/ 571500 w 577850"/>
              <a:gd name="connsiteY3" fmla="*/ 409575 h 409575"/>
              <a:gd name="connsiteX0" fmla="*/ 0 w 577850"/>
              <a:gd name="connsiteY0" fmla="*/ 0 h 409575"/>
              <a:gd name="connsiteX1" fmla="*/ 0 w 577850"/>
              <a:gd name="connsiteY1" fmla="*/ 0 h 409575"/>
              <a:gd name="connsiteX2" fmla="*/ 577850 w 577850"/>
              <a:gd name="connsiteY2" fmla="*/ 3175 h 409575"/>
              <a:gd name="connsiteX3" fmla="*/ 571500 w 577850"/>
              <a:gd name="connsiteY3" fmla="*/ 409575 h 409575"/>
              <a:gd name="connsiteX0" fmla="*/ 0 w 577850"/>
              <a:gd name="connsiteY0" fmla="*/ 0 h 409575"/>
              <a:gd name="connsiteX1" fmla="*/ 0 w 577850"/>
              <a:gd name="connsiteY1" fmla="*/ 0 h 409575"/>
              <a:gd name="connsiteX2" fmla="*/ 577850 w 577850"/>
              <a:gd name="connsiteY2" fmla="*/ 3175 h 409575"/>
              <a:gd name="connsiteX3" fmla="*/ 571500 w 577850"/>
              <a:gd name="connsiteY3" fmla="*/ 409575 h 409575"/>
              <a:gd name="connsiteX0" fmla="*/ 0 w 574187"/>
              <a:gd name="connsiteY0" fmla="*/ 0 h 409575"/>
              <a:gd name="connsiteX1" fmla="*/ 0 w 574187"/>
              <a:gd name="connsiteY1" fmla="*/ 0 h 409575"/>
              <a:gd name="connsiteX2" fmla="*/ 574187 w 574187"/>
              <a:gd name="connsiteY2" fmla="*/ 1180 h 409575"/>
              <a:gd name="connsiteX3" fmla="*/ 571500 w 574187"/>
              <a:gd name="connsiteY3" fmla="*/ 409575 h 4095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74187" h="409575">
                <a:moveTo>
                  <a:pt x="0" y="0"/>
                </a:moveTo>
                <a:lnTo>
                  <a:pt x="0" y="0"/>
                </a:lnTo>
                <a:lnTo>
                  <a:pt x="574187" y="1180"/>
                </a:lnTo>
                <a:cubicBezTo>
                  <a:pt x="573291" y="137312"/>
                  <a:pt x="572396" y="273443"/>
                  <a:pt x="571500" y="409575"/>
                </a:cubicBezTo>
              </a:path>
            </a:pathLst>
          </a:custGeom>
          <a:noFill/>
          <a:ln>
            <a:solidFill>
              <a:srgbClr val="6094C9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4" name="object 23"/>
          <p:cNvSpPr/>
          <p:nvPr/>
        </p:nvSpPr>
        <p:spPr>
          <a:xfrm>
            <a:off x="4487329" y="1162574"/>
            <a:ext cx="320729" cy="34736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1"/>
                </a:moveTo>
                <a:lnTo>
                  <a:pt x="232" y="183108"/>
                </a:lnTo>
                <a:lnTo>
                  <a:pt x="1583" y="198180"/>
                </a:lnTo>
                <a:lnTo>
                  <a:pt x="4094" y="212849"/>
                </a:lnTo>
                <a:lnTo>
                  <a:pt x="7715" y="227058"/>
                </a:lnTo>
                <a:lnTo>
                  <a:pt x="12395" y="240753"/>
                </a:lnTo>
                <a:lnTo>
                  <a:pt x="18082" y="253877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3"/>
                </a:lnTo>
                <a:lnTo>
                  <a:pt x="49876" y="299561"/>
                </a:lnTo>
                <a:lnTo>
                  <a:pt x="59830" y="309002"/>
                </a:lnTo>
                <a:lnTo>
                  <a:pt x="70485" y="317540"/>
                </a:lnTo>
                <a:lnTo>
                  <a:pt x="81788" y="325119"/>
                </a:lnTo>
                <a:lnTo>
                  <a:pt x="93689" y="331685"/>
                </a:lnTo>
                <a:lnTo>
                  <a:pt x="106136" y="337181"/>
                </a:lnTo>
                <a:lnTo>
                  <a:pt x="119079" y="341552"/>
                </a:lnTo>
                <a:lnTo>
                  <a:pt x="132465" y="344743"/>
                </a:lnTo>
                <a:lnTo>
                  <a:pt x="146244" y="346698"/>
                </a:lnTo>
                <a:lnTo>
                  <a:pt x="160365" y="347362"/>
                </a:lnTo>
                <a:lnTo>
                  <a:pt x="169068" y="347111"/>
                </a:lnTo>
                <a:lnTo>
                  <a:pt x="182985" y="345648"/>
                </a:lnTo>
                <a:lnTo>
                  <a:pt x="196529" y="342928"/>
                </a:lnTo>
                <a:lnTo>
                  <a:pt x="209649" y="339006"/>
                </a:lnTo>
                <a:lnTo>
                  <a:pt x="222294" y="333938"/>
                </a:lnTo>
                <a:lnTo>
                  <a:pt x="234412" y="327779"/>
                </a:lnTo>
                <a:lnTo>
                  <a:pt x="245952" y="320585"/>
                </a:lnTo>
                <a:lnTo>
                  <a:pt x="256863" y="312411"/>
                </a:lnTo>
                <a:lnTo>
                  <a:pt x="267094" y="303312"/>
                </a:lnTo>
                <a:lnTo>
                  <a:pt x="276594" y="293344"/>
                </a:lnTo>
                <a:lnTo>
                  <a:pt x="285311" y="282563"/>
                </a:lnTo>
                <a:lnTo>
                  <a:pt x="293194" y="271024"/>
                </a:lnTo>
                <a:lnTo>
                  <a:pt x="300192" y="258782"/>
                </a:lnTo>
                <a:lnTo>
                  <a:pt x="306254" y="245893"/>
                </a:lnTo>
                <a:lnTo>
                  <a:pt x="311328" y="232412"/>
                </a:lnTo>
                <a:lnTo>
                  <a:pt x="315364" y="218395"/>
                </a:lnTo>
                <a:lnTo>
                  <a:pt x="318311" y="203897"/>
                </a:lnTo>
                <a:lnTo>
                  <a:pt x="320116" y="188974"/>
                </a:lnTo>
                <a:lnTo>
                  <a:pt x="320729" y="173681"/>
                </a:lnTo>
                <a:lnTo>
                  <a:pt x="320497" y="164255"/>
                </a:lnTo>
                <a:lnTo>
                  <a:pt x="319146" y="149182"/>
                </a:lnTo>
                <a:lnTo>
                  <a:pt x="316635" y="134513"/>
                </a:lnTo>
                <a:lnTo>
                  <a:pt x="313014" y="120304"/>
                </a:lnTo>
                <a:lnTo>
                  <a:pt x="308334" y="106609"/>
                </a:lnTo>
                <a:lnTo>
                  <a:pt x="302648" y="93485"/>
                </a:lnTo>
                <a:lnTo>
                  <a:pt x="296005" y="80986"/>
                </a:lnTo>
                <a:lnTo>
                  <a:pt x="288458" y="69169"/>
                </a:lnTo>
                <a:lnTo>
                  <a:pt x="280057" y="58089"/>
                </a:lnTo>
                <a:lnTo>
                  <a:pt x="270854" y="47800"/>
                </a:lnTo>
                <a:lnTo>
                  <a:pt x="260899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1" y="251"/>
                </a:lnTo>
                <a:lnTo>
                  <a:pt x="137744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5" y="13424"/>
                </a:lnTo>
                <a:lnTo>
                  <a:pt x="86317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50"/>
                </a:lnTo>
                <a:lnTo>
                  <a:pt x="44135" y="54017"/>
                </a:lnTo>
                <a:lnTo>
                  <a:pt x="35418" y="64798"/>
                </a:lnTo>
                <a:lnTo>
                  <a:pt x="27535" y="76338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9"/>
                </a:lnTo>
                <a:lnTo>
                  <a:pt x="5364" y="128966"/>
                </a:lnTo>
                <a:lnTo>
                  <a:pt x="2418" y="143464"/>
                </a:lnTo>
                <a:lnTo>
                  <a:pt x="613" y="158388"/>
                </a:lnTo>
                <a:lnTo>
                  <a:pt x="0" y="173681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5" name="object 24"/>
          <p:cNvSpPr/>
          <p:nvPr/>
        </p:nvSpPr>
        <p:spPr>
          <a:xfrm>
            <a:off x="4487328" y="1162574"/>
            <a:ext cx="320730" cy="34736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ln w="25399">
            <a:solidFill>
              <a:srgbClr val="9E4B45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6" name="object 27"/>
          <p:cNvSpPr/>
          <p:nvPr/>
        </p:nvSpPr>
        <p:spPr>
          <a:xfrm>
            <a:off x="2346246" y="2489821"/>
            <a:ext cx="320729" cy="347361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232" y="183105"/>
                </a:lnTo>
                <a:lnTo>
                  <a:pt x="1582" y="198178"/>
                </a:lnTo>
                <a:lnTo>
                  <a:pt x="4094" y="212847"/>
                </a:lnTo>
                <a:lnTo>
                  <a:pt x="7715" y="227057"/>
                </a:lnTo>
                <a:lnTo>
                  <a:pt x="12394" y="240751"/>
                </a:lnTo>
                <a:lnTo>
                  <a:pt x="18081" y="253876"/>
                </a:lnTo>
                <a:lnTo>
                  <a:pt x="24724" y="266374"/>
                </a:lnTo>
                <a:lnTo>
                  <a:pt x="32271" y="278191"/>
                </a:lnTo>
                <a:lnTo>
                  <a:pt x="40672" y="289272"/>
                </a:lnTo>
                <a:lnTo>
                  <a:pt x="49875" y="299560"/>
                </a:lnTo>
                <a:lnTo>
                  <a:pt x="59829" y="309001"/>
                </a:lnTo>
                <a:lnTo>
                  <a:pt x="70484" y="317539"/>
                </a:lnTo>
                <a:lnTo>
                  <a:pt x="81787" y="325118"/>
                </a:lnTo>
                <a:lnTo>
                  <a:pt x="93688" y="331684"/>
                </a:lnTo>
                <a:lnTo>
                  <a:pt x="106135" y="337180"/>
                </a:lnTo>
                <a:lnTo>
                  <a:pt x="119077" y="341551"/>
                </a:lnTo>
                <a:lnTo>
                  <a:pt x="132464" y="344742"/>
                </a:lnTo>
                <a:lnTo>
                  <a:pt x="146243" y="346697"/>
                </a:lnTo>
                <a:lnTo>
                  <a:pt x="160364" y="347361"/>
                </a:lnTo>
                <a:lnTo>
                  <a:pt x="169068" y="347110"/>
                </a:lnTo>
                <a:lnTo>
                  <a:pt x="182985" y="345646"/>
                </a:lnTo>
                <a:lnTo>
                  <a:pt x="196529" y="342926"/>
                </a:lnTo>
                <a:lnTo>
                  <a:pt x="209649" y="339004"/>
                </a:lnTo>
                <a:lnTo>
                  <a:pt x="222294" y="333936"/>
                </a:lnTo>
                <a:lnTo>
                  <a:pt x="234412" y="327778"/>
                </a:lnTo>
                <a:lnTo>
                  <a:pt x="245952" y="320583"/>
                </a:lnTo>
                <a:lnTo>
                  <a:pt x="256863" y="312409"/>
                </a:lnTo>
                <a:lnTo>
                  <a:pt x="267094" y="303311"/>
                </a:lnTo>
                <a:lnTo>
                  <a:pt x="276593" y="293343"/>
                </a:lnTo>
                <a:lnTo>
                  <a:pt x="285310" y="282562"/>
                </a:lnTo>
                <a:lnTo>
                  <a:pt x="293193" y="271023"/>
                </a:lnTo>
                <a:lnTo>
                  <a:pt x="300192" y="258781"/>
                </a:lnTo>
                <a:lnTo>
                  <a:pt x="306254" y="245892"/>
                </a:lnTo>
                <a:lnTo>
                  <a:pt x="311328" y="232411"/>
                </a:lnTo>
                <a:lnTo>
                  <a:pt x="315364" y="218394"/>
                </a:lnTo>
                <a:lnTo>
                  <a:pt x="318311" y="203896"/>
                </a:lnTo>
                <a:lnTo>
                  <a:pt x="320116" y="188973"/>
                </a:lnTo>
                <a:lnTo>
                  <a:pt x="320729" y="173680"/>
                </a:lnTo>
                <a:lnTo>
                  <a:pt x="320497" y="164254"/>
                </a:lnTo>
                <a:lnTo>
                  <a:pt x="319146" y="149181"/>
                </a:lnTo>
                <a:lnTo>
                  <a:pt x="316635" y="134512"/>
                </a:lnTo>
                <a:lnTo>
                  <a:pt x="313013" y="120303"/>
                </a:lnTo>
                <a:lnTo>
                  <a:pt x="308334" y="106609"/>
                </a:lnTo>
                <a:lnTo>
                  <a:pt x="302647" y="93485"/>
                </a:lnTo>
                <a:lnTo>
                  <a:pt x="296005" y="80986"/>
                </a:lnTo>
                <a:lnTo>
                  <a:pt x="288457" y="69169"/>
                </a:lnTo>
                <a:lnTo>
                  <a:pt x="280056" y="58089"/>
                </a:lnTo>
                <a:lnTo>
                  <a:pt x="270853" y="47800"/>
                </a:lnTo>
                <a:lnTo>
                  <a:pt x="260898" y="38359"/>
                </a:lnTo>
                <a:lnTo>
                  <a:pt x="250244" y="29822"/>
                </a:lnTo>
                <a:lnTo>
                  <a:pt x="238941" y="22242"/>
                </a:lnTo>
                <a:lnTo>
                  <a:pt x="227040" y="15677"/>
                </a:lnTo>
                <a:lnTo>
                  <a:pt x="214593" y="10181"/>
                </a:lnTo>
                <a:lnTo>
                  <a:pt x="201650" y="5810"/>
                </a:lnTo>
                <a:lnTo>
                  <a:pt x="188264" y="2619"/>
                </a:lnTo>
                <a:lnTo>
                  <a:pt x="174484" y="664"/>
                </a:lnTo>
                <a:lnTo>
                  <a:pt x="160364" y="0"/>
                </a:lnTo>
                <a:lnTo>
                  <a:pt x="151662" y="251"/>
                </a:lnTo>
                <a:lnTo>
                  <a:pt x="137744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5" y="13423"/>
                </a:lnTo>
                <a:lnTo>
                  <a:pt x="86317" y="19582"/>
                </a:lnTo>
                <a:lnTo>
                  <a:pt x="74777" y="26776"/>
                </a:lnTo>
                <a:lnTo>
                  <a:pt x="63866" y="34950"/>
                </a:lnTo>
                <a:lnTo>
                  <a:pt x="53635" y="44049"/>
                </a:lnTo>
                <a:lnTo>
                  <a:pt x="44135" y="54016"/>
                </a:lnTo>
                <a:lnTo>
                  <a:pt x="35418" y="64797"/>
                </a:lnTo>
                <a:lnTo>
                  <a:pt x="27535" y="76337"/>
                </a:lnTo>
                <a:lnTo>
                  <a:pt x="20537" y="88578"/>
                </a:lnTo>
                <a:lnTo>
                  <a:pt x="14475" y="101467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7" name="object 8"/>
          <p:cNvSpPr/>
          <p:nvPr/>
        </p:nvSpPr>
        <p:spPr>
          <a:xfrm>
            <a:off x="1786879" y="5254236"/>
            <a:ext cx="320730" cy="347361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ln w="25399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8" name="object 74"/>
          <p:cNvSpPr/>
          <p:nvPr/>
        </p:nvSpPr>
        <p:spPr>
          <a:xfrm>
            <a:off x="286325" y="525423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7F1676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9" name="object 48"/>
          <p:cNvSpPr/>
          <p:nvPr/>
        </p:nvSpPr>
        <p:spPr>
          <a:xfrm>
            <a:off x="1773507" y="525423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0" name="object 26"/>
          <p:cNvSpPr/>
          <p:nvPr/>
        </p:nvSpPr>
        <p:spPr>
          <a:xfrm>
            <a:off x="3485667" y="528769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1" name="object 68"/>
          <p:cNvSpPr/>
          <p:nvPr/>
        </p:nvSpPr>
        <p:spPr>
          <a:xfrm>
            <a:off x="5376346" y="528782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2" name="object 32"/>
          <p:cNvSpPr/>
          <p:nvPr/>
        </p:nvSpPr>
        <p:spPr>
          <a:xfrm>
            <a:off x="7835202" y="528769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094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3" name="object 48"/>
          <p:cNvSpPr/>
          <p:nvPr/>
        </p:nvSpPr>
        <p:spPr>
          <a:xfrm>
            <a:off x="1028194" y="471414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4" name="Freeform 103"/>
          <p:cNvSpPr/>
          <p:nvPr/>
        </p:nvSpPr>
        <p:spPr>
          <a:xfrm flipH="1">
            <a:off x="2514599" y="1304660"/>
            <a:ext cx="1972727" cy="1185159"/>
          </a:xfrm>
          <a:custGeom>
            <a:avLst/>
            <a:gdLst>
              <a:gd name="connsiteX0" fmla="*/ 0 w 571617"/>
              <a:gd name="connsiteY0" fmla="*/ 3770 h 413345"/>
              <a:gd name="connsiteX1" fmla="*/ 0 w 571617"/>
              <a:gd name="connsiteY1" fmla="*/ 3770 h 413345"/>
              <a:gd name="connsiteX2" fmla="*/ 476250 w 571617"/>
              <a:gd name="connsiteY2" fmla="*/ 6945 h 413345"/>
              <a:gd name="connsiteX3" fmla="*/ 571500 w 571617"/>
              <a:gd name="connsiteY3" fmla="*/ 32345 h 413345"/>
              <a:gd name="connsiteX4" fmla="*/ 571500 w 571617"/>
              <a:gd name="connsiteY4" fmla="*/ 413345 h 413345"/>
              <a:gd name="connsiteX0" fmla="*/ 0 w 571500"/>
              <a:gd name="connsiteY0" fmla="*/ 8358 h 417933"/>
              <a:gd name="connsiteX1" fmla="*/ 0 w 571500"/>
              <a:gd name="connsiteY1" fmla="*/ 8358 h 417933"/>
              <a:gd name="connsiteX2" fmla="*/ 476250 w 571500"/>
              <a:gd name="connsiteY2" fmla="*/ 11533 h 417933"/>
              <a:gd name="connsiteX3" fmla="*/ 571500 w 571500"/>
              <a:gd name="connsiteY3" fmla="*/ 36933 h 417933"/>
              <a:gd name="connsiteX4" fmla="*/ 571500 w 571500"/>
              <a:gd name="connsiteY4" fmla="*/ 417933 h 417933"/>
              <a:gd name="connsiteX0" fmla="*/ 0 w 571500"/>
              <a:gd name="connsiteY0" fmla="*/ 0 h 409575"/>
              <a:gd name="connsiteX1" fmla="*/ 0 w 571500"/>
              <a:gd name="connsiteY1" fmla="*/ 0 h 409575"/>
              <a:gd name="connsiteX2" fmla="*/ 571500 w 571500"/>
              <a:gd name="connsiteY2" fmla="*/ 28575 h 409575"/>
              <a:gd name="connsiteX3" fmla="*/ 571500 w 571500"/>
              <a:gd name="connsiteY3" fmla="*/ 409575 h 409575"/>
              <a:gd name="connsiteX0" fmla="*/ 0 w 577850"/>
              <a:gd name="connsiteY0" fmla="*/ 0 h 409575"/>
              <a:gd name="connsiteX1" fmla="*/ 0 w 577850"/>
              <a:gd name="connsiteY1" fmla="*/ 0 h 409575"/>
              <a:gd name="connsiteX2" fmla="*/ 577850 w 577850"/>
              <a:gd name="connsiteY2" fmla="*/ 3175 h 409575"/>
              <a:gd name="connsiteX3" fmla="*/ 571500 w 577850"/>
              <a:gd name="connsiteY3" fmla="*/ 409575 h 4095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77850" h="409575">
                <a:moveTo>
                  <a:pt x="0" y="0"/>
                </a:moveTo>
                <a:lnTo>
                  <a:pt x="0" y="0"/>
                </a:lnTo>
                <a:lnTo>
                  <a:pt x="577850" y="3175"/>
                </a:lnTo>
                <a:lnTo>
                  <a:pt x="571500" y="409575"/>
                </a:lnTo>
              </a:path>
            </a:pathLst>
          </a:custGeom>
          <a:noFill/>
          <a:ln>
            <a:solidFill>
              <a:srgbClr val="6094C9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5" name="Freeform 104"/>
          <p:cNvSpPr/>
          <p:nvPr/>
        </p:nvSpPr>
        <p:spPr>
          <a:xfrm>
            <a:off x="4808059" y="1304660"/>
            <a:ext cx="1862338" cy="2217076"/>
          </a:xfrm>
          <a:custGeom>
            <a:avLst/>
            <a:gdLst>
              <a:gd name="connsiteX0" fmla="*/ 0 w 571617"/>
              <a:gd name="connsiteY0" fmla="*/ 3770 h 413345"/>
              <a:gd name="connsiteX1" fmla="*/ 0 w 571617"/>
              <a:gd name="connsiteY1" fmla="*/ 3770 h 413345"/>
              <a:gd name="connsiteX2" fmla="*/ 476250 w 571617"/>
              <a:gd name="connsiteY2" fmla="*/ 6945 h 413345"/>
              <a:gd name="connsiteX3" fmla="*/ 571500 w 571617"/>
              <a:gd name="connsiteY3" fmla="*/ 32345 h 413345"/>
              <a:gd name="connsiteX4" fmla="*/ 571500 w 571617"/>
              <a:gd name="connsiteY4" fmla="*/ 413345 h 413345"/>
              <a:gd name="connsiteX0" fmla="*/ 0 w 571500"/>
              <a:gd name="connsiteY0" fmla="*/ 8358 h 417933"/>
              <a:gd name="connsiteX1" fmla="*/ 0 w 571500"/>
              <a:gd name="connsiteY1" fmla="*/ 8358 h 417933"/>
              <a:gd name="connsiteX2" fmla="*/ 476250 w 571500"/>
              <a:gd name="connsiteY2" fmla="*/ 11533 h 417933"/>
              <a:gd name="connsiteX3" fmla="*/ 571500 w 571500"/>
              <a:gd name="connsiteY3" fmla="*/ 36933 h 417933"/>
              <a:gd name="connsiteX4" fmla="*/ 571500 w 571500"/>
              <a:gd name="connsiteY4" fmla="*/ 417933 h 417933"/>
              <a:gd name="connsiteX0" fmla="*/ 0 w 571500"/>
              <a:gd name="connsiteY0" fmla="*/ 0 h 409575"/>
              <a:gd name="connsiteX1" fmla="*/ 0 w 571500"/>
              <a:gd name="connsiteY1" fmla="*/ 0 h 409575"/>
              <a:gd name="connsiteX2" fmla="*/ 571500 w 571500"/>
              <a:gd name="connsiteY2" fmla="*/ 28575 h 409575"/>
              <a:gd name="connsiteX3" fmla="*/ 571500 w 571500"/>
              <a:gd name="connsiteY3" fmla="*/ 409575 h 409575"/>
              <a:gd name="connsiteX0" fmla="*/ 0 w 577850"/>
              <a:gd name="connsiteY0" fmla="*/ 0 h 409575"/>
              <a:gd name="connsiteX1" fmla="*/ 0 w 577850"/>
              <a:gd name="connsiteY1" fmla="*/ 0 h 409575"/>
              <a:gd name="connsiteX2" fmla="*/ 577850 w 577850"/>
              <a:gd name="connsiteY2" fmla="*/ 3175 h 409575"/>
              <a:gd name="connsiteX3" fmla="*/ 571500 w 577850"/>
              <a:gd name="connsiteY3" fmla="*/ 409575 h 4095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77850" h="409575">
                <a:moveTo>
                  <a:pt x="0" y="0"/>
                </a:moveTo>
                <a:lnTo>
                  <a:pt x="0" y="0"/>
                </a:lnTo>
                <a:lnTo>
                  <a:pt x="577850" y="3175"/>
                </a:lnTo>
                <a:lnTo>
                  <a:pt x="571500" y="409575"/>
                </a:lnTo>
              </a:path>
            </a:pathLst>
          </a:custGeom>
          <a:noFill/>
          <a:ln>
            <a:solidFill>
              <a:srgbClr val="6094C9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6" name="object 28"/>
          <p:cNvSpPr/>
          <p:nvPr/>
        </p:nvSpPr>
        <p:spPr>
          <a:xfrm>
            <a:off x="2346246" y="2489695"/>
            <a:ext cx="320729" cy="34736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ln w="25399">
            <a:solidFill>
              <a:srgbClr val="9E4B45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7" name="object 68"/>
          <p:cNvSpPr/>
          <p:nvPr/>
        </p:nvSpPr>
        <p:spPr>
          <a:xfrm>
            <a:off x="6466819" y="352173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8" name="object 24"/>
          <p:cNvSpPr/>
          <p:nvPr/>
        </p:nvSpPr>
        <p:spPr>
          <a:xfrm>
            <a:off x="6670396" y="1326011"/>
            <a:ext cx="2006230" cy="174107"/>
          </a:xfrm>
          <a:custGeom>
            <a:avLst/>
            <a:gdLst/>
            <a:ahLst/>
            <a:cxnLst/>
            <a:rect l="l" t="t" r="r" b="b"/>
            <a:pathLst>
              <a:path w="6733304">
                <a:moveTo>
                  <a:pt x="0" y="0"/>
                </a:moveTo>
                <a:lnTo>
                  <a:pt x="6733304" y="0"/>
                </a:lnTo>
              </a:path>
            </a:pathLst>
          </a:custGeom>
          <a:ln w="25399">
            <a:solidFill>
              <a:srgbClr val="937AB1"/>
            </a:solidFill>
            <a:prstDash val="lgDash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288256740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" name="object 50"/>
          <p:cNvSpPr/>
          <p:nvPr/>
        </p:nvSpPr>
        <p:spPr>
          <a:xfrm>
            <a:off x="0" y="3683129"/>
            <a:ext cx="8857851" cy="12469"/>
          </a:xfrm>
          <a:custGeom>
            <a:avLst/>
            <a:gdLst/>
            <a:ahLst/>
            <a:cxnLst/>
            <a:rect l="l" t="t" r="r" b="b"/>
            <a:pathLst>
              <a:path w="8857851" h="12469">
                <a:moveTo>
                  <a:pt x="0" y="12469"/>
                </a:moveTo>
                <a:lnTo>
                  <a:pt x="8857851" y="0"/>
                </a:lnTo>
              </a:path>
            </a:pathLst>
          </a:custGeom>
          <a:ln w="38100">
            <a:solidFill>
              <a:srgbClr val="F69545"/>
            </a:solidFill>
            <a:prstDash val="lgDash"/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5" name="object 10"/>
          <p:cNvSpPr txBox="1"/>
          <p:nvPr/>
        </p:nvSpPr>
        <p:spPr>
          <a:xfrm>
            <a:off x="2101916" y="369650"/>
            <a:ext cx="6296519" cy="4318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3400"/>
              </a:lnSpc>
              <a:spcBef>
                <a:spcPts val="170"/>
              </a:spcBef>
            </a:pPr>
            <a:r>
              <a:rPr lang="en-US" sz="4800" baseline="1706" dirty="0">
                <a:solidFill>
                  <a:srgbClr val="4E81BC"/>
                </a:solidFill>
                <a:cs typeface="Calibri"/>
              </a:rPr>
              <a:t>Criterion: </a:t>
            </a:r>
            <a:r>
              <a:rPr lang="en-US" sz="4800" baseline="1706" dirty="0">
                <a:solidFill>
                  <a:srgbClr val="7F7E7E"/>
                </a:solidFill>
                <a:cs typeface="Calibri"/>
              </a:rPr>
              <a:t>Stop at </a:t>
            </a:r>
            <a:r>
              <a:rPr lang="en-US" sz="4800" baseline="1706" dirty="0">
                <a:solidFill>
                  <a:srgbClr val="F69545"/>
                </a:solidFill>
                <a:cs typeface="Calibri"/>
              </a:rPr>
              <a:t>k=3 clusters</a:t>
            </a:r>
            <a:r>
              <a:rPr lang="en-US" sz="4800" baseline="1706" dirty="0">
                <a:solidFill>
                  <a:srgbClr val="7F7E7E"/>
                </a:solidFill>
                <a:cs typeface="Calibri"/>
              </a:rPr>
              <a:t>!</a:t>
            </a:r>
            <a:endParaRPr sz="3200" dirty="0">
              <a:latin typeface="+mj-lt"/>
              <a:cs typeface="Calibri"/>
            </a:endParaRPr>
          </a:p>
        </p:txBody>
      </p:sp>
      <p:sp>
        <p:nvSpPr>
          <p:cNvPr id="51" name="object 51"/>
          <p:cNvSpPr txBox="1"/>
          <p:nvPr/>
        </p:nvSpPr>
        <p:spPr>
          <a:xfrm>
            <a:off x="0" y="3624349"/>
            <a:ext cx="9075897" cy="23110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algn="r">
              <a:lnSpc>
                <a:spcPts val="1390"/>
              </a:lnSpc>
              <a:spcBef>
                <a:spcPts val="69"/>
              </a:spcBef>
            </a:pPr>
            <a:endParaRPr sz="2800" dirty="0">
              <a:latin typeface="Calibri"/>
              <a:cs typeface="Calibri"/>
            </a:endParaRPr>
          </a:p>
        </p:txBody>
      </p:sp>
      <p:sp>
        <p:nvSpPr>
          <p:cNvPr id="47" name="Freeform 46"/>
          <p:cNvSpPr/>
          <p:nvPr/>
        </p:nvSpPr>
        <p:spPr>
          <a:xfrm>
            <a:off x="1371599" y="4876800"/>
            <a:ext cx="596901" cy="381000"/>
          </a:xfrm>
          <a:custGeom>
            <a:avLst/>
            <a:gdLst>
              <a:gd name="connsiteX0" fmla="*/ 0 w 571617"/>
              <a:gd name="connsiteY0" fmla="*/ 3770 h 413345"/>
              <a:gd name="connsiteX1" fmla="*/ 0 w 571617"/>
              <a:gd name="connsiteY1" fmla="*/ 3770 h 413345"/>
              <a:gd name="connsiteX2" fmla="*/ 476250 w 571617"/>
              <a:gd name="connsiteY2" fmla="*/ 6945 h 413345"/>
              <a:gd name="connsiteX3" fmla="*/ 571500 w 571617"/>
              <a:gd name="connsiteY3" fmla="*/ 32345 h 413345"/>
              <a:gd name="connsiteX4" fmla="*/ 571500 w 571617"/>
              <a:gd name="connsiteY4" fmla="*/ 413345 h 413345"/>
              <a:gd name="connsiteX0" fmla="*/ 0 w 571500"/>
              <a:gd name="connsiteY0" fmla="*/ 8358 h 417933"/>
              <a:gd name="connsiteX1" fmla="*/ 0 w 571500"/>
              <a:gd name="connsiteY1" fmla="*/ 8358 h 417933"/>
              <a:gd name="connsiteX2" fmla="*/ 476250 w 571500"/>
              <a:gd name="connsiteY2" fmla="*/ 11533 h 417933"/>
              <a:gd name="connsiteX3" fmla="*/ 571500 w 571500"/>
              <a:gd name="connsiteY3" fmla="*/ 36933 h 417933"/>
              <a:gd name="connsiteX4" fmla="*/ 571500 w 571500"/>
              <a:gd name="connsiteY4" fmla="*/ 417933 h 417933"/>
              <a:gd name="connsiteX0" fmla="*/ 0 w 571500"/>
              <a:gd name="connsiteY0" fmla="*/ 0 h 409575"/>
              <a:gd name="connsiteX1" fmla="*/ 0 w 571500"/>
              <a:gd name="connsiteY1" fmla="*/ 0 h 409575"/>
              <a:gd name="connsiteX2" fmla="*/ 571500 w 571500"/>
              <a:gd name="connsiteY2" fmla="*/ 28575 h 409575"/>
              <a:gd name="connsiteX3" fmla="*/ 571500 w 571500"/>
              <a:gd name="connsiteY3" fmla="*/ 409575 h 409575"/>
              <a:gd name="connsiteX0" fmla="*/ 0 w 577850"/>
              <a:gd name="connsiteY0" fmla="*/ 0 h 409575"/>
              <a:gd name="connsiteX1" fmla="*/ 0 w 577850"/>
              <a:gd name="connsiteY1" fmla="*/ 0 h 409575"/>
              <a:gd name="connsiteX2" fmla="*/ 577850 w 577850"/>
              <a:gd name="connsiteY2" fmla="*/ 3175 h 409575"/>
              <a:gd name="connsiteX3" fmla="*/ 571500 w 577850"/>
              <a:gd name="connsiteY3" fmla="*/ 409575 h 4095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77850" h="409575">
                <a:moveTo>
                  <a:pt x="0" y="0"/>
                </a:moveTo>
                <a:lnTo>
                  <a:pt x="0" y="0"/>
                </a:lnTo>
                <a:lnTo>
                  <a:pt x="577850" y="3175"/>
                </a:lnTo>
                <a:lnTo>
                  <a:pt x="571500" y="409575"/>
                </a:lnTo>
              </a:path>
            </a:pathLst>
          </a:custGeom>
          <a:noFill/>
          <a:ln>
            <a:solidFill>
              <a:srgbClr val="6094C9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8" name="Freeform 47"/>
          <p:cNvSpPr/>
          <p:nvPr/>
        </p:nvSpPr>
        <p:spPr>
          <a:xfrm flipH="1">
            <a:off x="451015" y="4876800"/>
            <a:ext cx="596901" cy="381000"/>
          </a:xfrm>
          <a:custGeom>
            <a:avLst/>
            <a:gdLst>
              <a:gd name="connsiteX0" fmla="*/ 0 w 571617"/>
              <a:gd name="connsiteY0" fmla="*/ 3770 h 413345"/>
              <a:gd name="connsiteX1" fmla="*/ 0 w 571617"/>
              <a:gd name="connsiteY1" fmla="*/ 3770 h 413345"/>
              <a:gd name="connsiteX2" fmla="*/ 476250 w 571617"/>
              <a:gd name="connsiteY2" fmla="*/ 6945 h 413345"/>
              <a:gd name="connsiteX3" fmla="*/ 571500 w 571617"/>
              <a:gd name="connsiteY3" fmla="*/ 32345 h 413345"/>
              <a:gd name="connsiteX4" fmla="*/ 571500 w 571617"/>
              <a:gd name="connsiteY4" fmla="*/ 413345 h 413345"/>
              <a:gd name="connsiteX0" fmla="*/ 0 w 571500"/>
              <a:gd name="connsiteY0" fmla="*/ 8358 h 417933"/>
              <a:gd name="connsiteX1" fmla="*/ 0 w 571500"/>
              <a:gd name="connsiteY1" fmla="*/ 8358 h 417933"/>
              <a:gd name="connsiteX2" fmla="*/ 476250 w 571500"/>
              <a:gd name="connsiteY2" fmla="*/ 11533 h 417933"/>
              <a:gd name="connsiteX3" fmla="*/ 571500 w 571500"/>
              <a:gd name="connsiteY3" fmla="*/ 36933 h 417933"/>
              <a:gd name="connsiteX4" fmla="*/ 571500 w 571500"/>
              <a:gd name="connsiteY4" fmla="*/ 417933 h 417933"/>
              <a:gd name="connsiteX0" fmla="*/ 0 w 571500"/>
              <a:gd name="connsiteY0" fmla="*/ 0 h 409575"/>
              <a:gd name="connsiteX1" fmla="*/ 0 w 571500"/>
              <a:gd name="connsiteY1" fmla="*/ 0 h 409575"/>
              <a:gd name="connsiteX2" fmla="*/ 571500 w 571500"/>
              <a:gd name="connsiteY2" fmla="*/ 28575 h 409575"/>
              <a:gd name="connsiteX3" fmla="*/ 571500 w 571500"/>
              <a:gd name="connsiteY3" fmla="*/ 409575 h 409575"/>
              <a:gd name="connsiteX0" fmla="*/ 0 w 577850"/>
              <a:gd name="connsiteY0" fmla="*/ 0 h 409575"/>
              <a:gd name="connsiteX1" fmla="*/ 0 w 577850"/>
              <a:gd name="connsiteY1" fmla="*/ 0 h 409575"/>
              <a:gd name="connsiteX2" fmla="*/ 577850 w 577850"/>
              <a:gd name="connsiteY2" fmla="*/ 3175 h 409575"/>
              <a:gd name="connsiteX3" fmla="*/ 571500 w 577850"/>
              <a:gd name="connsiteY3" fmla="*/ 409575 h 4095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77850" h="409575">
                <a:moveTo>
                  <a:pt x="0" y="0"/>
                </a:moveTo>
                <a:lnTo>
                  <a:pt x="0" y="0"/>
                </a:lnTo>
                <a:lnTo>
                  <a:pt x="577850" y="3175"/>
                </a:lnTo>
                <a:lnTo>
                  <a:pt x="571500" y="409575"/>
                </a:lnTo>
              </a:path>
            </a:pathLst>
          </a:custGeom>
          <a:noFill/>
          <a:ln>
            <a:solidFill>
              <a:srgbClr val="6094C9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9" name="object 5"/>
          <p:cNvSpPr/>
          <p:nvPr/>
        </p:nvSpPr>
        <p:spPr>
          <a:xfrm>
            <a:off x="8676629" y="1036574"/>
            <a:ext cx="0" cy="4598485"/>
          </a:xfrm>
          <a:custGeom>
            <a:avLst/>
            <a:gdLst/>
            <a:ahLst/>
            <a:cxnLst/>
            <a:rect l="l" t="t" r="r" b="b"/>
            <a:pathLst>
              <a:path h="4598485">
                <a:moveTo>
                  <a:pt x="0" y="4598485"/>
                </a:moveTo>
                <a:lnTo>
                  <a:pt x="0" y="0"/>
                </a:lnTo>
              </a:path>
            </a:pathLst>
          </a:custGeom>
          <a:ln w="38099">
            <a:solidFill>
              <a:srgbClr val="937AB1"/>
            </a:solidFill>
            <a:tailEnd type="arrow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2" name="object 2"/>
          <p:cNvSpPr txBox="1"/>
          <p:nvPr/>
        </p:nvSpPr>
        <p:spPr>
          <a:xfrm rot="5400000">
            <a:off x="8269473" y="3145316"/>
            <a:ext cx="1310588" cy="3810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 algn="ctr">
              <a:lnSpc>
                <a:spcPts val="3000"/>
              </a:lnSpc>
              <a:spcBef>
                <a:spcPts val="150"/>
              </a:spcBef>
            </a:pPr>
            <a:r>
              <a:rPr sz="4200" spc="0" baseline="1950" dirty="0" smtClean="0">
                <a:solidFill>
                  <a:srgbClr val="8063A1"/>
                </a:solidFill>
                <a:cs typeface="Calibri"/>
              </a:rPr>
              <a:t>distance</a:t>
            </a:r>
            <a:endParaRPr sz="2800" dirty="0">
              <a:cs typeface="Calibri"/>
            </a:endParaRPr>
          </a:p>
        </p:txBody>
      </p:sp>
      <p:sp>
        <p:nvSpPr>
          <p:cNvPr id="53" name="Freeform 52"/>
          <p:cNvSpPr/>
          <p:nvPr/>
        </p:nvSpPr>
        <p:spPr>
          <a:xfrm>
            <a:off x="6814291" y="3678833"/>
            <a:ext cx="1186709" cy="1608866"/>
          </a:xfrm>
          <a:custGeom>
            <a:avLst/>
            <a:gdLst>
              <a:gd name="connsiteX0" fmla="*/ 0 w 571617"/>
              <a:gd name="connsiteY0" fmla="*/ 3770 h 413345"/>
              <a:gd name="connsiteX1" fmla="*/ 0 w 571617"/>
              <a:gd name="connsiteY1" fmla="*/ 3770 h 413345"/>
              <a:gd name="connsiteX2" fmla="*/ 476250 w 571617"/>
              <a:gd name="connsiteY2" fmla="*/ 6945 h 413345"/>
              <a:gd name="connsiteX3" fmla="*/ 571500 w 571617"/>
              <a:gd name="connsiteY3" fmla="*/ 32345 h 413345"/>
              <a:gd name="connsiteX4" fmla="*/ 571500 w 571617"/>
              <a:gd name="connsiteY4" fmla="*/ 413345 h 413345"/>
              <a:gd name="connsiteX0" fmla="*/ 0 w 571500"/>
              <a:gd name="connsiteY0" fmla="*/ 8358 h 417933"/>
              <a:gd name="connsiteX1" fmla="*/ 0 w 571500"/>
              <a:gd name="connsiteY1" fmla="*/ 8358 h 417933"/>
              <a:gd name="connsiteX2" fmla="*/ 476250 w 571500"/>
              <a:gd name="connsiteY2" fmla="*/ 11533 h 417933"/>
              <a:gd name="connsiteX3" fmla="*/ 571500 w 571500"/>
              <a:gd name="connsiteY3" fmla="*/ 36933 h 417933"/>
              <a:gd name="connsiteX4" fmla="*/ 571500 w 571500"/>
              <a:gd name="connsiteY4" fmla="*/ 417933 h 417933"/>
              <a:gd name="connsiteX0" fmla="*/ 0 w 571500"/>
              <a:gd name="connsiteY0" fmla="*/ 0 h 409575"/>
              <a:gd name="connsiteX1" fmla="*/ 0 w 571500"/>
              <a:gd name="connsiteY1" fmla="*/ 0 h 409575"/>
              <a:gd name="connsiteX2" fmla="*/ 571500 w 571500"/>
              <a:gd name="connsiteY2" fmla="*/ 28575 h 409575"/>
              <a:gd name="connsiteX3" fmla="*/ 571500 w 571500"/>
              <a:gd name="connsiteY3" fmla="*/ 409575 h 409575"/>
              <a:gd name="connsiteX0" fmla="*/ 0 w 577850"/>
              <a:gd name="connsiteY0" fmla="*/ 0 h 409575"/>
              <a:gd name="connsiteX1" fmla="*/ 0 w 577850"/>
              <a:gd name="connsiteY1" fmla="*/ 0 h 409575"/>
              <a:gd name="connsiteX2" fmla="*/ 577850 w 577850"/>
              <a:gd name="connsiteY2" fmla="*/ 3175 h 409575"/>
              <a:gd name="connsiteX3" fmla="*/ 571500 w 577850"/>
              <a:gd name="connsiteY3" fmla="*/ 409575 h 4095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77850" h="409575">
                <a:moveTo>
                  <a:pt x="0" y="0"/>
                </a:moveTo>
                <a:lnTo>
                  <a:pt x="0" y="0"/>
                </a:lnTo>
                <a:lnTo>
                  <a:pt x="577850" y="3175"/>
                </a:lnTo>
                <a:lnTo>
                  <a:pt x="571500" y="409575"/>
                </a:lnTo>
              </a:path>
            </a:pathLst>
          </a:custGeom>
          <a:noFill/>
          <a:ln>
            <a:solidFill>
              <a:srgbClr val="6094C9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4" name="Freeform 53"/>
          <p:cNvSpPr/>
          <p:nvPr/>
        </p:nvSpPr>
        <p:spPr>
          <a:xfrm flipH="1">
            <a:off x="5486826" y="3678833"/>
            <a:ext cx="1186709" cy="1608866"/>
          </a:xfrm>
          <a:custGeom>
            <a:avLst/>
            <a:gdLst>
              <a:gd name="connsiteX0" fmla="*/ 0 w 571617"/>
              <a:gd name="connsiteY0" fmla="*/ 3770 h 413345"/>
              <a:gd name="connsiteX1" fmla="*/ 0 w 571617"/>
              <a:gd name="connsiteY1" fmla="*/ 3770 h 413345"/>
              <a:gd name="connsiteX2" fmla="*/ 476250 w 571617"/>
              <a:gd name="connsiteY2" fmla="*/ 6945 h 413345"/>
              <a:gd name="connsiteX3" fmla="*/ 571500 w 571617"/>
              <a:gd name="connsiteY3" fmla="*/ 32345 h 413345"/>
              <a:gd name="connsiteX4" fmla="*/ 571500 w 571617"/>
              <a:gd name="connsiteY4" fmla="*/ 413345 h 413345"/>
              <a:gd name="connsiteX0" fmla="*/ 0 w 571500"/>
              <a:gd name="connsiteY0" fmla="*/ 8358 h 417933"/>
              <a:gd name="connsiteX1" fmla="*/ 0 w 571500"/>
              <a:gd name="connsiteY1" fmla="*/ 8358 h 417933"/>
              <a:gd name="connsiteX2" fmla="*/ 476250 w 571500"/>
              <a:gd name="connsiteY2" fmla="*/ 11533 h 417933"/>
              <a:gd name="connsiteX3" fmla="*/ 571500 w 571500"/>
              <a:gd name="connsiteY3" fmla="*/ 36933 h 417933"/>
              <a:gd name="connsiteX4" fmla="*/ 571500 w 571500"/>
              <a:gd name="connsiteY4" fmla="*/ 417933 h 417933"/>
              <a:gd name="connsiteX0" fmla="*/ 0 w 571500"/>
              <a:gd name="connsiteY0" fmla="*/ 0 h 409575"/>
              <a:gd name="connsiteX1" fmla="*/ 0 w 571500"/>
              <a:gd name="connsiteY1" fmla="*/ 0 h 409575"/>
              <a:gd name="connsiteX2" fmla="*/ 571500 w 571500"/>
              <a:gd name="connsiteY2" fmla="*/ 28575 h 409575"/>
              <a:gd name="connsiteX3" fmla="*/ 571500 w 571500"/>
              <a:gd name="connsiteY3" fmla="*/ 409575 h 409575"/>
              <a:gd name="connsiteX0" fmla="*/ 0 w 577850"/>
              <a:gd name="connsiteY0" fmla="*/ 0 h 409575"/>
              <a:gd name="connsiteX1" fmla="*/ 0 w 577850"/>
              <a:gd name="connsiteY1" fmla="*/ 0 h 409575"/>
              <a:gd name="connsiteX2" fmla="*/ 577850 w 577850"/>
              <a:gd name="connsiteY2" fmla="*/ 3175 h 409575"/>
              <a:gd name="connsiteX3" fmla="*/ 571500 w 577850"/>
              <a:gd name="connsiteY3" fmla="*/ 409575 h 4095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77850" h="409575">
                <a:moveTo>
                  <a:pt x="0" y="0"/>
                </a:moveTo>
                <a:lnTo>
                  <a:pt x="0" y="0"/>
                </a:lnTo>
                <a:lnTo>
                  <a:pt x="577850" y="3175"/>
                </a:lnTo>
                <a:lnTo>
                  <a:pt x="571500" y="409575"/>
                </a:lnTo>
              </a:path>
            </a:pathLst>
          </a:custGeom>
          <a:noFill/>
          <a:ln>
            <a:solidFill>
              <a:srgbClr val="6094C9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5" name="Freeform 54"/>
          <p:cNvSpPr/>
          <p:nvPr/>
        </p:nvSpPr>
        <p:spPr>
          <a:xfrm flipH="1">
            <a:off x="1175488" y="2680521"/>
            <a:ext cx="1186709" cy="2052545"/>
          </a:xfrm>
          <a:custGeom>
            <a:avLst/>
            <a:gdLst>
              <a:gd name="connsiteX0" fmla="*/ 0 w 571617"/>
              <a:gd name="connsiteY0" fmla="*/ 3770 h 413345"/>
              <a:gd name="connsiteX1" fmla="*/ 0 w 571617"/>
              <a:gd name="connsiteY1" fmla="*/ 3770 h 413345"/>
              <a:gd name="connsiteX2" fmla="*/ 476250 w 571617"/>
              <a:gd name="connsiteY2" fmla="*/ 6945 h 413345"/>
              <a:gd name="connsiteX3" fmla="*/ 571500 w 571617"/>
              <a:gd name="connsiteY3" fmla="*/ 32345 h 413345"/>
              <a:gd name="connsiteX4" fmla="*/ 571500 w 571617"/>
              <a:gd name="connsiteY4" fmla="*/ 413345 h 413345"/>
              <a:gd name="connsiteX0" fmla="*/ 0 w 571500"/>
              <a:gd name="connsiteY0" fmla="*/ 8358 h 417933"/>
              <a:gd name="connsiteX1" fmla="*/ 0 w 571500"/>
              <a:gd name="connsiteY1" fmla="*/ 8358 h 417933"/>
              <a:gd name="connsiteX2" fmla="*/ 476250 w 571500"/>
              <a:gd name="connsiteY2" fmla="*/ 11533 h 417933"/>
              <a:gd name="connsiteX3" fmla="*/ 571500 w 571500"/>
              <a:gd name="connsiteY3" fmla="*/ 36933 h 417933"/>
              <a:gd name="connsiteX4" fmla="*/ 571500 w 571500"/>
              <a:gd name="connsiteY4" fmla="*/ 417933 h 417933"/>
              <a:gd name="connsiteX0" fmla="*/ 0 w 571500"/>
              <a:gd name="connsiteY0" fmla="*/ 0 h 409575"/>
              <a:gd name="connsiteX1" fmla="*/ 0 w 571500"/>
              <a:gd name="connsiteY1" fmla="*/ 0 h 409575"/>
              <a:gd name="connsiteX2" fmla="*/ 571500 w 571500"/>
              <a:gd name="connsiteY2" fmla="*/ 28575 h 409575"/>
              <a:gd name="connsiteX3" fmla="*/ 571500 w 571500"/>
              <a:gd name="connsiteY3" fmla="*/ 409575 h 409575"/>
              <a:gd name="connsiteX0" fmla="*/ 0 w 577850"/>
              <a:gd name="connsiteY0" fmla="*/ 0 h 409575"/>
              <a:gd name="connsiteX1" fmla="*/ 0 w 577850"/>
              <a:gd name="connsiteY1" fmla="*/ 0 h 409575"/>
              <a:gd name="connsiteX2" fmla="*/ 577850 w 577850"/>
              <a:gd name="connsiteY2" fmla="*/ 3175 h 409575"/>
              <a:gd name="connsiteX3" fmla="*/ 571500 w 577850"/>
              <a:gd name="connsiteY3" fmla="*/ 409575 h 4095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77850" h="409575">
                <a:moveTo>
                  <a:pt x="0" y="0"/>
                </a:moveTo>
                <a:lnTo>
                  <a:pt x="0" y="0"/>
                </a:lnTo>
                <a:lnTo>
                  <a:pt x="577850" y="3175"/>
                </a:lnTo>
                <a:lnTo>
                  <a:pt x="571500" y="409575"/>
                </a:lnTo>
              </a:path>
            </a:pathLst>
          </a:custGeom>
          <a:noFill/>
          <a:ln>
            <a:solidFill>
              <a:srgbClr val="6094C9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6" name="Freeform 55"/>
          <p:cNvSpPr/>
          <p:nvPr/>
        </p:nvSpPr>
        <p:spPr>
          <a:xfrm>
            <a:off x="2662410" y="2680521"/>
            <a:ext cx="995425" cy="2607177"/>
          </a:xfrm>
          <a:custGeom>
            <a:avLst/>
            <a:gdLst>
              <a:gd name="connsiteX0" fmla="*/ 0 w 571617"/>
              <a:gd name="connsiteY0" fmla="*/ 3770 h 413345"/>
              <a:gd name="connsiteX1" fmla="*/ 0 w 571617"/>
              <a:gd name="connsiteY1" fmla="*/ 3770 h 413345"/>
              <a:gd name="connsiteX2" fmla="*/ 476250 w 571617"/>
              <a:gd name="connsiteY2" fmla="*/ 6945 h 413345"/>
              <a:gd name="connsiteX3" fmla="*/ 571500 w 571617"/>
              <a:gd name="connsiteY3" fmla="*/ 32345 h 413345"/>
              <a:gd name="connsiteX4" fmla="*/ 571500 w 571617"/>
              <a:gd name="connsiteY4" fmla="*/ 413345 h 413345"/>
              <a:gd name="connsiteX0" fmla="*/ 0 w 571500"/>
              <a:gd name="connsiteY0" fmla="*/ 8358 h 417933"/>
              <a:gd name="connsiteX1" fmla="*/ 0 w 571500"/>
              <a:gd name="connsiteY1" fmla="*/ 8358 h 417933"/>
              <a:gd name="connsiteX2" fmla="*/ 476250 w 571500"/>
              <a:gd name="connsiteY2" fmla="*/ 11533 h 417933"/>
              <a:gd name="connsiteX3" fmla="*/ 571500 w 571500"/>
              <a:gd name="connsiteY3" fmla="*/ 36933 h 417933"/>
              <a:gd name="connsiteX4" fmla="*/ 571500 w 571500"/>
              <a:gd name="connsiteY4" fmla="*/ 417933 h 417933"/>
              <a:gd name="connsiteX0" fmla="*/ 0 w 571500"/>
              <a:gd name="connsiteY0" fmla="*/ 0 h 409575"/>
              <a:gd name="connsiteX1" fmla="*/ 0 w 571500"/>
              <a:gd name="connsiteY1" fmla="*/ 0 h 409575"/>
              <a:gd name="connsiteX2" fmla="*/ 571500 w 571500"/>
              <a:gd name="connsiteY2" fmla="*/ 28575 h 409575"/>
              <a:gd name="connsiteX3" fmla="*/ 571500 w 571500"/>
              <a:gd name="connsiteY3" fmla="*/ 409575 h 409575"/>
              <a:gd name="connsiteX0" fmla="*/ 0 w 577850"/>
              <a:gd name="connsiteY0" fmla="*/ 0 h 409575"/>
              <a:gd name="connsiteX1" fmla="*/ 0 w 577850"/>
              <a:gd name="connsiteY1" fmla="*/ 0 h 409575"/>
              <a:gd name="connsiteX2" fmla="*/ 577850 w 577850"/>
              <a:gd name="connsiteY2" fmla="*/ 3175 h 409575"/>
              <a:gd name="connsiteX3" fmla="*/ 571500 w 577850"/>
              <a:gd name="connsiteY3" fmla="*/ 409575 h 409575"/>
              <a:gd name="connsiteX0" fmla="*/ 0 w 577850"/>
              <a:gd name="connsiteY0" fmla="*/ 0 h 409575"/>
              <a:gd name="connsiteX1" fmla="*/ 0 w 577850"/>
              <a:gd name="connsiteY1" fmla="*/ 0 h 409575"/>
              <a:gd name="connsiteX2" fmla="*/ 577850 w 577850"/>
              <a:gd name="connsiteY2" fmla="*/ 3175 h 409575"/>
              <a:gd name="connsiteX3" fmla="*/ 571500 w 577850"/>
              <a:gd name="connsiteY3" fmla="*/ 409575 h 409575"/>
              <a:gd name="connsiteX0" fmla="*/ 0 w 577850"/>
              <a:gd name="connsiteY0" fmla="*/ 0 h 409575"/>
              <a:gd name="connsiteX1" fmla="*/ 0 w 577850"/>
              <a:gd name="connsiteY1" fmla="*/ 0 h 409575"/>
              <a:gd name="connsiteX2" fmla="*/ 577850 w 577850"/>
              <a:gd name="connsiteY2" fmla="*/ 3175 h 409575"/>
              <a:gd name="connsiteX3" fmla="*/ 571500 w 577850"/>
              <a:gd name="connsiteY3" fmla="*/ 409575 h 409575"/>
              <a:gd name="connsiteX0" fmla="*/ 0 w 577850"/>
              <a:gd name="connsiteY0" fmla="*/ 0 h 409575"/>
              <a:gd name="connsiteX1" fmla="*/ 0 w 577850"/>
              <a:gd name="connsiteY1" fmla="*/ 0 h 409575"/>
              <a:gd name="connsiteX2" fmla="*/ 577850 w 577850"/>
              <a:gd name="connsiteY2" fmla="*/ 3175 h 409575"/>
              <a:gd name="connsiteX3" fmla="*/ 571500 w 577850"/>
              <a:gd name="connsiteY3" fmla="*/ 409575 h 409575"/>
              <a:gd name="connsiteX0" fmla="*/ 0 w 577850"/>
              <a:gd name="connsiteY0" fmla="*/ 0 h 409575"/>
              <a:gd name="connsiteX1" fmla="*/ 0 w 577850"/>
              <a:gd name="connsiteY1" fmla="*/ 0 h 409575"/>
              <a:gd name="connsiteX2" fmla="*/ 577850 w 577850"/>
              <a:gd name="connsiteY2" fmla="*/ 3175 h 409575"/>
              <a:gd name="connsiteX3" fmla="*/ 571500 w 577850"/>
              <a:gd name="connsiteY3" fmla="*/ 409575 h 409575"/>
              <a:gd name="connsiteX0" fmla="*/ 0 w 574187"/>
              <a:gd name="connsiteY0" fmla="*/ 0 h 409575"/>
              <a:gd name="connsiteX1" fmla="*/ 0 w 574187"/>
              <a:gd name="connsiteY1" fmla="*/ 0 h 409575"/>
              <a:gd name="connsiteX2" fmla="*/ 574187 w 574187"/>
              <a:gd name="connsiteY2" fmla="*/ 1180 h 409575"/>
              <a:gd name="connsiteX3" fmla="*/ 571500 w 574187"/>
              <a:gd name="connsiteY3" fmla="*/ 409575 h 4095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74187" h="409575">
                <a:moveTo>
                  <a:pt x="0" y="0"/>
                </a:moveTo>
                <a:lnTo>
                  <a:pt x="0" y="0"/>
                </a:lnTo>
                <a:lnTo>
                  <a:pt x="574187" y="1180"/>
                </a:lnTo>
                <a:cubicBezTo>
                  <a:pt x="573291" y="137312"/>
                  <a:pt x="572396" y="273443"/>
                  <a:pt x="571500" y="409575"/>
                </a:cubicBezTo>
              </a:path>
            </a:pathLst>
          </a:custGeom>
          <a:noFill/>
          <a:ln>
            <a:solidFill>
              <a:srgbClr val="6094C9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7" name="object 23"/>
          <p:cNvSpPr/>
          <p:nvPr/>
        </p:nvSpPr>
        <p:spPr>
          <a:xfrm>
            <a:off x="4487329" y="1162574"/>
            <a:ext cx="320729" cy="34736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1"/>
                </a:moveTo>
                <a:lnTo>
                  <a:pt x="232" y="183108"/>
                </a:lnTo>
                <a:lnTo>
                  <a:pt x="1583" y="198180"/>
                </a:lnTo>
                <a:lnTo>
                  <a:pt x="4094" y="212849"/>
                </a:lnTo>
                <a:lnTo>
                  <a:pt x="7715" y="227058"/>
                </a:lnTo>
                <a:lnTo>
                  <a:pt x="12395" y="240753"/>
                </a:lnTo>
                <a:lnTo>
                  <a:pt x="18082" y="253877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3"/>
                </a:lnTo>
                <a:lnTo>
                  <a:pt x="49876" y="299561"/>
                </a:lnTo>
                <a:lnTo>
                  <a:pt x="59830" y="309002"/>
                </a:lnTo>
                <a:lnTo>
                  <a:pt x="70485" y="317540"/>
                </a:lnTo>
                <a:lnTo>
                  <a:pt x="81788" y="325119"/>
                </a:lnTo>
                <a:lnTo>
                  <a:pt x="93689" y="331685"/>
                </a:lnTo>
                <a:lnTo>
                  <a:pt x="106136" y="337181"/>
                </a:lnTo>
                <a:lnTo>
                  <a:pt x="119079" y="341552"/>
                </a:lnTo>
                <a:lnTo>
                  <a:pt x="132465" y="344743"/>
                </a:lnTo>
                <a:lnTo>
                  <a:pt x="146244" y="346698"/>
                </a:lnTo>
                <a:lnTo>
                  <a:pt x="160365" y="347362"/>
                </a:lnTo>
                <a:lnTo>
                  <a:pt x="169068" y="347111"/>
                </a:lnTo>
                <a:lnTo>
                  <a:pt x="182985" y="345648"/>
                </a:lnTo>
                <a:lnTo>
                  <a:pt x="196529" y="342928"/>
                </a:lnTo>
                <a:lnTo>
                  <a:pt x="209649" y="339006"/>
                </a:lnTo>
                <a:lnTo>
                  <a:pt x="222294" y="333938"/>
                </a:lnTo>
                <a:lnTo>
                  <a:pt x="234412" y="327779"/>
                </a:lnTo>
                <a:lnTo>
                  <a:pt x="245952" y="320585"/>
                </a:lnTo>
                <a:lnTo>
                  <a:pt x="256863" y="312411"/>
                </a:lnTo>
                <a:lnTo>
                  <a:pt x="267094" y="303312"/>
                </a:lnTo>
                <a:lnTo>
                  <a:pt x="276594" y="293344"/>
                </a:lnTo>
                <a:lnTo>
                  <a:pt x="285311" y="282563"/>
                </a:lnTo>
                <a:lnTo>
                  <a:pt x="293194" y="271024"/>
                </a:lnTo>
                <a:lnTo>
                  <a:pt x="300192" y="258782"/>
                </a:lnTo>
                <a:lnTo>
                  <a:pt x="306254" y="245893"/>
                </a:lnTo>
                <a:lnTo>
                  <a:pt x="311328" y="232412"/>
                </a:lnTo>
                <a:lnTo>
                  <a:pt x="315364" y="218395"/>
                </a:lnTo>
                <a:lnTo>
                  <a:pt x="318311" y="203897"/>
                </a:lnTo>
                <a:lnTo>
                  <a:pt x="320116" y="188974"/>
                </a:lnTo>
                <a:lnTo>
                  <a:pt x="320729" y="173681"/>
                </a:lnTo>
                <a:lnTo>
                  <a:pt x="320497" y="164255"/>
                </a:lnTo>
                <a:lnTo>
                  <a:pt x="319146" y="149182"/>
                </a:lnTo>
                <a:lnTo>
                  <a:pt x="316635" y="134513"/>
                </a:lnTo>
                <a:lnTo>
                  <a:pt x="313014" y="120304"/>
                </a:lnTo>
                <a:lnTo>
                  <a:pt x="308334" y="106609"/>
                </a:lnTo>
                <a:lnTo>
                  <a:pt x="302648" y="93485"/>
                </a:lnTo>
                <a:lnTo>
                  <a:pt x="296005" y="80986"/>
                </a:lnTo>
                <a:lnTo>
                  <a:pt x="288458" y="69169"/>
                </a:lnTo>
                <a:lnTo>
                  <a:pt x="280057" y="58089"/>
                </a:lnTo>
                <a:lnTo>
                  <a:pt x="270854" y="47800"/>
                </a:lnTo>
                <a:lnTo>
                  <a:pt x="260899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1" y="251"/>
                </a:lnTo>
                <a:lnTo>
                  <a:pt x="137744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5" y="13424"/>
                </a:lnTo>
                <a:lnTo>
                  <a:pt x="86317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50"/>
                </a:lnTo>
                <a:lnTo>
                  <a:pt x="44135" y="54017"/>
                </a:lnTo>
                <a:lnTo>
                  <a:pt x="35418" y="64798"/>
                </a:lnTo>
                <a:lnTo>
                  <a:pt x="27535" y="76338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9"/>
                </a:lnTo>
                <a:lnTo>
                  <a:pt x="5364" y="128966"/>
                </a:lnTo>
                <a:lnTo>
                  <a:pt x="2418" y="143464"/>
                </a:lnTo>
                <a:lnTo>
                  <a:pt x="613" y="158388"/>
                </a:lnTo>
                <a:lnTo>
                  <a:pt x="0" y="173681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8" name="object 24"/>
          <p:cNvSpPr/>
          <p:nvPr/>
        </p:nvSpPr>
        <p:spPr>
          <a:xfrm>
            <a:off x="4487328" y="1162574"/>
            <a:ext cx="320730" cy="34736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ln w="25399">
            <a:solidFill>
              <a:srgbClr val="9E4B45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9" name="object 27"/>
          <p:cNvSpPr/>
          <p:nvPr/>
        </p:nvSpPr>
        <p:spPr>
          <a:xfrm>
            <a:off x="2346246" y="2489821"/>
            <a:ext cx="320729" cy="347361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232" y="183105"/>
                </a:lnTo>
                <a:lnTo>
                  <a:pt x="1582" y="198178"/>
                </a:lnTo>
                <a:lnTo>
                  <a:pt x="4094" y="212847"/>
                </a:lnTo>
                <a:lnTo>
                  <a:pt x="7715" y="227057"/>
                </a:lnTo>
                <a:lnTo>
                  <a:pt x="12394" y="240751"/>
                </a:lnTo>
                <a:lnTo>
                  <a:pt x="18081" y="253876"/>
                </a:lnTo>
                <a:lnTo>
                  <a:pt x="24724" y="266374"/>
                </a:lnTo>
                <a:lnTo>
                  <a:pt x="32271" y="278191"/>
                </a:lnTo>
                <a:lnTo>
                  <a:pt x="40672" y="289272"/>
                </a:lnTo>
                <a:lnTo>
                  <a:pt x="49875" y="299560"/>
                </a:lnTo>
                <a:lnTo>
                  <a:pt x="59829" y="309001"/>
                </a:lnTo>
                <a:lnTo>
                  <a:pt x="70484" y="317539"/>
                </a:lnTo>
                <a:lnTo>
                  <a:pt x="81787" y="325118"/>
                </a:lnTo>
                <a:lnTo>
                  <a:pt x="93688" y="331684"/>
                </a:lnTo>
                <a:lnTo>
                  <a:pt x="106135" y="337180"/>
                </a:lnTo>
                <a:lnTo>
                  <a:pt x="119077" y="341551"/>
                </a:lnTo>
                <a:lnTo>
                  <a:pt x="132464" y="344742"/>
                </a:lnTo>
                <a:lnTo>
                  <a:pt x="146243" y="346697"/>
                </a:lnTo>
                <a:lnTo>
                  <a:pt x="160364" y="347361"/>
                </a:lnTo>
                <a:lnTo>
                  <a:pt x="169068" y="347110"/>
                </a:lnTo>
                <a:lnTo>
                  <a:pt x="182985" y="345646"/>
                </a:lnTo>
                <a:lnTo>
                  <a:pt x="196529" y="342926"/>
                </a:lnTo>
                <a:lnTo>
                  <a:pt x="209649" y="339004"/>
                </a:lnTo>
                <a:lnTo>
                  <a:pt x="222294" y="333936"/>
                </a:lnTo>
                <a:lnTo>
                  <a:pt x="234412" y="327778"/>
                </a:lnTo>
                <a:lnTo>
                  <a:pt x="245952" y="320583"/>
                </a:lnTo>
                <a:lnTo>
                  <a:pt x="256863" y="312409"/>
                </a:lnTo>
                <a:lnTo>
                  <a:pt x="267094" y="303311"/>
                </a:lnTo>
                <a:lnTo>
                  <a:pt x="276593" y="293343"/>
                </a:lnTo>
                <a:lnTo>
                  <a:pt x="285310" y="282562"/>
                </a:lnTo>
                <a:lnTo>
                  <a:pt x="293193" y="271023"/>
                </a:lnTo>
                <a:lnTo>
                  <a:pt x="300192" y="258781"/>
                </a:lnTo>
                <a:lnTo>
                  <a:pt x="306254" y="245892"/>
                </a:lnTo>
                <a:lnTo>
                  <a:pt x="311328" y="232411"/>
                </a:lnTo>
                <a:lnTo>
                  <a:pt x="315364" y="218394"/>
                </a:lnTo>
                <a:lnTo>
                  <a:pt x="318311" y="203896"/>
                </a:lnTo>
                <a:lnTo>
                  <a:pt x="320116" y="188973"/>
                </a:lnTo>
                <a:lnTo>
                  <a:pt x="320729" y="173680"/>
                </a:lnTo>
                <a:lnTo>
                  <a:pt x="320497" y="164254"/>
                </a:lnTo>
                <a:lnTo>
                  <a:pt x="319146" y="149181"/>
                </a:lnTo>
                <a:lnTo>
                  <a:pt x="316635" y="134512"/>
                </a:lnTo>
                <a:lnTo>
                  <a:pt x="313013" y="120303"/>
                </a:lnTo>
                <a:lnTo>
                  <a:pt x="308334" y="106609"/>
                </a:lnTo>
                <a:lnTo>
                  <a:pt x="302647" y="93485"/>
                </a:lnTo>
                <a:lnTo>
                  <a:pt x="296005" y="80986"/>
                </a:lnTo>
                <a:lnTo>
                  <a:pt x="288457" y="69169"/>
                </a:lnTo>
                <a:lnTo>
                  <a:pt x="280056" y="58089"/>
                </a:lnTo>
                <a:lnTo>
                  <a:pt x="270853" y="47800"/>
                </a:lnTo>
                <a:lnTo>
                  <a:pt x="260898" y="38359"/>
                </a:lnTo>
                <a:lnTo>
                  <a:pt x="250244" y="29822"/>
                </a:lnTo>
                <a:lnTo>
                  <a:pt x="238941" y="22242"/>
                </a:lnTo>
                <a:lnTo>
                  <a:pt x="227040" y="15677"/>
                </a:lnTo>
                <a:lnTo>
                  <a:pt x="214593" y="10181"/>
                </a:lnTo>
                <a:lnTo>
                  <a:pt x="201650" y="5810"/>
                </a:lnTo>
                <a:lnTo>
                  <a:pt x="188264" y="2619"/>
                </a:lnTo>
                <a:lnTo>
                  <a:pt x="174484" y="664"/>
                </a:lnTo>
                <a:lnTo>
                  <a:pt x="160364" y="0"/>
                </a:lnTo>
                <a:lnTo>
                  <a:pt x="151662" y="251"/>
                </a:lnTo>
                <a:lnTo>
                  <a:pt x="137744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5" y="13423"/>
                </a:lnTo>
                <a:lnTo>
                  <a:pt x="86317" y="19582"/>
                </a:lnTo>
                <a:lnTo>
                  <a:pt x="74777" y="26776"/>
                </a:lnTo>
                <a:lnTo>
                  <a:pt x="63866" y="34950"/>
                </a:lnTo>
                <a:lnTo>
                  <a:pt x="53635" y="44049"/>
                </a:lnTo>
                <a:lnTo>
                  <a:pt x="44135" y="54016"/>
                </a:lnTo>
                <a:lnTo>
                  <a:pt x="35418" y="64797"/>
                </a:lnTo>
                <a:lnTo>
                  <a:pt x="27535" y="76337"/>
                </a:lnTo>
                <a:lnTo>
                  <a:pt x="20537" y="88578"/>
                </a:lnTo>
                <a:lnTo>
                  <a:pt x="14475" y="101467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0" name="object 8"/>
          <p:cNvSpPr/>
          <p:nvPr/>
        </p:nvSpPr>
        <p:spPr>
          <a:xfrm>
            <a:off x="1786879" y="5254236"/>
            <a:ext cx="320730" cy="347361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ln w="25399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1" name="object 74"/>
          <p:cNvSpPr/>
          <p:nvPr/>
        </p:nvSpPr>
        <p:spPr>
          <a:xfrm>
            <a:off x="286325" y="525423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7F1676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2" name="object 48"/>
          <p:cNvSpPr/>
          <p:nvPr/>
        </p:nvSpPr>
        <p:spPr>
          <a:xfrm>
            <a:off x="1773507" y="525423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3" name="object 26"/>
          <p:cNvSpPr/>
          <p:nvPr/>
        </p:nvSpPr>
        <p:spPr>
          <a:xfrm>
            <a:off x="3485667" y="528769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4" name="object 68"/>
          <p:cNvSpPr/>
          <p:nvPr/>
        </p:nvSpPr>
        <p:spPr>
          <a:xfrm>
            <a:off x="5376346" y="528782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5" name="object 32"/>
          <p:cNvSpPr/>
          <p:nvPr/>
        </p:nvSpPr>
        <p:spPr>
          <a:xfrm>
            <a:off x="7835202" y="528769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094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6" name="object 48"/>
          <p:cNvSpPr/>
          <p:nvPr/>
        </p:nvSpPr>
        <p:spPr>
          <a:xfrm>
            <a:off x="1028194" y="471414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7" name="Freeform 66"/>
          <p:cNvSpPr/>
          <p:nvPr/>
        </p:nvSpPr>
        <p:spPr>
          <a:xfrm flipH="1">
            <a:off x="2514599" y="1304660"/>
            <a:ext cx="1972727" cy="1185159"/>
          </a:xfrm>
          <a:custGeom>
            <a:avLst/>
            <a:gdLst>
              <a:gd name="connsiteX0" fmla="*/ 0 w 571617"/>
              <a:gd name="connsiteY0" fmla="*/ 3770 h 413345"/>
              <a:gd name="connsiteX1" fmla="*/ 0 w 571617"/>
              <a:gd name="connsiteY1" fmla="*/ 3770 h 413345"/>
              <a:gd name="connsiteX2" fmla="*/ 476250 w 571617"/>
              <a:gd name="connsiteY2" fmla="*/ 6945 h 413345"/>
              <a:gd name="connsiteX3" fmla="*/ 571500 w 571617"/>
              <a:gd name="connsiteY3" fmla="*/ 32345 h 413345"/>
              <a:gd name="connsiteX4" fmla="*/ 571500 w 571617"/>
              <a:gd name="connsiteY4" fmla="*/ 413345 h 413345"/>
              <a:gd name="connsiteX0" fmla="*/ 0 w 571500"/>
              <a:gd name="connsiteY0" fmla="*/ 8358 h 417933"/>
              <a:gd name="connsiteX1" fmla="*/ 0 w 571500"/>
              <a:gd name="connsiteY1" fmla="*/ 8358 h 417933"/>
              <a:gd name="connsiteX2" fmla="*/ 476250 w 571500"/>
              <a:gd name="connsiteY2" fmla="*/ 11533 h 417933"/>
              <a:gd name="connsiteX3" fmla="*/ 571500 w 571500"/>
              <a:gd name="connsiteY3" fmla="*/ 36933 h 417933"/>
              <a:gd name="connsiteX4" fmla="*/ 571500 w 571500"/>
              <a:gd name="connsiteY4" fmla="*/ 417933 h 417933"/>
              <a:gd name="connsiteX0" fmla="*/ 0 w 571500"/>
              <a:gd name="connsiteY0" fmla="*/ 0 h 409575"/>
              <a:gd name="connsiteX1" fmla="*/ 0 w 571500"/>
              <a:gd name="connsiteY1" fmla="*/ 0 h 409575"/>
              <a:gd name="connsiteX2" fmla="*/ 571500 w 571500"/>
              <a:gd name="connsiteY2" fmla="*/ 28575 h 409575"/>
              <a:gd name="connsiteX3" fmla="*/ 571500 w 571500"/>
              <a:gd name="connsiteY3" fmla="*/ 409575 h 409575"/>
              <a:gd name="connsiteX0" fmla="*/ 0 w 577850"/>
              <a:gd name="connsiteY0" fmla="*/ 0 h 409575"/>
              <a:gd name="connsiteX1" fmla="*/ 0 w 577850"/>
              <a:gd name="connsiteY1" fmla="*/ 0 h 409575"/>
              <a:gd name="connsiteX2" fmla="*/ 577850 w 577850"/>
              <a:gd name="connsiteY2" fmla="*/ 3175 h 409575"/>
              <a:gd name="connsiteX3" fmla="*/ 571500 w 577850"/>
              <a:gd name="connsiteY3" fmla="*/ 409575 h 4095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77850" h="409575">
                <a:moveTo>
                  <a:pt x="0" y="0"/>
                </a:moveTo>
                <a:lnTo>
                  <a:pt x="0" y="0"/>
                </a:lnTo>
                <a:lnTo>
                  <a:pt x="577850" y="3175"/>
                </a:lnTo>
                <a:lnTo>
                  <a:pt x="571500" y="409575"/>
                </a:lnTo>
              </a:path>
            </a:pathLst>
          </a:custGeom>
          <a:noFill/>
          <a:ln>
            <a:solidFill>
              <a:srgbClr val="6094C9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8" name="Freeform 67"/>
          <p:cNvSpPr/>
          <p:nvPr/>
        </p:nvSpPr>
        <p:spPr>
          <a:xfrm>
            <a:off x="4808059" y="1304660"/>
            <a:ext cx="1862338" cy="2217076"/>
          </a:xfrm>
          <a:custGeom>
            <a:avLst/>
            <a:gdLst>
              <a:gd name="connsiteX0" fmla="*/ 0 w 571617"/>
              <a:gd name="connsiteY0" fmla="*/ 3770 h 413345"/>
              <a:gd name="connsiteX1" fmla="*/ 0 w 571617"/>
              <a:gd name="connsiteY1" fmla="*/ 3770 h 413345"/>
              <a:gd name="connsiteX2" fmla="*/ 476250 w 571617"/>
              <a:gd name="connsiteY2" fmla="*/ 6945 h 413345"/>
              <a:gd name="connsiteX3" fmla="*/ 571500 w 571617"/>
              <a:gd name="connsiteY3" fmla="*/ 32345 h 413345"/>
              <a:gd name="connsiteX4" fmla="*/ 571500 w 571617"/>
              <a:gd name="connsiteY4" fmla="*/ 413345 h 413345"/>
              <a:gd name="connsiteX0" fmla="*/ 0 w 571500"/>
              <a:gd name="connsiteY0" fmla="*/ 8358 h 417933"/>
              <a:gd name="connsiteX1" fmla="*/ 0 w 571500"/>
              <a:gd name="connsiteY1" fmla="*/ 8358 h 417933"/>
              <a:gd name="connsiteX2" fmla="*/ 476250 w 571500"/>
              <a:gd name="connsiteY2" fmla="*/ 11533 h 417933"/>
              <a:gd name="connsiteX3" fmla="*/ 571500 w 571500"/>
              <a:gd name="connsiteY3" fmla="*/ 36933 h 417933"/>
              <a:gd name="connsiteX4" fmla="*/ 571500 w 571500"/>
              <a:gd name="connsiteY4" fmla="*/ 417933 h 417933"/>
              <a:gd name="connsiteX0" fmla="*/ 0 w 571500"/>
              <a:gd name="connsiteY0" fmla="*/ 0 h 409575"/>
              <a:gd name="connsiteX1" fmla="*/ 0 w 571500"/>
              <a:gd name="connsiteY1" fmla="*/ 0 h 409575"/>
              <a:gd name="connsiteX2" fmla="*/ 571500 w 571500"/>
              <a:gd name="connsiteY2" fmla="*/ 28575 h 409575"/>
              <a:gd name="connsiteX3" fmla="*/ 571500 w 571500"/>
              <a:gd name="connsiteY3" fmla="*/ 409575 h 409575"/>
              <a:gd name="connsiteX0" fmla="*/ 0 w 577850"/>
              <a:gd name="connsiteY0" fmla="*/ 0 h 409575"/>
              <a:gd name="connsiteX1" fmla="*/ 0 w 577850"/>
              <a:gd name="connsiteY1" fmla="*/ 0 h 409575"/>
              <a:gd name="connsiteX2" fmla="*/ 577850 w 577850"/>
              <a:gd name="connsiteY2" fmla="*/ 3175 h 409575"/>
              <a:gd name="connsiteX3" fmla="*/ 571500 w 577850"/>
              <a:gd name="connsiteY3" fmla="*/ 409575 h 4095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77850" h="409575">
                <a:moveTo>
                  <a:pt x="0" y="0"/>
                </a:moveTo>
                <a:lnTo>
                  <a:pt x="0" y="0"/>
                </a:lnTo>
                <a:lnTo>
                  <a:pt x="577850" y="3175"/>
                </a:lnTo>
                <a:lnTo>
                  <a:pt x="571500" y="409575"/>
                </a:lnTo>
              </a:path>
            </a:pathLst>
          </a:custGeom>
          <a:noFill/>
          <a:ln>
            <a:solidFill>
              <a:srgbClr val="6094C9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9" name="object 28"/>
          <p:cNvSpPr/>
          <p:nvPr/>
        </p:nvSpPr>
        <p:spPr>
          <a:xfrm>
            <a:off x="2346246" y="2489695"/>
            <a:ext cx="320729" cy="34736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ln w="25399">
            <a:solidFill>
              <a:srgbClr val="9E4B45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0" name="object 68"/>
          <p:cNvSpPr/>
          <p:nvPr/>
        </p:nvSpPr>
        <p:spPr>
          <a:xfrm>
            <a:off x="6466819" y="352173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413232486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" name="object 50"/>
          <p:cNvSpPr/>
          <p:nvPr/>
        </p:nvSpPr>
        <p:spPr>
          <a:xfrm>
            <a:off x="0" y="3009901"/>
            <a:ext cx="8629251" cy="231"/>
          </a:xfrm>
          <a:custGeom>
            <a:avLst/>
            <a:gdLst>
              <a:gd name="connsiteX0" fmla="*/ 0 w 8629251"/>
              <a:gd name="connsiteY0" fmla="*/ 0 h 231"/>
              <a:gd name="connsiteX1" fmla="*/ 8629251 w 8629251"/>
              <a:gd name="connsiteY1" fmla="*/ 231 h 2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8629251" h="231">
                <a:moveTo>
                  <a:pt x="0" y="0"/>
                </a:moveTo>
                <a:lnTo>
                  <a:pt x="8629251" y="231"/>
                </a:lnTo>
              </a:path>
            </a:pathLst>
          </a:custGeom>
          <a:ln w="38100">
            <a:solidFill>
              <a:srgbClr val="F69545"/>
            </a:solidFill>
            <a:prstDash val="lgDash"/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2" name="object 10"/>
          <p:cNvSpPr txBox="1"/>
          <p:nvPr/>
        </p:nvSpPr>
        <p:spPr>
          <a:xfrm>
            <a:off x="2101916" y="369650"/>
            <a:ext cx="6296519" cy="4318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3400"/>
              </a:lnSpc>
              <a:spcBef>
                <a:spcPts val="170"/>
              </a:spcBef>
            </a:pPr>
            <a:r>
              <a:rPr lang="en-US" sz="4800" baseline="1706" dirty="0">
                <a:solidFill>
                  <a:srgbClr val="4E81BC"/>
                </a:solidFill>
                <a:cs typeface="Calibri"/>
              </a:rPr>
              <a:t>Criterion: </a:t>
            </a:r>
            <a:r>
              <a:rPr lang="en-US" sz="4800" baseline="1706" dirty="0">
                <a:solidFill>
                  <a:srgbClr val="7F7E7E"/>
                </a:solidFill>
                <a:cs typeface="Calibri"/>
              </a:rPr>
              <a:t>Stop at </a:t>
            </a:r>
            <a:r>
              <a:rPr lang="en-US" sz="4800" baseline="1706" dirty="0" err="1" smtClean="0">
                <a:solidFill>
                  <a:srgbClr val="F69545"/>
                </a:solidFill>
                <a:cs typeface="Calibri"/>
              </a:rPr>
              <a:t>dist</a:t>
            </a:r>
            <a:r>
              <a:rPr lang="en-US" sz="4800" baseline="1706" dirty="0" smtClean="0">
                <a:solidFill>
                  <a:srgbClr val="F69545"/>
                </a:solidFill>
                <a:cs typeface="Calibri"/>
              </a:rPr>
              <a:t>=3……</a:t>
            </a:r>
            <a:r>
              <a:rPr lang="en-US" sz="4800" baseline="1706" dirty="0" smtClean="0">
                <a:solidFill>
                  <a:srgbClr val="7F7E7E"/>
                </a:solidFill>
                <a:cs typeface="Calibri"/>
              </a:rPr>
              <a:t>!</a:t>
            </a:r>
            <a:endParaRPr sz="3200" dirty="0">
              <a:latin typeface="+mj-lt"/>
              <a:cs typeface="Calibri"/>
            </a:endParaRPr>
          </a:p>
        </p:txBody>
      </p:sp>
      <p:sp>
        <p:nvSpPr>
          <p:cNvPr id="46" name="Freeform 45"/>
          <p:cNvSpPr/>
          <p:nvPr/>
        </p:nvSpPr>
        <p:spPr>
          <a:xfrm>
            <a:off x="1371599" y="4876800"/>
            <a:ext cx="596901" cy="381000"/>
          </a:xfrm>
          <a:custGeom>
            <a:avLst/>
            <a:gdLst>
              <a:gd name="connsiteX0" fmla="*/ 0 w 571617"/>
              <a:gd name="connsiteY0" fmla="*/ 3770 h 413345"/>
              <a:gd name="connsiteX1" fmla="*/ 0 w 571617"/>
              <a:gd name="connsiteY1" fmla="*/ 3770 h 413345"/>
              <a:gd name="connsiteX2" fmla="*/ 476250 w 571617"/>
              <a:gd name="connsiteY2" fmla="*/ 6945 h 413345"/>
              <a:gd name="connsiteX3" fmla="*/ 571500 w 571617"/>
              <a:gd name="connsiteY3" fmla="*/ 32345 h 413345"/>
              <a:gd name="connsiteX4" fmla="*/ 571500 w 571617"/>
              <a:gd name="connsiteY4" fmla="*/ 413345 h 413345"/>
              <a:gd name="connsiteX0" fmla="*/ 0 w 571500"/>
              <a:gd name="connsiteY0" fmla="*/ 8358 h 417933"/>
              <a:gd name="connsiteX1" fmla="*/ 0 w 571500"/>
              <a:gd name="connsiteY1" fmla="*/ 8358 h 417933"/>
              <a:gd name="connsiteX2" fmla="*/ 476250 w 571500"/>
              <a:gd name="connsiteY2" fmla="*/ 11533 h 417933"/>
              <a:gd name="connsiteX3" fmla="*/ 571500 w 571500"/>
              <a:gd name="connsiteY3" fmla="*/ 36933 h 417933"/>
              <a:gd name="connsiteX4" fmla="*/ 571500 w 571500"/>
              <a:gd name="connsiteY4" fmla="*/ 417933 h 417933"/>
              <a:gd name="connsiteX0" fmla="*/ 0 w 571500"/>
              <a:gd name="connsiteY0" fmla="*/ 0 h 409575"/>
              <a:gd name="connsiteX1" fmla="*/ 0 w 571500"/>
              <a:gd name="connsiteY1" fmla="*/ 0 h 409575"/>
              <a:gd name="connsiteX2" fmla="*/ 571500 w 571500"/>
              <a:gd name="connsiteY2" fmla="*/ 28575 h 409575"/>
              <a:gd name="connsiteX3" fmla="*/ 571500 w 571500"/>
              <a:gd name="connsiteY3" fmla="*/ 409575 h 409575"/>
              <a:gd name="connsiteX0" fmla="*/ 0 w 577850"/>
              <a:gd name="connsiteY0" fmla="*/ 0 h 409575"/>
              <a:gd name="connsiteX1" fmla="*/ 0 w 577850"/>
              <a:gd name="connsiteY1" fmla="*/ 0 h 409575"/>
              <a:gd name="connsiteX2" fmla="*/ 577850 w 577850"/>
              <a:gd name="connsiteY2" fmla="*/ 3175 h 409575"/>
              <a:gd name="connsiteX3" fmla="*/ 571500 w 577850"/>
              <a:gd name="connsiteY3" fmla="*/ 409575 h 4095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77850" h="409575">
                <a:moveTo>
                  <a:pt x="0" y="0"/>
                </a:moveTo>
                <a:lnTo>
                  <a:pt x="0" y="0"/>
                </a:lnTo>
                <a:lnTo>
                  <a:pt x="577850" y="3175"/>
                </a:lnTo>
                <a:lnTo>
                  <a:pt x="571500" y="409575"/>
                </a:lnTo>
              </a:path>
            </a:pathLst>
          </a:custGeom>
          <a:noFill/>
          <a:ln>
            <a:solidFill>
              <a:srgbClr val="6094C9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7" name="Freeform 46"/>
          <p:cNvSpPr/>
          <p:nvPr/>
        </p:nvSpPr>
        <p:spPr>
          <a:xfrm flipH="1">
            <a:off x="451015" y="4876800"/>
            <a:ext cx="596901" cy="381000"/>
          </a:xfrm>
          <a:custGeom>
            <a:avLst/>
            <a:gdLst>
              <a:gd name="connsiteX0" fmla="*/ 0 w 571617"/>
              <a:gd name="connsiteY0" fmla="*/ 3770 h 413345"/>
              <a:gd name="connsiteX1" fmla="*/ 0 w 571617"/>
              <a:gd name="connsiteY1" fmla="*/ 3770 h 413345"/>
              <a:gd name="connsiteX2" fmla="*/ 476250 w 571617"/>
              <a:gd name="connsiteY2" fmla="*/ 6945 h 413345"/>
              <a:gd name="connsiteX3" fmla="*/ 571500 w 571617"/>
              <a:gd name="connsiteY3" fmla="*/ 32345 h 413345"/>
              <a:gd name="connsiteX4" fmla="*/ 571500 w 571617"/>
              <a:gd name="connsiteY4" fmla="*/ 413345 h 413345"/>
              <a:gd name="connsiteX0" fmla="*/ 0 w 571500"/>
              <a:gd name="connsiteY0" fmla="*/ 8358 h 417933"/>
              <a:gd name="connsiteX1" fmla="*/ 0 w 571500"/>
              <a:gd name="connsiteY1" fmla="*/ 8358 h 417933"/>
              <a:gd name="connsiteX2" fmla="*/ 476250 w 571500"/>
              <a:gd name="connsiteY2" fmla="*/ 11533 h 417933"/>
              <a:gd name="connsiteX3" fmla="*/ 571500 w 571500"/>
              <a:gd name="connsiteY3" fmla="*/ 36933 h 417933"/>
              <a:gd name="connsiteX4" fmla="*/ 571500 w 571500"/>
              <a:gd name="connsiteY4" fmla="*/ 417933 h 417933"/>
              <a:gd name="connsiteX0" fmla="*/ 0 w 571500"/>
              <a:gd name="connsiteY0" fmla="*/ 0 h 409575"/>
              <a:gd name="connsiteX1" fmla="*/ 0 w 571500"/>
              <a:gd name="connsiteY1" fmla="*/ 0 h 409575"/>
              <a:gd name="connsiteX2" fmla="*/ 571500 w 571500"/>
              <a:gd name="connsiteY2" fmla="*/ 28575 h 409575"/>
              <a:gd name="connsiteX3" fmla="*/ 571500 w 571500"/>
              <a:gd name="connsiteY3" fmla="*/ 409575 h 409575"/>
              <a:gd name="connsiteX0" fmla="*/ 0 w 577850"/>
              <a:gd name="connsiteY0" fmla="*/ 0 h 409575"/>
              <a:gd name="connsiteX1" fmla="*/ 0 w 577850"/>
              <a:gd name="connsiteY1" fmla="*/ 0 h 409575"/>
              <a:gd name="connsiteX2" fmla="*/ 577850 w 577850"/>
              <a:gd name="connsiteY2" fmla="*/ 3175 h 409575"/>
              <a:gd name="connsiteX3" fmla="*/ 571500 w 577850"/>
              <a:gd name="connsiteY3" fmla="*/ 409575 h 4095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77850" h="409575">
                <a:moveTo>
                  <a:pt x="0" y="0"/>
                </a:moveTo>
                <a:lnTo>
                  <a:pt x="0" y="0"/>
                </a:lnTo>
                <a:lnTo>
                  <a:pt x="577850" y="3175"/>
                </a:lnTo>
                <a:lnTo>
                  <a:pt x="571500" y="409575"/>
                </a:lnTo>
              </a:path>
            </a:pathLst>
          </a:custGeom>
          <a:noFill/>
          <a:ln>
            <a:solidFill>
              <a:srgbClr val="6094C9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8" name="object 5"/>
          <p:cNvSpPr/>
          <p:nvPr/>
        </p:nvSpPr>
        <p:spPr>
          <a:xfrm>
            <a:off x="8676629" y="1036574"/>
            <a:ext cx="0" cy="4598485"/>
          </a:xfrm>
          <a:custGeom>
            <a:avLst/>
            <a:gdLst/>
            <a:ahLst/>
            <a:cxnLst/>
            <a:rect l="l" t="t" r="r" b="b"/>
            <a:pathLst>
              <a:path h="4598485">
                <a:moveTo>
                  <a:pt x="0" y="4598485"/>
                </a:moveTo>
                <a:lnTo>
                  <a:pt x="0" y="0"/>
                </a:lnTo>
              </a:path>
            </a:pathLst>
          </a:custGeom>
          <a:ln w="38099">
            <a:solidFill>
              <a:srgbClr val="937AB1"/>
            </a:solidFill>
            <a:tailEnd type="arrow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9" name="object 2"/>
          <p:cNvSpPr txBox="1"/>
          <p:nvPr/>
        </p:nvSpPr>
        <p:spPr>
          <a:xfrm rot="5400000">
            <a:off x="8269473" y="3145316"/>
            <a:ext cx="1310588" cy="3810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 algn="ctr">
              <a:lnSpc>
                <a:spcPts val="3000"/>
              </a:lnSpc>
              <a:spcBef>
                <a:spcPts val="150"/>
              </a:spcBef>
            </a:pPr>
            <a:r>
              <a:rPr sz="4200" spc="0" baseline="1950" dirty="0" smtClean="0">
                <a:solidFill>
                  <a:srgbClr val="8063A1"/>
                </a:solidFill>
                <a:cs typeface="Calibri"/>
              </a:rPr>
              <a:t>distance</a:t>
            </a:r>
            <a:endParaRPr sz="2800" dirty="0">
              <a:cs typeface="Calibri"/>
            </a:endParaRPr>
          </a:p>
        </p:txBody>
      </p:sp>
      <p:sp>
        <p:nvSpPr>
          <p:cNvPr id="50" name="Freeform 49"/>
          <p:cNvSpPr/>
          <p:nvPr/>
        </p:nvSpPr>
        <p:spPr>
          <a:xfrm>
            <a:off x="6814291" y="3678833"/>
            <a:ext cx="1186709" cy="1608866"/>
          </a:xfrm>
          <a:custGeom>
            <a:avLst/>
            <a:gdLst>
              <a:gd name="connsiteX0" fmla="*/ 0 w 571617"/>
              <a:gd name="connsiteY0" fmla="*/ 3770 h 413345"/>
              <a:gd name="connsiteX1" fmla="*/ 0 w 571617"/>
              <a:gd name="connsiteY1" fmla="*/ 3770 h 413345"/>
              <a:gd name="connsiteX2" fmla="*/ 476250 w 571617"/>
              <a:gd name="connsiteY2" fmla="*/ 6945 h 413345"/>
              <a:gd name="connsiteX3" fmla="*/ 571500 w 571617"/>
              <a:gd name="connsiteY3" fmla="*/ 32345 h 413345"/>
              <a:gd name="connsiteX4" fmla="*/ 571500 w 571617"/>
              <a:gd name="connsiteY4" fmla="*/ 413345 h 413345"/>
              <a:gd name="connsiteX0" fmla="*/ 0 w 571500"/>
              <a:gd name="connsiteY0" fmla="*/ 8358 h 417933"/>
              <a:gd name="connsiteX1" fmla="*/ 0 w 571500"/>
              <a:gd name="connsiteY1" fmla="*/ 8358 h 417933"/>
              <a:gd name="connsiteX2" fmla="*/ 476250 w 571500"/>
              <a:gd name="connsiteY2" fmla="*/ 11533 h 417933"/>
              <a:gd name="connsiteX3" fmla="*/ 571500 w 571500"/>
              <a:gd name="connsiteY3" fmla="*/ 36933 h 417933"/>
              <a:gd name="connsiteX4" fmla="*/ 571500 w 571500"/>
              <a:gd name="connsiteY4" fmla="*/ 417933 h 417933"/>
              <a:gd name="connsiteX0" fmla="*/ 0 w 571500"/>
              <a:gd name="connsiteY0" fmla="*/ 0 h 409575"/>
              <a:gd name="connsiteX1" fmla="*/ 0 w 571500"/>
              <a:gd name="connsiteY1" fmla="*/ 0 h 409575"/>
              <a:gd name="connsiteX2" fmla="*/ 571500 w 571500"/>
              <a:gd name="connsiteY2" fmla="*/ 28575 h 409575"/>
              <a:gd name="connsiteX3" fmla="*/ 571500 w 571500"/>
              <a:gd name="connsiteY3" fmla="*/ 409575 h 409575"/>
              <a:gd name="connsiteX0" fmla="*/ 0 w 577850"/>
              <a:gd name="connsiteY0" fmla="*/ 0 h 409575"/>
              <a:gd name="connsiteX1" fmla="*/ 0 w 577850"/>
              <a:gd name="connsiteY1" fmla="*/ 0 h 409575"/>
              <a:gd name="connsiteX2" fmla="*/ 577850 w 577850"/>
              <a:gd name="connsiteY2" fmla="*/ 3175 h 409575"/>
              <a:gd name="connsiteX3" fmla="*/ 571500 w 577850"/>
              <a:gd name="connsiteY3" fmla="*/ 409575 h 4095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77850" h="409575">
                <a:moveTo>
                  <a:pt x="0" y="0"/>
                </a:moveTo>
                <a:lnTo>
                  <a:pt x="0" y="0"/>
                </a:lnTo>
                <a:lnTo>
                  <a:pt x="577850" y="3175"/>
                </a:lnTo>
                <a:lnTo>
                  <a:pt x="571500" y="409575"/>
                </a:lnTo>
              </a:path>
            </a:pathLst>
          </a:custGeom>
          <a:noFill/>
          <a:ln>
            <a:solidFill>
              <a:srgbClr val="6094C9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1" name="Freeform 50"/>
          <p:cNvSpPr/>
          <p:nvPr/>
        </p:nvSpPr>
        <p:spPr>
          <a:xfrm flipH="1">
            <a:off x="5486826" y="3678833"/>
            <a:ext cx="1186709" cy="1608866"/>
          </a:xfrm>
          <a:custGeom>
            <a:avLst/>
            <a:gdLst>
              <a:gd name="connsiteX0" fmla="*/ 0 w 571617"/>
              <a:gd name="connsiteY0" fmla="*/ 3770 h 413345"/>
              <a:gd name="connsiteX1" fmla="*/ 0 w 571617"/>
              <a:gd name="connsiteY1" fmla="*/ 3770 h 413345"/>
              <a:gd name="connsiteX2" fmla="*/ 476250 w 571617"/>
              <a:gd name="connsiteY2" fmla="*/ 6945 h 413345"/>
              <a:gd name="connsiteX3" fmla="*/ 571500 w 571617"/>
              <a:gd name="connsiteY3" fmla="*/ 32345 h 413345"/>
              <a:gd name="connsiteX4" fmla="*/ 571500 w 571617"/>
              <a:gd name="connsiteY4" fmla="*/ 413345 h 413345"/>
              <a:gd name="connsiteX0" fmla="*/ 0 w 571500"/>
              <a:gd name="connsiteY0" fmla="*/ 8358 h 417933"/>
              <a:gd name="connsiteX1" fmla="*/ 0 w 571500"/>
              <a:gd name="connsiteY1" fmla="*/ 8358 h 417933"/>
              <a:gd name="connsiteX2" fmla="*/ 476250 w 571500"/>
              <a:gd name="connsiteY2" fmla="*/ 11533 h 417933"/>
              <a:gd name="connsiteX3" fmla="*/ 571500 w 571500"/>
              <a:gd name="connsiteY3" fmla="*/ 36933 h 417933"/>
              <a:gd name="connsiteX4" fmla="*/ 571500 w 571500"/>
              <a:gd name="connsiteY4" fmla="*/ 417933 h 417933"/>
              <a:gd name="connsiteX0" fmla="*/ 0 w 571500"/>
              <a:gd name="connsiteY0" fmla="*/ 0 h 409575"/>
              <a:gd name="connsiteX1" fmla="*/ 0 w 571500"/>
              <a:gd name="connsiteY1" fmla="*/ 0 h 409575"/>
              <a:gd name="connsiteX2" fmla="*/ 571500 w 571500"/>
              <a:gd name="connsiteY2" fmla="*/ 28575 h 409575"/>
              <a:gd name="connsiteX3" fmla="*/ 571500 w 571500"/>
              <a:gd name="connsiteY3" fmla="*/ 409575 h 409575"/>
              <a:gd name="connsiteX0" fmla="*/ 0 w 577850"/>
              <a:gd name="connsiteY0" fmla="*/ 0 h 409575"/>
              <a:gd name="connsiteX1" fmla="*/ 0 w 577850"/>
              <a:gd name="connsiteY1" fmla="*/ 0 h 409575"/>
              <a:gd name="connsiteX2" fmla="*/ 577850 w 577850"/>
              <a:gd name="connsiteY2" fmla="*/ 3175 h 409575"/>
              <a:gd name="connsiteX3" fmla="*/ 571500 w 577850"/>
              <a:gd name="connsiteY3" fmla="*/ 409575 h 4095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77850" h="409575">
                <a:moveTo>
                  <a:pt x="0" y="0"/>
                </a:moveTo>
                <a:lnTo>
                  <a:pt x="0" y="0"/>
                </a:lnTo>
                <a:lnTo>
                  <a:pt x="577850" y="3175"/>
                </a:lnTo>
                <a:lnTo>
                  <a:pt x="571500" y="409575"/>
                </a:lnTo>
              </a:path>
            </a:pathLst>
          </a:custGeom>
          <a:noFill/>
          <a:ln>
            <a:solidFill>
              <a:srgbClr val="6094C9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6" name="Freeform 95"/>
          <p:cNvSpPr/>
          <p:nvPr/>
        </p:nvSpPr>
        <p:spPr>
          <a:xfrm flipH="1">
            <a:off x="1175488" y="2680521"/>
            <a:ext cx="1186709" cy="2052545"/>
          </a:xfrm>
          <a:custGeom>
            <a:avLst/>
            <a:gdLst>
              <a:gd name="connsiteX0" fmla="*/ 0 w 571617"/>
              <a:gd name="connsiteY0" fmla="*/ 3770 h 413345"/>
              <a:gd name="connsiteX1" fmla="*/ 0 w 571617"/>
              <a:gd name="connsiteY1" fmla="*/ 3770 h 413345"/>
              <a:gd name="connsiteX2" fmla="*/ 476250 w 571617"/>
              <a:gd name="connsiteY2" fmla="*/ 6945 h 413345"/>
              <a:gd name="connsiteX3" fmla="*/ 571500 w 571617"/>
              <a:gd name="connsiteY3" fmla="*/ 32345 h 413345"/>
              <a:gd name="connsiteX4" fmla="*/ 571500 w 571617"/>
              <a:gd name="connsiteY4" fmla="*/ 413345 h 413345"/>
              <a:gd name="connsiteX0" fmla="*/ 0 w 571500"/>
              <a:gd name="connsiteY0" fmla="*/ 8358 h 417933"/>
              <a:gd name="connsiteX1" fmla="*/ 0 w 571500"/>
              <a:gd name="connsiteY1" fmla="*/ 8358 h 417933"/>
              <a:gd name="connsiteX2" fmla="*/ 476250 w 571500"/>
              <a:gd name="connsiteY2" fmla="*/ 11533 h 417933"/>
              <a:gd name="connsiteX3" fmla="*/ 571500 w 571500"/>
              <a:gd name="connsiteY3" fmla="*/ 36933 h 417933"/>
              <a:gd name="connsiteX4" fmla="*/ 571500 w 571500"/>
              <a:gd name="connsiteY4" fmla="*/ 417933 h 417933"/>
              <a:gd name="connsiteX0" fmla="*/ 0 w 571500"/>
              <a:gd name="connsiteY0" fmla="*/ 0 h 409575"/>
              <a:gd name="connsiteX1" fmla="*/ 0 w 571500"/>
              <a:gd name="connsiteY1" fmla="*/ 0 h 409575"/>
              <a:gd name="connsiteX2" fmla="*/ 571500 w 571500"/>
              <a:gd name="connsiteY2" fmla="*/ 28575 h 409575"/>
              <a:gd name="connsiteX3" fmla="*/ 571500 w 571500"/>
              <a:gd name="connsiteY3" fmla="*/ 409575 h 409575"/>
              <a:gd name="connsiteX0" fmla="*/ 0 w 577850"/>
              <a:gd name="connsiteY0" fmla="*/ 0 h 409575"/>
              <a:gd name="connsiteX1" fmla="*/ 0 w 577850"/>
              <a:gd name="connsiteY1" fmla="*/ 0 h 409575"/>
              <a:gd name="connsiteX2" fmla="*/ 577850 w 577850"/>
              <a:gd name="connsiteY2" fmla="*/ 3175 h 409575"/>
              <a:gd name="connsiteX3" fmla="*/ 571500 w 577850"/>
              <a:gd name="connsiteY3" fmla="*/ 409575 h 4095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77850" h="409575">
                <a:moveTo>
                  <a:pt x="0" y="0"/>
                </a:moveTo>
                <a:lnTo>
                  <a:pt x="0" y="0"/>
                </a:lnTo>
                <a:lnTo>
                  <a:pt x="577850" y="3175"/>
                </a:lnTo>
                <a:lnTo>
                  <a:pt x="571500" y="409575"/>
                </a:lnTo>
              </a:path>
            </a:pathLst>
          </a:custGeom>
          <a:noFill/>
          <a:ln>
            <a:solidFill>
              <a:srgbClr val="6094C9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7" name="Freeform 96"/>
          <p:cNvSpPr/>
          <p:nvPr/>
        </p:nvSpPr>
        <p:spPr>
          <a:xfrm>
            <a:off x="2662410" y="2680521"/>
            <a:ext cx="995425" cy="2607177"/>
          </a:xfrm>
          <a:custGeom>
            <a:avLst/>
            <a:gdLst>
              <a:gd name="connsiteX0" fmla="*/ 0 w 571617"/>
              <a:gd name="connsiteY0" fmla="*/ 3770 h 413345"/>
              <a:gd name="connsiteX1" fmla="*/ 0 w 571617"/>
              <a:gd name="connsiteY1" fmla="*/ 3770 h 413345"/>
              <a:gd name="connsiteX2" fmla="*/ 476250 w 571617"/>
              <a:gd name="connsiteY2" fmla="*/ 6945 h 413345"/>
              <a:gd name="connsiteX3" fmla="*/ 571500 w 571617"/>
              <a:gd name="connsiteY3" fmla="*/ 32345 h 413345"/>
              <a:gd name="connsiteX4" fmla="*/ 571500 w 571617"/>
              <a:gd name="connsiteY4" fmla="*/ 413345 h 413345"/>
              <a:gd name="connsiteX0" fmla="*/ 0 w 571500"/>
              <a:gd name="connsiteY0" fmla="*/ 8358 h 417933"/>
              <a:gd name="connsiteX1" fmla="*/ 0 w 571500"/>
              <a:gd name="connsiteY1" fmla="*/ 8358 h 417933"/>
              <a:gd name="connsiteX2" fmla="*/ 476250 w 571500"/>
              <a:gd name="connsiteY2" fmla="*/ 11533 h 417933"/>
              <a:gd name="connsiteX3" fmla="*/ 571500 w 571500"/>
              <a:gd name="connsiteY3" fmla="*/ 36933 h 417933"/>
              <a:gd name="connsiteX4" fmla="*/ 571500 w 571500"/>
              <a:gd name="connsiteY4" fmla="*/ 417933 h 417933"/>
              <a:gd name="connsiteX0" fmla="*/ 0 w 571500"/>
              <a:gd name="connsiteY0" fmla="*/ 0 h 409575"/>
              <a:gd name="connsiteX1" fmla="*/ 0 w 571500"/>
              <a:gd name="connsiteY1" fmla="*/ 0 h 409575"/>
              <a:gd name="connsiteX2" fmla="*/ 571500 w 571500"/>
              <a:gd name="connsiteY2" fmla="*/ 28575 h 409575"/>
              <a:gd name="connsiteX3" fmla="*/ 571500 w 571500"/>
              <a:gd name="connsiteY3" fmla="*/ 409575 h 409575"/>
              <a:gd name="connsiteX0" fmla="*/ 0 w 577850"/>
              <a:gd name="connsiteY0" fmla="*/ 0 h 409575"/>
              <a:gd name="connsiteX1" fmla="*/ 0 w 577850"/>
              <a:gd name="connsiteY1" fmla="*/ 0 h 409575"/>
              <a:gd name="connsiteX2" fmla="*/ 577850 w 577850"/>
              <a:gd name="connsiteY2" fmla="*/ 3175 h 409575"/>
              <a:gd name="connsiteX3" fmla="*/ 571500 w 577850"/>
              <a:gd name="connsiteY3" fmla="*/ 409575 h 409575"/>
              <a:gd name="connsiteX0" fmla="*/ 0 w 577850"/>
              <a:gd name="connsiteY0" fmla="*/ 0 h 409575"/>
              <a:gd name="connsiteX1" fmla="*/ 0 w 577850"/>
              <a:gd name="connsiteY1" fmla="*/ 0 h 409575"/>
              <a:gd name="connsiteX2" fmla="*/ 577850 w 577850"/>
              <a:gd name="connsiteY2" fmla="*/ 3175 h 409575"/>
              <a:gd name="connsiteX3" fmla="*/ 571500 w 577850"/>
              <a:gd name="connsiteY3" fmla="*/ 409575 h 409575"/>
              <a:gd name="connsiteX0" fmla="*/ 0 w 577850"/>
              <a:gd name="connsiteY0" fmla="*/ 0 h 409575"/>
              <a:gd name="connsiteX1" fmla="*/ 0 w 577850"/>
              <a:gd name="connsiteY1" fmla="*/ 0 h 409575"/>
              <a:gd name="connsiteX2" fmla="*/ 577850 w 577850"/>
              <a:gd name="connsiteY2" fmla="*/ 3175 h 409575"/>
              <a:gd name="connsiteX3" fmla="*/ 571500 w 577850"/>
              <a:gd name="connsiteY3" fmla="*/ 409575 h 409575"/>
              <a:gd name="connsiteX0" fmla="*/ 0 w 577850"/>
              <a:gd name="connsiteY0" fmla="*/ 0 h 409575"/>
              <a:gd name="connsiteX1" fmla="*/ 0 w 577850"/>
              <a:gd name="connsiteY1" fmla="*/ 0 h 409575"/>
              <a:gd name="connsiteX2" fmla="*/ 577850 w 577850"/>
              <a:gd name="connsiteY2" fmla="*/ 3175 h 409575"/>
              <a:gd name="connsiteX3" fmla="*/ 571500 w 577850"/>
              <a:gd name="connsiteY3" fmla="*/ 409575 h 409575"/>
              <a:gd name="connsiteX0" fmla="*/ 0 w 577850"/>
              <a:gd name="connsiteY0" fmla="*/ 0 h 409575"/>
              <a:gd name="connsiteX1" fmla="*/ 0 w 577850"/>
              <a:gd name="connsiteY1" fmla="*/ 0 h 409575"/>
              <a:gd name="connsiteX2" fmla="*/ 577850 w 577850"/>
              <a:gd name="connsiteY2" fmla="*/ 3175 h 409575"/>
              <a:gd name="connsiteX3" fmla="*/ 571500 w 577850"/>
              <a:gd name="connsiteY3" fmla="*/ 409575 h 409575"/>
              <a:gd name="connsiteX0" fmla="*/ 0 w 574187"/>
              <a:gd name="connsiteY0" fmla="*/ 0 h 409575"/>
              <a:gd name="connsiteX1" fmla="*/ 0 w 574187"/>
              <a:gd name="connsiteY1" fmla="*/ 0 h 409575"/>
              <a:gd name="connsiteX2" fmla="*/ 574187 w 574187"/>
              <a:gd name="connsiteY2" fmla="*/ 1180 h 409575"/>
              <a:gd name="connsiteX3" fmla="*/ 571500 w 574187"/>
              <a:gd name="connsiteY3" fmla="*/ 409575 h 4095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74187" h="409575">
                <a:moveTo>
                  <a:pt x="0" y="0"/>
                </a:moveTo>
                <a:lnTo>
                  <a:pt x="0" y="0"/>
                </a:lnTo>
                <a:lnTo>
                  <a:pt x="574187" y="1180"/>
                </a:lnTo>
                <a:cubicBezTo>
                  <a:pt x="573291" y="137312"/>
                  <a:pt x="572396" y="273443"/>
                  <a:pt x="571500" y="409575"/>
                </a:cubicBezTo>
              </a:path>
            </a:pathLst>
          </a:custGeom>
          <a:noFill/>
          <a:ln>
            <a:solidFill>
              <a:srgbClr val="6094C9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8" name="object 23"/>
          <p:cNvSpPr/>
          <p:nvPr/>
        </p:nvSpPr>
        <p:spPr>
          <a:xfrm>
            <a:off x="4487329" y="1162574"/>
            <a:ext cx="320729" cy="34736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1"/>
                </a:moveTo>
                <a:lnTo>
                  <a:pt x="232" y="183108"/>
                </a:lnTo>
                <a:lnTo>
                  <a:pt x="1583" y="198180"/>
                </a:lnTo>
                <a:lnTo>
                  <a:pt x="4094" y="212849"/>
                </a:lnTo>
                <a:lnTo>
                  <a:pt x="7715" y="227058"/>
                </a:lnTo>
                <a:lnTo>
                  <a:pt x="12395" y="240753"/>
                </a:lnTo>
                <a:lnTo>
                  <a:pt x="18082" y="253877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3"/>
                </a:lnTo>
                <a:lnTo>
                  <a:pt x="49876" y="299561"/>
                </a:lnTo>
                <a:lnTo>
                  <a:pt x="59830" y="309002"/>
                </a:lnTo>
                <a:lnTo>
                  <a:pt x="70485" y="317540"/>
                </a:lnTo>
                <a:lnTo>
                  <a:pt x="81788" y="325119"/>
                </a:lnTo>
                <a:lnTo>
                  <a:pt x="93689" y="331685"/>
                </a:lnTo>
                <a:lnTo>
                  <a:pt x="106136" y="337181"/>
                </a:lnTo>
                <a:lnTo>
                  <a:pt x="119079" y="341552"/>
                </a:lnTo>
                <a:lnTo>
                  <a:pt x="132465" y="344743"/>
                </a:lnTo>
                <a:lnTo>
                  <a:pt x="146244" y="346698"/>
                </a:lnTo>
                <a:lnTo>
                  <a:pt x="160365" y="347362"/>
                </a:lnTo>
                <a:lnTo>
                  <a:pt x="169068" y="347111"/>
                </a:lnTo>
                <a:lnTo>
                  <a:pt x="182985" y="345648"/>
                </a:lnTo>
                <a:lnTo>
                  <a:pt x="196529" y="342928"/>
                </a:lnTo>
                <a:lnTo>
                  <a:pt x="209649" y="339006"/>
                </a:lnTo>
                <a:lnTo>
                  <a:pt x="222294" y="333938"/>
                </a:lnTo>
                <a:lnTo>
                  <a:pt x="234412" y="327779"/>
                </a:lnTo>
                <a:lnTo>
                  <a:pt x="245952" y="320585"/>
                </a:lnTo>
                <a:lnTo>
                  <a:pt x="256863" y="312411"/>
                </a:lnTo>
                <a:lnTo>
                  <a:pt x="267094" y="303312"/>
                </a:lnTo>
                <a:lnTo>
                  <a:pt x="276594" y="293344"/>
                </a:lnTo>
                <a:lnTo>
                  <a:pt x="285311" y="282563"/>
                </a:lnTo>
                <a:lnTo>
                  <a:pt x="293194" y="271024"/>
                </a:lnTo>
                <a:lnTo>
                  <a:pt x="300192" y="258782"/>
                </a:lnTo>
                <a:lnTo>
                  <a:pt x="306254" y="245893"/>
                </a:lnTo>
                <a:lnTo>
                  <a:pt x="311328" y="232412"/>
                </a:lnTo>
                <a:lnTo>
                  <a:pt x="315364" y="218395"/>
                </a:lnTo>
                <a:lnTo>
                  <a:pt x="318311" y="203897"/>
                </a:lnTo>
                <a:lnTo>
                  <a:pt x="320116" y="188974"/>
                </a:lnTo>
                <a:lnTo>
                  <a:pt x="320729" y="173681"/>
                </a:lnTo>
                <a:lnTo>
                  <a:pt x="320497" y="164255"/>
                </a:lnTo>
                <a:lnTo>
                  <a:pt x="319146" y="149182"/>
                </a:lnTo>
                <a:lnTo>
                  <a:pt x="316635" y="134513"/>
                </a:lnTo>
                <a:lnTo>
                  <a:pt x="313014" y="120304"/>
                </a:lnTo>
                <a:lnTo>
                  <a:pt x="308334" y="106609"/>
                </a:lnTo>
                <a:lnTo>
                  <a:pt x="302648" y="93485"/>
                </a:lnTo>
                <a:lnTo>
                  <a:pt x="296005" y="80986"/>
                </a:lnTo>
                <a:lnTo>
                  <a:pt x="288458" y="69169"/>
                </a:lnTo>
                <a:lnTo>
                  <a:pt x="280057" y="58089"/>
                </a:lnTo>
                <a:lnTo>
                  <a:pt x="270854" y="47800"/>
                </a:lnTo>
                <a:lnTo>
                  <a:pt x="260899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1" y="251"/>
                </a:lnTo>
                <a:lnTo>
                  <a:pt x="137744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5" y="13424"/>
                </a:lnTo>
                <a:lnTo>
                  <a:pt x="86317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50"/>
                </a:lnTo>
                <a:lnTo>
                  <a:pt x="44135" y="54017"/>
                </a:lnTo>
                <a:lnTo>
                  <a:pt x="35418" y="64798"/>
                </a:lnTo>
                <a:lnTo>
                  <a:pt x="27535" y="76338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9"/>
                </a:lnTo>
                <a:lnTo>
                  <a:pt x="5364" y="128966"/>
                </a:lnTo>
                <a:lnTo>
                  <a:pt x="2418" y="143464"/>
                </a:lnTo>
                <a:lnTo>
                  <a:pt x="613" y="158388"/>
                </a:lnTo>
                <a:lnTo>
                  <a:pt x="0" y="173681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9" name="object 24"/>
          <p:cNvSpPr/>
          <p:nvPr/>
        </p:nvSpPr>
        <p:spPr>
          <a:xfrm>
            <a:off x="4487328" y="1162574"/>
            <a:ext cx="320730" cy="34736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ln w="25399">
            <a:solidFill>
              <a:srgbClr val="9E4B45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0" name="object 27"/>
          <p:cNvSpPr/>
          <p:nvPr/>
        </p:nvSpPr>
        <p:spPr>
          <a:xfrm>
            <a:off x="2346246" y="2489821"/>
            <a:ext cx="320729" cy="347361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232" y="183105"/>
                </a:lnTo>
                <a:lnTo>
                  <a:pt x="1582" y="198178"/>
                </a:lnTo>
                <a:lnTo>
                  <a:pt x="4094" y="212847"/>
                </a:lnTo>
                <a:lnTo>
                  <a:pt x="7715" y="227057"/>
                </a:lnTo>
                <a:lnTo>
                  <a:pt x="12394" y="240751"/>
                </a:lnTo>
                <a:lnTo>
                  <a:pt x="18081" y="253876"/>
                </a:lnTo>
                <a:lnTo>
                  <a:pt x="24724" y="266374"/>
                </a:lnTo>
                <a:lnTo>
                  <a:pt x="32271" y="278191"/>
                </a:lnTo>
                <a:lnTo>
                  <a:pt x="40672" y="289272"/>
                </a:lnTo>
                <a:lnTo>
                  <a:pt x="49875" y="299560"/>
                </a:lnTo>
                <a:lnTo>
                  <a:pt x="59829" y="309001"/>
                </a:lnTo>
                <a:lnTo>
                  <a:pt x="70484" y="317539"/>
                </a:lnTo>
                <a:lnTo>
                  <a:pt x="81787" y="325118"/>
                </a:lnTo>
                <a:lnTo>
                  <a:pt x="93688" y="331684"/>
                </a:lnTo>
                <a:lnTo>
                  <a:pt x="106135" y="337180"/>
                </a:lnTo>
                <a:lnTo>
                  <a:pt x="119077" y="341551"/>
                </a:lnTo>
                <a:lnTo>
                  <a:pt x="132464" y="344742"/>
                </a:lnTo>
                <a:lnTo>
                  <a:pt x="146243" y="346697"/>
                </a:lnTo>
                <a:lnTo>
                  <a:pt x="160364" y="347361"/>
                </a:lnTo>
                <a:lnTo>
                  <a:pt x="169068" y="347110"/>
                </a:lnTo>
                <a:lnTo>
                  <a:pt x="182985" y="345646"/>
                </a:lnTo>
                <a:lnTo>
                  <a:pt x="196529" y="342926"/>
                </a:lnTo>
                <a:lnTo>
                  <a:pt x="209649" y="339004"/>
                </a:lnTo>
                <a:lnTo>
                  <a:pt x="222294" y="333936"/>
                </a:lnTo>
                <a:lnTo>
                  <a:pt x="234412" y="327778"/>
                </a:lnTo>
                <a:lnTo>
                  <a:pt x="245952" y="320583"/>
                </a:lnTo>
                <a:lnTo>
                  <a:pt x="256863" y="312409"/>
                </a:lnTo>
                <a:lnTo>
                  <a:pt x="267094" y="303311"/>
                </a:lnTo>
                <a:lnTo>
                  <a:pt x="276593" y="293343"/>
                </a:lnTo>
                <a:lnTo>
                  <a:pt x="285310" y="282562"/>
                </a:lnTo>
                <a:lnTo>
                  <a:pt x="293193" y="271023"/>
                </a:lnTo>
                <a:lnTo>
                  <a:pt x="300192" y="258781"/>
                </a:lnTo>
                <a:lnTo>
                  <a:pt x="306254" y="245892"/>
                </a:lnTo>
                <a:lnTo>
                  <a:pt x="311328" y="232411"/>
                </a:lnTo>
                <a:lnTo>
                  <a:pt x="315364" y="218394"/>
                </a:lnTo>
                <a:lnTo>
                  <a:pt x="318311" y="203896"/>
                </a:lnTo>
                <a:lnTo>
                  <a:pt x="320116" y="188973"/>
                </a:lnTo>
                <a:lnTo>
                  <a:pt x="320729" y="173680"/>
                </a:lnTo>
                <a:lnTo>
                  <a:pt x="320497" y="164254"/>
                </a:lnTo>
                <a:lnTo>
                  <a:pt x="319146" y="149181"/>
                </a:lnTo>
                <a:lnTo>
                  <a:pt x="316635" y="134512"/>
                </a:lnTo>
                <a:lnTo>
                  <a:pt x="313013" y="120303"/>
                </a:lnTo>
                <a:lnTo>
                  <a:pt x="308334" y="106609"/>
                </a:lnTo>
                <a:lnTo>
                  <a:pt x="302647" y="93485"/>
                </a:lnTo>
                <a:lnTo>
                  <a:pt x="296005" y="80986"/>
                </a:lnTo>
                <a:lnTo>
                  <a:pt x="288457" y="69169"/>
                </a:lnTo>
                <a:lnTo>
                  <a:pt x="280056" y="58089"/>
                </a:lnTo>
                <a:lnTo>
                  <a:pt x="270853" y="47800"/>
                </a:lnTo>
                <a:lnTo>
                  <a:pt x="260898" y="38359"/>
                </a:lnTo>
                <a:lnTo>
                  <a:pt x="250244" y="29822"/>
                </a:lnTo>
                <a:lnTo>
                  <a:pt x="238941" y="22242"/>
                </a:lnTo>
                <a:lnTo>
                  <a:pt x="227040" y="15677"/>
                </a:lnTo>
                <a:lnTo>
                  <a:pt x="214593" y="10181"/>
                </a:lnTo>
                <a:lnTo>
                  <a:pt x="201650" y="5810"/>
                </a:lnTo>
                <a:lnTo>
                  <a:pt x="188264" y="2619"/>
                </a:lnTo>
                <a:lnTo>
                  <a:pt x="174484" y="664"/>
                </a:lnTo>
                <a:lnTo>
                  <a:pt x="160364" y="0"/>
                </a:lnTo>
                <a:lnTo>
                  <a:pt x="151662" y="251"/>
                </a:lnTo>
                <a:lnTo>
                  <a:pt x="137744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5" y="13423"/>
                </a:lnTo>
                <a:lnTo>
                  <a:pt x="86317" y="19582"/>
                </a:lnTo>
                <a:lnTo>
                  <a:pt x="74777" y="26776"/>
                </a:lnTo>
                <a:lnTo>
                  <a:pt x="63866" y="34950"/>
                </a:lnTo>
                <a:lnTo>
                  <a:pt x="53635" y="44049"/>
                </a:lnTo>
                <a:lnTo>
                  <a:pt x="44135" y="54016"/>
                </a:lnTo>
                <a:lnTo>
                  <a:pt x="35418" y="64797"/>
                </a:lnTo>
                <a:lnTo>
                  <a:pt x="27535" y="76337"/>
                </a:lnTo>
                <a:lnTo>
                  <a:pt x="20537" y="88578"/>
                </a:lnTo>
                <a:lnTo>
                  <a:pt x="14475" y="101467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1" name="object 8"/>
          <p:cNvSpPr/>
          <p:nvPr/>
        </p:nvSpPr>
        <p:spPr>
          <a:xfrm>
            <a:off x="1786879" y="5254236"/>
            <a:ext cx="320730" cy="347361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ln w="25399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2" name="object 74"/>
          <p:cNvSpPr/>
          <p:nvPr/>
        </p:nvSpPr>
        <p:spPr>
          <a:xfrm>
            <a:off x="286325" y="525423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7F1676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3" name="object 48"/>
          <p:cNvSpPr/>
          <p:nvPr/>
        </p:nvSpPr>
        <p:spPr>
          <a:xfrm>
            <a:off x="1773507" y="525423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4" name="object 26"/>
          <p:cNvSpPr/>
          <p:nvPr/>
        </p:nvSpPr>
        <p:spPr>
          <a:xfrm>
            <a:off x="3485667" y="528769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5" name="object 68"/>
          <p:cNvSpPr/>
          <p:nvPr/>
        </p:nvSpPr>
        <p:spPr>
          <a:xfrm>
            <a:off x="5376346" y="528782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6" name="object 32"/>
          <p:cNvSpPr/>
          <p:nvPr/>
        </p:nvSpPr>
        <p:spPr>
          <a:xfrm>
            <a:off x="7835202" y="528769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094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7" name="object 48"/>
          <p:cNvSpPr/>
          <p:nvPr/>
        </p:nvSpPr>
        <p:spPr>
          <a:xfrm>
            <a:off x="1028194" y="471414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8" name="Freeform 107"/>
          <p:cNvSpPr/>
          <p:nvPr/>
        </p:nvSpPr>
        <p:spPr>
          <a:xfrm flipH="1">
            <a:off x="2514599" y="1304660"/>
            <a:ext cx="1972727" cy="1185159"/>
          </a:xfrm>
          <a:custGeom>
            <a:avLst/>
            <a:gdLst>
              <a:gd name="connsiteX0" fmla="*/ 0 w 571617"/>
              <a:gd name="connsiteY0" fmla="*/ 3770 h 413345"/>
              <a:gd name="connsiteX1" fmla="*/ 0 w 571617"/>
              <a:gd name="connsiteY1" fmla="*/ 3770 h 413345"/>
              <a:gd name="connsiteX2" fmla="*/ 476250 w 571617"/>
              <a:gd name="connsiteY2" fmla="*/ 6945 h 413345"/>
              <a:gd name="connsiteX3" fmla="*/ 571500 w 571617"/>
              <a:gd name="connsiteY3" fmla="*/ 32345 h 413345"/>
              <a:gd name="connsiteX4" fmla="*/ 571500 w 571617"/>
              <a:gd name="connsiteY4" fmla="*/ 413345 h 413345"/>
              <a:gd name="connsiteX0" fmla="*/ 0 w 571500"/>
              <a:gd name="connsiteY0" fmla="*/ 8358 h 417933"/>
              <a:gd name="connsiteX1" fmla="*/ 0 w 571500"/>
              <a:gd name="connsiteY1" fmla="*/ 8358 h 417933"/>
              <a:gd name="connsiteX2" fmla="*/ 476250 w 571500"/>
              <a:gd name="connsiteY2" fmla="*/ 11533 h 417933"/>
              <a:gd name="connsiteX3" fmla="*/ 571500 w 571500"/>
              <a:gd name="connsiteY3" fmla="*/ 36933 h 417933"/>
              <a:gd name="connsiteX4" fmla="*/ 571500 w 571500"/>
              <a:gd name="connsiteY4" fmla="*/ 417933 h 417933"/>
              <a:gd name="connsiteX0" fmla="*/ 0 w 571500"/>
              <a:gd name="connsiteY0" fmla="*/ 0 h 409575"/>
              <a:gd name="connsiteX1" fmla="*/ 0 w 571500"/>
              <a:gd name="connsiteY1" fmla="*/ 0 h 409575"/>
              <a:gd name="connsiteX2" fmla="*/ 571500 w 571500"/>
              <a:gd name="connsiteY2" fmla="*/ 28575 h 409575"/>
              <a:gd name="connsiteX3" fmla="*/ 571500 w 571500"/>
              <a:gd name="connsiteY3" fmla="*/ 409575 h 409575"/>
              <a:gd name="connsiteX0" fmla="*/ 0 w 577850"/>
              <a:gd name="connsiteY0" fmla="*/ 0 h 409575"/>
              <a:gd name="connsiteX1" fmla="*/ 0 w 577850"/>
              <a:gd name="connsiteY1" fmla="*/ 0 h 409575"/>
              <a:gd name="connsiteX2" fmla="*/ 577850 w 577850"/>
              <a:gd name="connsiteY2" fmla="*/ 3175 h 409575"/>
              <a:gd name="connsiteX3" fmla="*/ 571500 w 577850"/>
              <a:gd name="connsiteY3" fmla="*/ 409575 h 4095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77850" h="409575">
                <a:moveTo>
                  <a:pt x="0" y="0"/>
                </a:moveTo>
                <a:lnTo>
                  <a:pt x="0" y="0"/>
                </a:lnTo>
                <a:lnTo>
                  <a:pt x="577850" y="3175"/>
                </a:lnTo>
                <a:lnTo>
                  <a:pt x="571500" y="409575"/>
                </a:lnTo>
              </a:path>
            </a:pathLst>
          </a:custGeom>
          <a:noFill/>
          <a:ln>
            <a:solidFill>
              <a:srgbClr val="6094C9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9" name="Freeform 108"/>
          <p:cNvSpPr/>
          <p:nvPr/>
        </p:nvSpPr>
        <p:spPr>
          <a:xfrm>
            <a:off x="4808059" y="1304660"/>
            <a:ext cx="1862338" cy="2217076"/>
          </a:xfrm>
          <a:custGeom>
            <a:avLst/>
            <a:gdLst>
              <a:gd name="connsiteX0" fmla="*/ 0 w 571617"/>
              <a:gd name="connsiteY0" fmla="*/ 3770 h 413345"/>
              <a:gd name="connsiteX1" fmla="*/ 0 w 571617"/>
              <a:gd name="connsiteY1" fmla="*/ 3770 h 413345"/>
              <a:gd name="connsiteX2" fmla="*/ 476250 w 571617"/>
              <a:gd name="connsiteY2" fmla="*/ 6945 h 413345"/>
              <a:gd name="connsiteX3" fmla="*/ 571500 w 571617"/>
              <a:gd name="connsiteY3" fmla="*/ 32345 h 413345"/>
              <a:gd name="connsiteX4" fmla="*/ 571500 w 571617"/>
              <a:gd name="connsiteY4" fmla="*/ 413345 h 413345"/>
              <a:gd name="connsiteX0" fmla="*/ 0 w 571500"/>
              <a:gd name="connsiteY0" fmla="*/ 8358 h 417933"/>
              <a:gd name="connsiteX1" fmla="*/ 0 w 571500"/>
              <a:gd name="connsiteY1" fmla="*/ 8358 h 417933"/>
              <a:gd name="connsiteX2" fmla="*/ 476250 w 571500"/>
              <a:gd name="connsiteY2" fmla="*/ 11533 h 417933"/>
              <a:gd name="connsiteX3" fmla="*/ 571500 w 571500"/>
              <a:gd name="connsiteY3" fmla="*/ 36933 h 417933"/>
              <a:gd name="connsiteX4" fmla="*/ 571500 w 571500"/>
              <a:gd name="connsiteY4" fmla="*/ 417933 h 417933"/>
              <a:gd name="connsiteX0" fmla="*/ 0 w 571500"/>
              <a:gd name="connsiteY0" fmla="*/ 0 h 409575"/>
              <a:gd name="connsiteX1" fmla="*/ 0 w 571500"/>
              <a:gd name="connsiteY1" fmla="*/ 0 h 409575"/>
              <a:gd name="connsiteX2" fmla="*/ 571500 w 571500"/>
              <a:gd name="connsiteY2" fmla="*/ 28575 h 409575"/>
              <a:gd name="connsiteX3" fmla="*/ 571500 w 571500"/>
              <a:gd name="connsiteY3" fmla="*/ 409575 h 409575"/>
              <a:gd name="connsiteX0" fmla="*/ 0 w 577850"/>
              <a:gd name="connsiteY0" fmla="*/ 0 h 409575"/>
              <a:gd name="connsiteX1" fmla="*/ 0 w 577850"/>
              <a:gd name="connsiteY1" fmla="*/ 0 h 409575"/>
              <a:gd name="connsiteX2" fmla="*/ 577850 w 577850"/>
              <a:gd name="connsiteY2" fmla="*/ 3175 h 409575"/>
              <a:gd name="connsiteX3" fmla="*/ 571500 w 577850"/>
              <a:gd name="connsiteY3" fmla="*/ 409575 h 4095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77850" h="409575">
                <a:moveTo>
                  <a:pt x="0" y="0"/>
                </a:moveTo>
                <a:lnTo>
                  <a:pt x="0" y="0"/>
                </a:lnTo>
                <a:lnTo>
                  <a:pt x="577850" y="3175"/>
                </a:lnTo>
                <a:lnTo>
                  <a:pt x="571500" y="409575"/>
                </a:lnTo>
              </a:path>
            </a:pathLst>
          </a:custGeom>
          <a:noFill/>
          <a:ln>
            <a:solidFill>
              <a:srgbClr val="6094C9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0" name="object 28"/>
          <p:cNvSpPr/>
          <p:nvPr/>
        </p:nvSpPr>
        <p:spPr>
          <a:xfrm>
            <a:off x="2346246" y="2489695"/>
            <a:ext cx="320729" cy="34736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ln w="25399">
            <a:solidFill>
              <a:srgbClr val="9E4B45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1" name="object 68"/>
          <p:cNvSpPr/>
          <p:nvPr/>
        </p:nvSpPr>
        <p:spPr>
          <a:xfrm>
            <a:off x="6466819" y="352173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2" name="object 24"/>
          <p:cNvSpPr/>
          <p:nvPr/>
        </p:nvSpPr>
        <p:spPr>
          <a:xfrm>
            <a:off x="6670396" y="1326011"/>
            <a:ext cx="2006230" cy="174107"/>
          </a:xfrm>
          <a:custGeom>
            <a:avLst/>
            <a:gdLst/>
            <a:ahLst/>
            <a:cxnLst/>
            <a:rect l="l" t="t" r="r" b="b"/>
            <a:pathLst>
              <a:path w="6733304">
                <a:moveTo>
                  <a:pt x="0" y="0"/>
                </a:moveTo>
                <a:lnTo>
                  <a:pt x="6733304" y="0"/>
                </a:lnTo>
              </a:path>
            </a:pathLst>
          </a:custGeom>
          <a:ln w="25399">
            <a:solidFill>
              <a:srgbClr val="937AB1"/>
            </a:solidFill>
            <a:prstDash val="lgDash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833953329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ject 3"/>
          <p:cNvSpPr txBox="1"/>
          <p:nvPr/>
        </p:nvSpPr>
        <p:spPr>
          <a:xfrm>
            <a:off x="604887" y="533891"/>
            <a:ext cx="7709221" cy="3810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3000"/>
              </a:lnSpc>
              <a:spcBef>
                <a:spcPts val="150"/>
              </a:spcBef>
            </a:pPr>
            <a:r>
              <a:rPr sz="4200" b="1" spc="0" baseline="1950" dirty="0" smtClean="0">
                <a:solidFill>
                  <a:srgbClr val="7F7E7E"/>
                </a:solidFill>
                <a:latin typeface="+mj-lt"/>
                <a:cs typeface="Calibri"/>
              </a:rPr>
              <a:t>fr</a:t>
            </a:r>
            <a:r>
              <a:rPr sz="4200" b="1" spc="-4" baseline="1950" dirty="0" smtClean="0">
                <a:solidFill>
                  <a:srgbClr val="7F7E7E"/>
                </a:solidFill>
                <a:latin typeface="+mj-lt"/>
                <a:cs typeface="Calibri"/>
              </a:rPr>
              <a:t>o</a:t>
            </a:r>
            <a:r>
              <a:rPr sz="4200" b="1" spc="0" baseline="1950" dirty="0" smtClean="0">
                <a:solidFill>
                  <a:srgbClr val="7F7E7E"/>
                </a:solidFill>
                <a:latin typeface="+mj-lt"/>
                <a:cs typeface="Calibri"/>
              </a:rPr>
              <a:t>m </a:t>
            </a:r>
            <a:r>
              <a:rPr sz="4200" spc="0" baseline="1950" dirty="0" smtClean="0">
                <a:solidFill>
                  <a:srgbClr val="4E81BC"/>
                </a:solidFill>
                <a:latin typeface="+mj-lt"/>
                <a:cs typeface="Calibri"/>
              </a:rPr>
              <a:t>sklearn.cluster </a:t>
            </a:r>
            <a:r>
              <a:rPr sz="4200" b="1" spc="0" baseline="1950" dirty="0" smtClean="0">
                <a:solidFill>
                  <a:srgbClr val="7F7E7E"/>
                </a:solidFill>
                <a:latin typeface="+mj-lt"/>
                <a:cs typeface="Calibri"/>
              </a:rPr>
              <a:t>impo</a:t>
            </a:r>
            <a:r>
              <a:rPr sz="4200" b="1" spc="4" baseline="1950" dirty="0" smtClean="0">
                <a:solidFill>
                  <a:srgbClr val="7F7E7E"/>
                </a:solidFill>
                <a:latin typeface="+mj-lt"/>
                <a:cs typeface="Calibri"/>
              </a:rPr>
              <a:t>r</a:t>
            </a:r>
            <a:r>
              <a:rPr sz="4200" b="1" spc="0" baseline="1950" dirty="0" smtClean="0">
                <a:solidFill>
                  <a:srgbClr val="7F7E7E"/>
                </a:solidFill>
                <a:latin typeface="+mj-lt"/>
                <a:cs typeface="Calibri"/>
              </a:rPr>
              <a:t>t </a:t>
            </a:r>
            <a:r>
              <a:rPr sz="4200" spc="0" baseline="1950" dirty="0" smtClean="0">
                <a:solidFill>
                  <a:srgbClr val="9BBA58"/>
                </a:solidFill>
                <a:latin typeface="+mj-lt"/>
                <a:cs typeface="Calibri"/>
              </a:rPr>
              <a:t>Agglomera</a:t>
            </a:r>
            <a:r>
              <a:rPr lang="en-US" sz="4200" spc="0" baseline="1950" dirty="0" smtClean="0">
                <a:solidFill>
                  <a:srgbClr val="9BBA58"/>
                </a:solidFill>
                <a:latin typeface="+mj-lt"/>
                <a:cs typeface="Calibri"/>
              </a:rPr>
              <a:t>ti</a:t>
            </a:r>
            <a:r>
              <a:rPr sz="4200" spc="0" baseline="1950" dirty="0" smtClean="0">
                <a:solidFill>
                  <a:srgbClr val="9BBA58"/>
                </a:solidFill>
                <a:latin typeface="+mj-lt"/>
                <a:cs typeface="Calibri"/>
              </a:rPr>
              <a:t>veClustering</a:t>
            </a:r>
            <a:endParaRPr sz="2800" dirty="0">
              <a:latin typeface="+mj-lt"/>
              <a:cs typeface="Calibri"/>
            </a:endParaRPr>
          </a:p>
        </p:txBody>
      </p:sp>
      <p:sp>
        <p:nvSpPr>
          <p:cNvPr id="2" name="object 2"/>
          <p:cNvSpPr txBox="1"/>
          <p:nvPr/>
        </p:nvSpPr>
        <p:spPr>
          <a:xfrm>
            <a:off x="604887" y="2235691"/>
            <a:ext cx="6769887" cy="25146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 marR="53340">
              <a:lnSpc>
                <a:spcPts val="3035"/>
              </a:lnSpc>
              <a:spcBef>
                <a:spcPts val="151"/>
              </a:spcBef>
            </a:pPr>
            <a:r>
              <a:rPr sz="4200" spc="0" baseline="2925" dirty="0" smtClean="0">
                <a:solidFill>
                  <a:srgbClr val="7F7E7E"/>
                </a:solidFill>
                <a:cs typeface="Calibri"/>
              </a:rPr>
              <a:t>Agglomera</a:t>
            </a:r>
            <a:r>
              <a:rPr lang="en-US" sz="4200" spc="0" baseline="2925" dirty="0" smtClean="0">
                <a:solidFill>
                  <a:srgbClr val="7F7E7E"/>
                </a:solidFill>
                <a:cs typeface="Calibri"/>
              </a:rPr>
              <a:t>ti</a:t>
            </a:r>
            <a:r>
              <a:rPr sz="4200" spc="0" baseline="2925" dirty="0" smtClean="0">
                <a:solidFill>
                  <a:srgbClr val="7F7E7E"/>
                </a:solidFill>
                <a:cs typeface="Calibri"/>
              </a:rPr>
              <a:t>veClustering(….,</a:t>
            </a:r>
            <a:endParaRPr sz="2800" dirty="0">
              <a:cs typeface="Calibri"/>
            </a:endParaRPr>
          </a:p>
          <a:p>
            <a:pPr marL="3630929" marR="2635779" algn="ctr">
              <a:lnSpc>
                <a:spcPts val="3400"/>
              </a:lnSpc>
              <a:spcBef>
                <a:spcPts val="18"/>
              </a:spcBef>
            </a:pPr>
            <a:r>
              <a:rPr sz="2800" spc="0" dirty="0" smtClean="0">
                <a:solidFill>
                  <a:srgbClr val="7F7E7E"/>
                </a:solidFill>
                <a:cs typeface="Calibri"/>
              </a:rPr>
              <a:t>….,</a:t>
            </a:r>
            <a:endParaRPr sz="2800" dirty="0">
              <a:cs typeface="Calibri"/>
            </a:endParaRPr>
          </a:p>
          <a:p>
            <a:pPr marL="3670300" marR="53340">
              <a:lnSpc>
                <a:spcPts val="3300"/>
              </a:lnSpc>
            </a:pPr>
            <a:r>
              <a:rPr sz="4200" spc="0" baseline="1950" dirty="0" smtClean="0">
                <a:solidFill>
                  <a:srgbClr val="7F7E7E"/>
                </a:solidFill>
                <a:cs typeface="Calibri"/>
              </a:rPr>
              <a:t>linkage = “ward”,</a:t>
            </a:r>
            <a:endParaRPr sz="2800" dirty="0">
              <a:cs typeface="Calibri"/>
            </a:endParaRPr>
          </a:p>
          <a:p>
            <a:pPr marL="3630929" marR="2635779" algn="ctr">
              <a:lnSpc>
                <a:spcPts val="3400"/>
              </a:lnSpc>
              <a:spcBef>
                <a:spcPts val="5"/>
              </a:spcBef>
            </a:pPr>
            <a:r>
              <a:rPr sz="2800" spc="0" dirty="0" smtClean="0">
                <a:solidFill>
                  <a:srgbClr val="7F7E7E"/>
                </a:solidFill>
                <a:cs typeface="Calibri"/>
              </a:rPr>
              <a:t>….,</a:t>
            </a:r>
            <a:endParaRPr sz="2800" dirty="0">
              <a:cs typeface="Calibri"/>
            </a:endParaRPr>
          </a:p>
          <a:p>
            <a:pPr marL="3670300">
              <a:lnSpc>
                <a:spcPts val="3300"/>
              </a:lnSpc>
            </a:pPr>
            <a:r>
              <a:rPr sz="4200" spc="0" baseline="1950" dirty="0" smtClean="0">
                <a:solidFill>
                  <a:srgbClr val="7F7E7E"/>
                </a:solidFill>
                <a:cs typeface="Calibri"/>
              </a:rPr>
              <a:t>aﬃnity = “euclidian”,</a:t>
            </a:r>
            <a:endParaRPr sz="2800" dirty="0">
              <a:cs typeface="Calibri"/>
            </a:endParaRPr>
          </a:p>
          <a:p>
            <a:pPr marL="3630929" marR="2616680" algn="ctr">
              <a:lnSpc>
                <a:spcPts val="3365"/>
              </a:lnSpc>
              <a:spcBef>
                <a:spcPts val="3"/>
              </a:spcBef>
            </a:pPr>
            <a:r>
              <a:rPr sz="2800" spc="0" dirty="0" smtClean="0">
                <a:solidFill>
                  <a:srgbClr val="7F7E7E"/>
                </a:solidFill>
                <a:cs typeface="Calibri"/>
              </a:rPr>
              <a:t>….)</a:t>
            </a:r>
            <a:endParaRPr sz="2800" dirty="0">
              <a:cs typeface="Calibri"/>
            </a:endParaRPr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3" name="object 84"/>
          <p:cNvSpPr/>
          <p:nvPr/>
        </p:nvSpPr>
        <p:spPr>
          <a:xfrm>
            <a:off x="4414372" y="54871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34" name="object 86"/>
          <p:cNvSpPr/>
          <p:nvPr/>
        </p:nvSpPr>
        <p:spPr>
          <a:xfrm>
            <a:off x="5399747" y="55212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35" name="object 88"/>
          <p:cNvSpPr/>
          <p:nvPr/>
        </p:nvSpPr>
        <p:spPr>
          <a:xfrm>
            <a:off x="6251551" y="55023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36" name="object 76"/>
          <p:cNvSpPr/>
          <p:nvPr/>
        </p:nvSpPr>
        <p:spPr>
          <a:xfrm>
            <a:off x="2668469" y="519520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37" name="object 73"/>
          <p:cNvSpPr/>
          <p:nvPr/>
        </p:nvSpPr>
        <p:spPr>
          <a:xfrm>
            <a:off x="5959366" y="251737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1"/>
                </a:moveTo>
                <a:lnTo>
                  <a:pt x="232" y="183108"/>
                </a:lnTo>
                <a:lnTo>
                  <a:pt x="1583" y="198180"/>
                </a:lnTo>
                <a:lnTo>
                  <a:pt x="4094" y="212849"/>
                </a:lnTo>
                <a:lnTo>
                  <a:pt x="7715" y="227058"/>
                </a:lnTo>
                <a:lnTo>
                  <a:pt x="12395" y="240753"/>
                </a:lnTo>
                <a:lnTo>
                  <a:pt x="18082" y="253877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3"/>
                </a:lnTo>
                <a:lnTo>
                  <a:pt x="49876" y="299561"/>
                </a:lnTo>
                <a:lnTo>
                  <a:pt x="59830" y="309002"/>
                </a:lnTo>
                <a:lnTo>
                  <a:pt x="70485" y="317540"/>
                </a:lnTo>
                <a:lnTo>
                  <a:pt x="81788" y="325119"/>
                </a:lnTo>
                <a:lnTo>
                  <a:pt x="93689" y="331685"/>
                </a:lnTo>
                <a:lnTo>
                  <a:pt x="106136" y="337181"/>
                </a:lnTo>
                <a:lnTo>
                  <a:pt x="119079" y="341552"/>
                </a:lnTo>
                <a:lnTo>
                  <a:pt x="132465" y="344743"/>
                </a:lnTo>
                <a:lnTo>
                  <a:pt x="146244" y="346698"/>
                </a:lnTo>
                <a:lnTo>
                  <a:pt x="160365" y="347362"/>
                </a:lnTo>
                <a:lnTo>
                  <a:pt x="169068" y="347111"/>
                </a:lnTo>
                <a:lnTo>
                  <a:pt x="182985" y="345648"/>
                </a:lnTo>
                <a:lnTo>
                  <a:pt x="196529" y="342928"/>
                </a:lnTo>
                <a:lnTo>
                  <a:pt x="209649" y="339006"/>
                </a:lnTo>
                <a:lnTo>
                  <a:pt x="222294" y="333938"/>
                </a:lnTo>
                <a:lnTo>
                  <a:pt x="234412" y="327779"/>
                </a:lnTo>
                <a:lnTo>
                  <a:pt x="245952" y="320585"/>
                </a:lnTo>
                <a:lnTo>
                  <a:pt x="256863" y="312411"/>
                </a:lnTo>
                <a:lnTo>
                  <a:pt x="267094" y="303312"/>
                </a:lnTo>
                <a:lnTo>
                  <a:pt x="276594" y="293344"/>
                </a:lnTo>
                <a:lnTo>
                  <a:pt x="285311" y="282563"/>
                </a:lnTo>
                <a:lnTo>
                  <a:pt x="293194" y="271024"/>
                </a:lnTo>
                <a:lnTo>
                  <a:pt x="300192" y="258782"/>
                </a:lnTo>
                <a:lnTo>
                  <a:pt x="306254" y="245893"/>
                </a:lnTo>
                <a:lnTo>
                  <a:pt x="311328" y="232412"/>
                </a:lnTo>
                <a:lnTo>
                  <a:pt x="315364" y="218395"/>
                </a:lnTo>
                <a:lnTo>
                  <a:pt x="318311" y="203897"/>
                </a:lnTo>
                <a:lnTo>
                  <a:pt x="320116" y="188974"/>
                </a:lnTo>
                <a:lnTo>
                  <a:pt x="320729" y="173681"/>
                </a:lnTo>
                <a:lnTo>
                  <a:pt x="320497" y="164255"/>
                </a:lnTo>
                <a:lnTo>
                  <a:pt x="319146" y="149182"/>
                </a:lnTo>
                <a:lnTo>
                  <a:pt x="316635" y="134513"/>
                </a:lnTo>
                <a:lnTo>
                  <a:pt x="313014" y="120304"/>
                </a:lnTo>
                <a:lnTo>
                  <a:pt x="308334" y="106609"/>
                </a:lnTo>
                <a:lnTo>
                  <a:pt x="302648" y="93485"/>
                </a:lnTo>
                <a:lnTo>
                  <a:pt x="296005" y="80986"/>
                </a:lnTo>
                <a:lnTo>
                  <a:pt x="288458" y="69169"/>
                </a:lnTo>
                <a:lnTo>
                  <a:pt x="280057" y="58089"/>
                </a:lnTo>
                <a:lnTo>
                  <a:pt x="270854" y="47800"/>
                </a:lnTo>
                <a:lnTo>
                  <a:pt x="260899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1" y="251"/>
                </a:lnTo>
                <a:lnTo>
                  <a:pt x="137744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5" y="13424"/>
                </a:lnTo>
                <a:lnTo>
                  <a:pt x="86317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50"/>
                </a:lnTo>
                <a:lnTo>
                  <a:pt x="44135" y="54017"/>
                </a:lnTo>
                <a:lnTo>
                  <a:pt x="35418" y="64798"/>
                </a:lnTo>
                <a:lnTo>
                  <a:pt x="27535" y="76338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9"/>
                </a:lnTo>
                <a:lnTo>
                  <a:pt x="5364" y="128966"/>
                </a:lnTo>
                <a:lnTo>
                  <a:pt x="2418" y="143464"/>
                </a:lnTo>
                <a:lnTo>
                  <a:pt x="613" y="158388"/>
                </a:lnTo>
                <a:lnTo>
                  <a:pt x="0" y="173681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38" name="object 72"/>
          <p:cNvSpPr/>
          <p:nvPr/>
        </p:nvSpPr>
        <p:spPr>
          <a:xfrm>
            <a:off x="5560113" y="213564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39" name="object 70"/>
          <p:cNvSpPr/>
          <p:nvPr/>
        </p:nvSpPr>
        <p:spPr>
          <a:xfrm>
            <a:off x="5148028" y="1723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40" name="object 68"/>
          <p:cNvSpPr/>
          <p:nvPr/>
        </p:nvSpPr>
        <p:spPr>
          <a:xfrm>
            <a:off x="6872003" y="34121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41" name="object 66"/>
          <p:cNvSpPr/>
          <p:nvPr/>
        </p:nvSpPr>
        <p:spPr>
          <a:xfrm>
            <a:off x="5880841" y="502152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42" name="object 62"/>
          <p:cNvSpPr/>
          <p:nvPr/>
        </p:nvSpPr>
        <p:spPr>
          <a:xfrm>
            <a:off x="4326962" y="34938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44" name="object 58"/>
          <p:cNvSpPr/>
          <p:nvPr/>
        </p:nvSpPr>
        <p:spPr>
          <a:xfrm>
            <a:off x="7513462" y="204543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45" name="object 56"/>
          <p:cNvSpPr/>
          <p:nvPr/>
        </p:nvSpPr>
        <p:spPr>
          <a:xfrm>
            <a:off x="6553321" y="196196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46" name="object 54"/>
          <p:cNvSpPr/>
          <p:nvPr/>
        </p:nvSpPr>
        <p:spPr>
          <a:xfrm>
            <a:off x="7353097" y="275391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47" name="object 52"/>
          <p:cNvSpPr/>
          <p:nvPr/>
        </p:nvSpPr>
        <p:spPr>
          <a:xfrm>
            <a:off x="4696124" y="412086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48" name="object 50"/>
          <p:cNvSpPr/>
          <p:nvPr/>
        </p:nvSpPr>
        <p:spPr>
          <a:xfrm>
            <a:off x="4441297" y="46123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49" name="object 48"/>
          <p:cNvSpPr/>
          <p:nvPr/>
        </p:nvSpPr>
        <p:spPr>
          <a:xfrm>
            <a:off x="3130532" y="40499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50" name="object 42"/>
          <p:cNvSpPr/>
          <p:nvPr/>
        </p:nvSpPr>
        <p:spPr>
          <a:xfrm>
            <a:off x="5748103" y="33118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51" name="object 44"/>
          <p:cNvSpPr/>
          <p:nvPr/>
        </p:nvSpPr>
        <p:spPr>
          <a:xfrm>
            <a:off x="5560113" y="25802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52" name="object 46"/>
          <p:cNvSpPr/>
          <p:nvPr/>
        </p:nvSpPr>
        <p:spPr>
          <a:xfrm>
            <a:off x="5421508" y="296447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53" name="object 40"/>
          <p:cNvSpPr/>
          <p:nvPr/>
        </p:nvSpPr>
        <p:spPr>
          <a:xfrm>
            <a:off x="5213120" y="49216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54" name="object 38"/>
          <p:cNvSpPr/>
          <p:nvPr/>
        </p:nvSpPr>
        <p:spPr>
          <a:xfrm>
            <a:off x="7032365" y="221911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55" name="object 36"/>
          <p:cNvSpPr/>
          <p:nvPr/>
        </p:nvSpPr>
        <p:spPr>
          <a:xfrm>
            <a:off x="7385165" y="340218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6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7"/>
                </a:lnTo>
                <a:lnTo>
                  <a:pt x="310251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56" name="object 34"/>
          <p:cNvSpPr/>
          <p:nvPr/>
        </p:nvSpPr>
        <p:spPr>
          <a:xfrm>
            <a:off x="5038354" y="24830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57" name="object 32"/>
          <p:cNvSpPr/>
          <p:nvPr/>
        </p:nvSpPr>
        <p:spPr>
          <a:xfrm>
            <a:off x="7192732" y="159327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58" name="object 28"/>
          <p:cNvSpPr/>
          <p:nvPr/>
        </p:nvSpPr>
        <p:spPr>
          <a:xfrm>
            <a:off x="6201572" y="316997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59" name="object 26"/>
          <p:cNvSpPr/>
          <p:nvPr/>
        </p:nvSpPr>
        <p:spPr>
          <a:xfrm>
            <a:off x="4877989" y="532865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60" name="object 24"/>
          <p:cNvSpPr/>
          <p:nvPr/>
        </p:nvSpPr>
        <p:spPr>
          <a:xfrm>
            <a:off x="5581873" y="4521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61" name="object 22"/>
          <p:cNvSpPr/>
          <p:nvPr/>
        </p:nvSpPr>
        <p:spPr>
          <a:xfrm>
            <a:off x="3528670" y="35173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62" name="object 20"/>
          <p:cNvSpPr/>
          <p:nvPr/>
        </p:nvSpPr>
        <p:spPr>
          <a:xfrm>
            <a:off x="3252845" y="520650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63" name="object 18"/>
          <p:cNvSpPr/>
          <p:nvPr/>
        </p:nvSpPr>
        <p:spPr>
          <a:xfrm>
            <a:off x="3849401" y="4051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64" name="object 16"/>
          <p:cNvSpPr/>
          <p:nvPr/>
        </p:nvSpPr>
        <p:spPr>
          <a:xfrm>
            <a:off x="6713687" y="269105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2" name="object 22"/>
          <p:cNvSpPr/>
          <p:nvPr/>
        </p:nvSpPr>
        <p:spPr>
          <a:xfrm>
            <a:off x="3973047" y="4421492"/>
            <a:ext cx="394167" cy="381727"/>
          </a:xfrm>
          <a:custGeom>
            <a:avLst/>
            <a:gdLst/>
            <a:ahLst/>
            <a:cxnLst/>
            <a:rect l="l" t="t" r="r" b="b"/>
            <a:pathLst>
              <a:path w="394167" h="381727">
                <a:moveTo>
                  <a:pt x="0" y="0"/>
                </a:moveTo>
                <a:lnTo>
                  <a:pt x="394167" y="0"/>
                </a:lnTo>
                <a:lnTo>
                  <a:pt x="394167" y="381727"/>
                </a:lnTo>
                <a:lnTo>
                  <a:pt x="0" y="381727"/>
                </a:lnTo>
                <a:lnTo>
                  <a:pt x="0" y="0"/>
                </a:lnTo>
                <a:close/>
              </a:path>
            </a:pathLst>
          </a:custGeom>
          <a:solidFill>
            <a:srgbClr val="AAC56C"/>
          </a:solidFill>
          <a:ln w="57150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" name="object 6"/>
          <p:cNvSpPr txBox="1"/>
          <p:nvPr/>
        </p:nvSpPr>
        <p:spPr>
          <a:xfrm>
            <a:off x="1332125" y="3759280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sp>
        <p:nvSpPr>
          <p:cNvPr id="5" name="object 5"/>
          <p:cNvSpPr txBox="1"/>
          <p:nvPr/>
        </p:nvSpPr>
        <p:spPr>
          <a:xfrm>
            <a:off x="5426815" y="6116930"/>
            <a:ext cx="542241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Age</a:t>
            </a:r>
            <a:endParaRPr sz="2400">
              <a:cs typeface="Calibri"/>
            </a:endParaRPr>
          </a:p>
        </p:txBody>
      </p:sp>
      <p:sp>
        <p:nvSpPr>
          <p:cNvPr id="4" name="object 4"/>
          <p:cNvSpPr txBox="1"/>
          <p:nvPr/>
        </p:nvSpPr>
        <p:spPr>
          <a:xfrm>
            <a:off x="2343901" y="1923700"/>
            <a:ext cx="6303362" cy="405467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3" name="object 3"/>
          <p:cNvSpPr txBox="1"/>
          <p:nvPr/>
        </p:nvSpPr>
        <p:spPr>
          <a:xfrm>
            <a:off x="3973047" y="4421492"/>
            <a:ext cx="394167" cy="38172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2" name="object 2"/>
          <p:cNvSpPr txBox="1"/>
          <p:nvPr/>
        </p:nvSpPr>
        <p:spPr>
          <a:xfrm>
            <a:off x="6375198" y="2581199"/>
            <a:ext cx="394168" cy="38172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grpSp>
        <p:nvGrpSpPr>
          <p:cNvPr id="89" name="Group 88"/>
          <p:cNvGrpSpPr/>
          <p:nvPr/>
        </p:nvGrpSpPr>
        <p:grpSpPr>
          <a:xfrm>
            <a:off x="2383438" y="1888930"/>
            <a:ext cx="6303362" cy="4054670"/>
            <a:chOff x="2343901" y="1923700"/>
            <a:chExt cx="6303362" cy="4054670"/>
          </a:xfrm>
        </p:grpSpPr>
        <p:sp>
          <p:nvSpPr>
            <p:cNvPr id="90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91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  <p:sp>
        <p:nvSpPr>
          <p:cNvPr id="18" name="object 18"/>
          <p:cNvSpPr/>
          <p:nvPr/>
        </p:nvSpPr>
        <p:spPr>
          <a:xfrm>
            <a:off x="6375198" y="2581199"/>
            <a:ext cx="394168" cy="381727"/>
          </a:xfrm>
          <a:custGeom>
            <a:avLst/>
            <a:gdLst/>
            <a:ahLst/>
            <a:cxnLst/>
            <a:rect l="l" t="t" r="r" b="b"/>
            <a:pathLst>
              <a:path w="394168" h="381727">
                <a:moveTo>
                  <a:pt x="0" y="0"/>
                </a:moveTo>
                <a:lnTo>
                  <a:pt x="394168" y="0"/>
                </a:lnTo>
                <a:lnTo>
                  <a:pt x="394168" y="381727"/>
                </a:lnTo>
                <a:lnTo>
                  <a:pt x="0" y="381727"/>
                </a:lnTo>
                <a:lnTo>
                  <a:pt x="0" y="0"/>
                </a:lnTo>
                <a:close/>
              </a:path>
            </a:pathLst>
          </a:custGeom>
          <a:solidFill>
            <a:srgbClr val="59BAD1"/>
          </a:solidFill>
          <a:ln w="57150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66" name="object 60"/>
          <p:cNvSpPr/>
          <p:nvPr/>
        </p:nvSpPr>
        <p:spPr>
          <a:xfrm>
            <a:off x="3451263" y="457102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2" name="object 14"/>
          <p:cNvSpPr txBox="1"/>
          <p:nvPr/>
        </p:nvSpPr>
        <p:spPr>
          <a:xfrm>
            <a:off x="2101916" y="369650"/>
            <a:ext cx="6584884" cy="4318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3400"/>
              </a:lnSpc>
              <a:spcBef>
                <a:spcPts val="170"/>
              </a:spcBef>
            </a:pPr>
            <a:r>
              <a:rPr sz="4800" baseline="1706" dirty="0" smtClean="0">
                <a:solidFill>
                  <a:srgbClr val="4E81BC"/>
                </a:solidFill>
                <a:cs typeface="Calibri"/>
              </a:rPr>
              <a:t>K-­Means </a:t>
            </a:r>
            <a:r>
              <a:rPr sz="4800" spc="0" baseline="1706" dirty="0" smtClean="0">
                <a:solidFill>
                  <a:srgbClr val="F69545"/>
                </a:solidFill>
                <a:cs typeface="Calibri"/>
              </a:rPr>
              <a:t>K=2</a:t>
            </a:r>
            <a:endParaRPr sz="3200" dirty="0">
              <a:cs typeface="Calibri"/>
            </a:endParaRPr>
          </a:p>
        </p:txBody>
      </p:sp>
      <p:sp>
        <p:nvSpPr>
          <p:cNvPr id="53" name="object 13"/>
          <p:cNvSpPr txBox="1"/>
          <p:nvPr/>
        </p:nvSpPr>
        <p:spPr>
          <a:xfrm>
            <a:off x="2101916" y="852250"/>
            <a:ext cx="6661084" cy="4318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3400"/>
              </a:lnSpc>
              <a:spcBef>
                <a:spcPts val="170"/>
              </a:spcBef>
            </a:pPr>
            <a:r>
              <a:rPr sz="4800" spc="0" baseline="1706" dirty="0" smtClean="0">
                <a:solidFill>
                  <a:srgbClr val="7F7E7E"/>
                </a:solidFill>
                <a:cs typeface="Calibri"/>
              </a:rPr>
              <a:t>Move</a:t>
            </a:r>
            <a:r>
              <a:rPr lang="en-US" sz="4800" spc="0" baseline="1706" dirty="0" smtClean="0">
                <a:solidFill>
                  <a:srgbClr val="7F7E7E"/>
                </a:solidFill>
                <a:cs typeface="Calibri"/>
              </a:rPr>
              <a:t> each center to the cluster’s </a:t>
            </a:r>
            <a:r>
              <a:rPr lang="en-US" sz="4800" baseline="1706" dirty="0" smtClean="0">
                <a:solidFill>
                  <a:srgbClr val="7F7E7E"/>
                </a:solidFill>
                <a:cs typeface="Calibri"/>
              </a:rPr>
              <a:t>mean</a:t>
            </a:r>
            <a:endParaRPr sz="3200" dirty="0"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671142097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ject 3"/>
          <p:cNvSpPr txBox="1"/>
          <p:nvPr/>
        </p:nvSpPr>
        <p:spPr>
          <a:xfrm>
            <a:off x="604887" y="533891"/>
            <a:ext cx="7709221" cy="3810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3000"/>
              </a:lnSpc>
              <a:spcBef>
                <a:spcPts val="150"/>
              </a:spcBef>
            </a:pPr>
            <a:r>
              <a:rPr sz="4200" b="1" spc="0" baseline="1950" dirty="0" smtClean="0">
                <a:solidFill>
                  <a:srgbClr val="7F7E7E"/>
                </a:solidFill>
                <a:latin typeface="+mj-lt"/>
                <a:cs typeface="Calibri"/>
              </a:rPr>
              <a:t>fr</a:t>
            </a:r>
            <a:r>
              <a:rPr sz="4200" b="1" spc="-4" baseline="1950" dirty="0" smtClean="0">
                <a:solidFill>
                  <a:srgbClr val="7F7E7E"/>
                </a:solidFill>
                <a:latin typeface="+mj-lt"/>
                <a:cs typeface="Calibri"/>
              </a:rPr>
              <a:t>o</a:t>
            </a:r>
            <a:r>
              <a:rPr sz="4200" b="1" spc="0" baseline="1950" dirty="0" smtClean="0">
                <a:solidFill>
                  <a:srgbClr val="7F7E7E"/>
                </a:solidFill>
                <a:latin typeface="+mj-lt"/>
                <a:cs typeface="Calibri"/>
              </a:rPr>
              <a:t>m </a:t>
            </a:r>
            <a:r>
              <a:rPr sz="4200" spc="0" baseline="1950" dirty="0" smtClean="0">
                <a:solidFill>
                  <a:srgbClr val="4E81BC"/>
                </a:solidFill>
                <a:latin typeface="+mj-lt"/>
                <a:cs typeface="Calibri"/>
              </a:rPr>
              <a:t>sklearn.cluster </a:t>
            </a:r>
            <a:r>
              <a:rPr sz="4200" b="1" spc="0" baseline="1950" dirty="0" smtClean="0">
                <a:solidFill>
                  <a:srgbClr val="7F7E7E"/>
                </a:solidFill>
                <a:latin typeface="+mj-lt"/>
                <a:cs typeface="Calibri"/>
              </a:rPr>
              <a:t>impo</a:t>
            </a:r>
            <a:r>
              <a:rPr sz="4200" b="1" spc="4" baseline="1950" dirty="0" smtClean="0">
                <a:solidFill>
                  <a:srgbClr val="7F7E7E"/>
                </a:solidFill>
                <a:latin typeface="+mj-lt"/>
                <a:cs typeface="Calibri"/>
              </a:rPr>
              <a:t>r</a:t>
            </a:r>
            <a:r>
              <a:rPr sz="4200" b="1" spc="0" baseline="1950" dirty="0" smtClean="0">
                <a:solidFill>
                  <a:srgbClr val="7F7E7E"/>
                </a:solidFill>
                <a:latin typeface="+mj-lt"/>
                <a:cs typeface="Calibri"/>
              </a:rPr>
              <a:t>t </a:t>
            </a:r>
            <a:r>
              <a:rPr sz="4200" spc="0" baseline="1950" dirty="0" smtClean="0">
                <a:solidFill>
                  <a:srgbClr val="9BBA58"/>
                </a:solidFill>
                <a:latin typeface="+mj-lt"/>
                <a:cs typeface="Calibri"/>
              </a:rPr>
              <a:t>Agglomera</a:t>
            </a:r>
            <a:r>
              <a:rPr lang="en-US" sz="4200" baseline="1950" dirty="0" smtClean="0">
                <a:solidFill>
                  <a:srgbClr val="9BBA58"/>
                </a:solidFill>
                <a:latin typeface="+mj-lt"/>
                <a:cs typeface="Calibri"/>
              </a:rPr>
              <a:t>tive</a:t>
            </a:r>
            <a:r>
              <a:rPr sz="4200" spc="0" baseline="1950" dirty="0" smtClean="0">
                <a:solidFill>
                  <a:srgbClr val="9BBA58"/>
                </a:solidFill>
                <a:latin typeface="+mj-lt"/>
                <a:cs typeface="Calibri"/>
              </a:rPr>
              <a:t>Clustering</a:t>
            </a:r>
            <a:endParaRPr sz="2800" dirty="0">
              <a:latin typeface="+mj-lt"/>
              <a:cs typeface="Calibri"/>
            </a:endParaRPr>
          </a:p>
        </p:txBody>
      </p:sp>
      <p:sp>
        <p:nvSpPr>
          <p:cNvPr id="2" name="object 2"/>
          <p:cNvSpPr txBox="1"/>
          <p:nvPr/>
        </p:nvSpPr>
        <p:spPr>
          <a:xfrm>
            <a:off x="604887" y="2235691"/>
            <a:ext cx="7853313" cy="25146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 marR="53340">
              <a:lnSpc>
                <a:spcPts val="3035"/>
              </a:lnSpc>
              <a:spcBef>
                <a:spcPts val="151"/>
              </a:spcBef>
            </a:pPr>
            <a:r>
              <a:rPr sz="3800" spc="0" baseline="2925" dirty="0" smtClean="0">
                <a:solidFill>
                  <a:srgbClr val="7F7E7E"/>
                </a:solidFill>
                <a:cs typeface="Calibri"/>
              </a:rPr>
              <a:t>Agglomera</a:t>
            </a:r>
            <a:r>
              <a:rPr lang="en-US" sz="3800" spc="0" baseline="2925" dirty="0" smtClean="0">
                <a:solidFill>
                  <a:srgbClr val="7F7E7E"/>
                </a:solidFill>
                <a:cs typeface="Calibri"/>
              </a:rPr>
              <a:t>ti</a:t>
            </a:r>
            <a:r>
              <a:rPr sz="3800" spc="0" baseline="2925" dirty="0" smtClean="0">
                <a:solidFill>
                  <a:srgbClr val="7F7E7E"/>
                </a:solidFill>
                <a:cs typeface="Calibri"/>
              </a:rPr>
              <a:t>veClustering(….,</a:t>
            </a:r>
            <a:endParaRPr sz="3800" dirty="0">
              <a:cs typeface="Calibri"/>
            </a:endParaRPr>
          </a:p>
          <a:p>
            <a:pPr marL="3630929" marR="2635779" algn="ctr">
              <a:lnSpc>
                <a:spcPts val="3400"/>
              </a:lnSpc>
              <a:spcBef>
                <a:spcPts val="18"/>
              </a:spcBef>
            </a:pPr>
            <a:r>
              <a:rPr sz="3800" spc="0" dirty="0" smtClean="0">
                <a:solidFill>
                  <a:srgbClr val="7F7E7E"/>
                </a:solidFill>
                <a:cs typeface="Calibri"/>
              </a:rPr>
              <a:t>….,</a:t>
            </a:r>
            <a:endParaRPr sz="3800" dirty="0">
              <a:cs typeface="Calibri"/>
            </a:endParaRPr>
          </a:p>
          <a:p>
            <a:pPr marL="3670300" marR="53340">
              <a:lnSpc>
                <a:spcPts val="3300"/>
              </a:lnSpc>
            </a:pPr>
            <a:r>
              <a:rPr sz="3800" spc="0" baseline="1950" dirty="0" smtClean="0">
                <a:solidFill>
                  <a:srgbClr val="F69545"/>
                </a:solidFill>
                <a:cs typeface="Calibri"/>
              </a:rPr>
              <a:t>linkage = “ward”</a:t>
            </a:r>
            <a:r>
              <a:rPr sz="3800" spc="0" baseline="1950" dirty="0" smtClean="0">
                <a:solidFill>
                  <a:srgbClr val="7F7E7E"/>
                </a:solidFill>
                <a:cs typeface="Calibri"/>
              </a:rPr>
              <a:t>,</a:t>
            </a:r>
            <a:endParaRPr sz="3800" dirty="0">
              <a:cs typeface="Calibri"/>
            </a:endParaRPr>
          </a:p>
          <a:p>
            <a:pPr marL="3630929" marR="2635779" algn="ctr">
              <a:lnSpc>
                <a:spcPts val="3400"/>
              </a:lnSpc>
              <a:spcBef>
                <a:spcPts val="5"/>
              </a:spcBef>
            </a:pPr>
            <a:r>
              <a:rPr sz="3800" spc="0" dirty="0" smtClean="0">
                <a:solidFill>
                  <a:srgbClr val="7F7E7E"/>
                </a:solidFill>
                <a:cs typeface="Calibri"/>
              </a:rPr>
              <a:t>….,</a:t>
            </a:r>
            <a:endParaRPr sz="3800" dirty="0">
              <a:cs typeface="Calibri"/>
            </a:endParaRPr>
          </a:p>
          <a:p>
            <a:pPr marL="3670300">
              <a:lnSpc>
                <a:spcPts val="3300"/>
              </a:lnSpc>
            </a:pPr>
            <a:r>
              <a:rPr sz="3800" spc="0" baseline="1950" dirty="0" smtClean="0">
                <a:solidFill>
                  <a:srgbClr val="7F7E7E"/>
                </a:solidFill>
                <a:cs typeface="Calibri"/>
              </a:rPr>
              <a:t>aﬃnity = “euclidian”,</a:t>
            </a:r>
            <a:endParaRPr sz="3800" dirty="0">
              <a:cs typeface="Calibri"/>
            </a:endParaRPr>
          </a:p>
          <a:p>
            <a:pPr marL="3630929" marR="2616680" algn="ctr">
              <a:lnSpc>
                <a:spcPts val="3365"/>
              </a:lnSpc>
              <a:spcBef>
                <a:spcPts val="3"/>
              </a:spcBef>
            </a:pPr>
            <a:r>
              <a:rPr sz="3800" spc="0" dirty="0" smtClean="0">
                <a:solidFill>
                  <a:srgbClr val="7F7E7E"/>
                </a:solidFill>
                <a:cs typeface="Calibri"/>
              </a:rPr>
              <a:t>….)</a:t>
            </a:r>
            <a:endParaRPr sz="3800" dirty="0">
              <a:cs typeface="Calibri"/>
            </a:endParaRPr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ject 3"/>
          <p:cNvSpPr txBox="1"/>
          <p:nvPr/>
        </p:nvSpPr>
        <p:spPr>
          <a:xfrm>
            <a:off x="604886" y="533891"/>
            <a:ext cx="7853314" cy="3810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3000"/>
              </a:lnSpc>
              <a:spcBef>
                <a:spcPts val="150"/>
              </a:spcBef>
            </a:pPr>
            <a:r>
              <a:rPr sz="4200" spc="0" baseline="1950" dirty="0" smtClean="0">
                <a:solidFill>
                  <a:srgbClr val="9BBA58"/>
                </a:solidFill>
                <a:latin typeface="+mj-lt"/>
                <a:cs typeface="Calibri"/>
              </a:rPr>
              <a:t>Agglomera</a:t>
            </a:r>
            <a:r>
              <a:rPr lang="en-US" sz="4200" spc="0" baseline="1950" dirty="0" smtClean="0">
                <a:solidFill>
                  <a:srgbClr val="9BBA58"/>
                </a:solidFill>
                <a:latin typeface="+mj-lt"/>
                <a:cs typeface="Calibri"/>
              </a:rPr>
              <a:t>ti</a:t>
            </a:r>
            <a:r>
              <a:rPr sz="4200" spc="0" baseline="1950" dirty="0" smtClean="0">
                <a:solidFill>
                  <a:srgbClr val="9BBA58"/>
                </a:solidFill>
                <a:latin typeface="+mj-lt"/>
                <a:cs typeface="Calibri"/>
              </a:rPr>
              <a:t>ve</a:t>
            </a:r>
            <a:r>
              <a:rPr sz="4200" spc="-217" baseline="1950" dirty="0" smtClean="0">
                <a:solidFill>
                  <a:srgbClr val="9BBA58"/>
                </a:solidFill>
                <a:latin typeface="+mj-lt"/>
                <a:cs typeface="Calibri"/>
              </a:rPr>
              <a:t> </a:t>
            </a:r>
            <a:r>
              <a:rPr sz="4200" spc="0" baseline="1950" dirty="0" smtClean="0">
                <a:solidFill>
                  <a:srgbClr val="9BBA58"/>
                </a:solidFill>
                <a:latin typeface="+mj-lt"/>
                <a:cs typeface="Calibri"/>
              </a:rPr>
              <a:t>Clustering</a:t>
            </a:r>
            <a:r>
              <a:rPr lang="en-US" sz="4200" spc="0" baseline="1950" dirty="0" smtClean="0">
                <a:solidFill>
                  <a:srgbClr val="9BBA58"/>
                </a:solidFill>
                <a:latin typeface="+mj-lt"/>
                <a:cs typeface="Calibri"/>
              </a:rPr>
              <a:t> </a:t>
            </a:r>
            <a:r>
              <a:rPr lang="en-US" sz="4200" baseline="2925" dirty="0">
                <a:solidFill>
                  <a:srgbClr val="F69545"/>
                </a:solidFill>
                <a:latin typeface="+mj-lt"/>
                <a:cs typeface="Calibri"/>
              </a:rPr>
              <a:t>linkage</a:t>
            </a:r>
            <a:endParaRPr sz="2800" dirty="0">
              <a:latin typeface="+mj-lt"/>
              <a:cs typeface="Calibri"/>
            </a:endParaRPr>
          </a:p>
        </p:txBody>
      </p:sp>
      <p:sp>
        <p:nvSpPr>
          <p:cNvPr id="2" name="object 2"/>
          <p:cNvSpPr txBox="1"/>
          <p:nvPr/>
        </p:nvSpPr>
        <p:spPr>
          <a:xfrm>
            <a:off x="4191000" y="914891"/>
            <a:ext cx="4177790" cy="76815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 indent="66662">
              <a:lnSpc>
                <a:spcPct val="104166"/>
              </a:lnSpc>
              <a:spcBef>
                <a:spcPts val="108"/>
              </a:spcBef>
            </a:pPr>
            <a:r>
              <a:rPr sz="2400" spc="0" dirty="0" smtClean="0">
                <a:solidFill>
                  <a:srgbClr val="7F7E7E"/>
                </a:solidFill>
                <a:latin typeface="Calibri"/>
                <a:cs typeface="Calibri"/>
              </a:rPr>
              <a:t>Which clusters to merge next. Deﬁni</a:t>
            </a:r>
            <a:r>
              <a:rPr lang="en-US" sz="2400" spc="0" dirty="0" smtClean="0">
                <a:solidFill>
                  <a:srgbClr val="7F7E7E"/>
                </a:solidFill>
                <a:latin typeface="Calibri"/>
                <a:cs typeface="Calibri"/>
              </a:rPr>
              <a:t>ti</a:t>
            </a:r>
            <a:r>
              <a:rPr sz="2400" spc="0" dirty="0" smtClean="0">
                <a:solidFill>
                  <a:srgbClr val="7F7E7E"/>
                </a:solidFill>
                <a:latin typeface="Calibri"/>
                <a:cs typeface="Calibri"/>
              </a:rPr>
              <a:t>on</a:t>
            </a:r>
            <a:r>
              <a:rPr sz="2400" spc="-181" dirty="0" smtClean="0">
                <a:solidFill>
                  <a:srgbClr val="7F7E7E"/>
                </a:solidFill>
                <a:latin typeface="Calibri"/>
                <a:cs typeface="Calibri"/>
              </a:rPr>
              <a:t> </a:t>
            </a:r>
            <a:r>
              <a:rPr sz="2400" spc="0" dirty="0" smtClean="0">
                <a:solidFill>
                  <a:srgbClr val="7F7E7E"/>
                </a:solidFill>
                <a:latin typeface="Calibri"/>
                <a:cs typeface="Calibri"/>
              </a:rPr>
              <a:t>of “shortest distance”</a:t>
            </a:r>
            <a:endParaRPr lang="en-US" sz="2400" spc="0" dirty="0" smtClean="0">
              <a:solidFill>
                <a:srgbClr val="7F7E7E"/>
              </a:solidFill>
              <a:latin typeface="Calibri"/>
              <a:cs typeface="Calibri"/>
            </a:endParaRPr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" name="object 3"/>
          <p:cNvSpPr txBox="1"/>
          <p:nvPr/>
        </p:nvSpPr>
        <p:spPr>
          <a:xfrm>
            <a:off x="604887" y="533891"/>
            <a:ext cx="7709221" cy="3810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3000"/>
              </a:lnSpc>
              <a:spcBef>
                <a:spcPts val="150"/>
              </a:spcBef>
            </a:pPr>
            <a:r>
              <a:rPr lang="en-US" sz="4200" baseline="1950" dirty="0" smtClean="0">
                <a:solidFill>
                  <a:srgbClr val="4E81BC"/>
                </a:solidFill>
                <a:latin typeface="+mj-lt"/>
                <a:cs typeface="Calibri"/>
              </a:rPr>
              <a:t>linkage </a:t>
            </a:r>
            <a:r>
              <a:rPr lang="en-US" sz="4200" baseline="1950" dirty="0">
                <a:solidFill>
                  <a:srgbClr val="4E81BC"/>
                </a:solidFill>
                <a:latin typeface="+mj-lt"/>
                <a:cs typeface="Calibri"/>
              </a:rPr>
              <a:t>= “</a:t>
            </a:r>
            <a:r>
              <a:rPr lang="en-US" sz="4200" baseline="1950" dirty="0" smtClean="0">
                <a:solidFill>
                  <a:srgbClr val="4E81BC"/>
                </a:solidFill>
                <a:latin typeface="+mj-lt"/>
                <a:cs typeface="Calibri"/>
              </a:rPr>
              <a:t>single”</a:t>
            </a:r>
            <a:endParaRPr sz="2800" dirty="0">
              <a:latin typeface="+mj-lt"/>
              <a:cs typeface="Calibri"/>
            </a:endParaRPr>
          </a:p>
        </p:txBody>
      </p:sp>
      <p:sp>
        <p:nvSpPr>
          <p:cNvPr id="105" name="object 13"/>
          <p:cNvSpPr txBox="1"/>
          <p:nvPr/>
        </p:nvSpPr>
        <p:spPr>
          <a:xfrm>
            <a:off x="604886" y="999752"/>
            <a:ext cx="8234313" cy="905248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>
              <a:lnSpc>
                <a:spcPts val="3400"/>
              </a:lnSpc>
              <a:spcBef>
                <a:spcPts val="170"/>
              </a:spcBef>
            </a:pPr>
            <a:r>
              <a:rPr lang="en-US" sz="4200" spc="0" baseline="1706" dirty="0" smtClean="0">
                <a:solidFill>
                  <a:srgbClr val="7F7E7E"/>
                </a:solidFill>
                <a:latin typeface="+mj-lt"/>
                <a:cs typeface="Calibri"/>
              </a:rPr>
              <a:t>Distance between two cluster is the minimum pairwise distance</a:t>
            </a:r>
            <a:endParaRPr sz="4200" dirty="0">
              <a:latin typeface="+mj-lt"/>
              <a:cs typeface="Calibri"/>
            </a:endParaRPr>
          </a:p>
        </p:txBody>
      </p:sp>
      <p:sp>
        <p:nvSpPr>
          <p:cNvPr id="160" name="object 82"/>
          <p:cNvSpPr/>
          <p:nvPr/>
        </p:nvSpPr>
        <p:spPr>
          <a:xfrm>
            <a:off x="3691847" y="5875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61" name="object 84"/>
          <p:cNvSpPr/>
          <p:nvPr/>
        </p:nvSpPr>
        <p:spPr>
          <a:xfrm>
            <a:off x="4677222" y="590921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62" name="object 86"/>
          <p:cNvSpPr/>
          <p:nvPr/>
        </p:nvSpPr>
        <p:spPr>
          <a:xfrm>
            <a:off x="5529026" y="589026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63" name="object 74"/>
          <p:cNvSpPr/>
          <p:nvPr/>
        </p:nvSpPr>
        <p:spPr>
          <a:xfrm>
            <a:off x="1945944" y="558313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64" name="object 72"/>
          <p:cNvSpPr/>
          <p:nvPr/>
        </p:nvSpPr>
        <p:spPr>
          <a:xfrm>
            <a:off x="5236841" y="2905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40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80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65" name="object 70"/>
          <p:cNvSpPr/>
          <p:nvPr/>
        </p:nvSpPr>
        <p:spPr>
          <a:xfrm>
            <a:off x="4837588" y="252356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66" name="object 68"/>
          <p:cNvSpPr/>
          <p:nvPr/>
        </p:nvSpPr>
        <p:spPr>
          <a:xfrm>
            <a:off x="4425503" y="211104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67" name="object 66"/>
          <p:cNvSpPr/>
          <p:nvPr/>
        </p:nvSpPr>
        <p:spPr>
          <a:xfrm>
            <a:off x="6149478" y="380010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094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68" name="object 63"/>
          <p:cNvSpPr/>
          <p:nvPr/>
        </p:nvSpPr>
        <p:spPr>
          <a:xfrm>
            <a:off x="5158317" y="54094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6"/>
                </a:lnTo>
                <a:lnTo>
                  <a:pt x="1583" y="198179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6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2"/>
                </a:lnTo>
                <a:lnTo>
                  <a:pt x="49876" y="299561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6"/>
                </a:lnTo>
                <a:lnTo>
                  <a:pt x="196530" y="342926"/>
                </a:lnTo>
                <a:lnTo>
                  <a:pt x="209650" y="339004"/>
                </a:lnTo>
                <a:lnTo>
                  <a:pt x="222295" y="333936"/>
                </a:lnTo>
                <a:lnTo>
                  <a:pt x="234413" y="327778"/>
                </a:lnTo>
                <a:lnTo>
                  <a:pt x="245953" y="320583"/>
                </a:lnTo>
                <a:lnTo>
                  <a:pt x="256864" y="312409"/>
                </a:lnTo>
                <a:lnTo>
                  <a:pt x="267095" y="303311"/>
                </a:lnTo>
                <a:lnTo>
                  <a:pt x="276595" y="293343"/>
                </a:lnTo>
                <a:lnTo>
                  <a:pt x="285312" y="282562"/>
                </a:lnTo>
                <a:lnTo>
                  <a:pt x="293195" y="271023"/>
                </a:lnTo>
                <a:lnTo>
                  <a:pt x="300193" y="258781"/>
                </a:lnTo>
                <a:lnTo>
                  <a:pt x="306255" y="245892"/>
                </a:lnTo>
                <a:lnTo>
                  <a:pt x="311330" y="232411"/>
                </a:lnTo>
                <a:lnTo>
                  <a:pt x="315366" y="218394"/>
                </a:lnTo>
                <a:lnTo>
                  <a:pt x="318312" y="203896"/>
                </a:lnTo>
                <a:lnTo>
                  <a:pt x="320117" y="188973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9" y="93485"/>
                </a:lnTo>
                <a:lnTo>
                  <a:pt x="296006" y="80986"/>
                </a:lnTo>
                <a:lnTo>
                  <a:pt x="288459" y="69169"/>
                </a:lnTo>
                <a:lnTo>
                  <a:pt x="280058" y="58089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4"/>
                </a:lnTo>
                <a:lnTo>
                  <a:pt x="86318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69" name="object 62"/>
          <p:cNvSpPr/>
          <p:nvPr/>
        </p:nvSpPr>
        <p:spPr>
          <a:xfrm>
            <a:off x="3604437" y="388180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70" name="object 60"/>
          <p:cNvSpPr/>
          <p:nvPr/>
        </p:nvSpPr>
        <p:spPr>
          <a:xfrm>
            <a:off x="2728738" y="495895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71" name="object 58"/>
          <p:cNvSpPr/>
          <p:nvPr/>
        </p:nvSpPr>
        <p:spPr>
          <a:xfrm>
            <a:off x="6790937" y="243336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72" name="object 56"/>
          <p:cNvSpPr/>
          <p:nvPr/>
        </p:nvSpPr>
        <p:spPr>
          <a:xfrm>
            <a:off x="5830796" y="23498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73" name="object 54"/>
          <p:cNvSpPr/>
          <p:nvPr/>
        </p:nvSpPr>
        <p:spPr>
          <a:xfrm>
            <a:off x="6630572" y="314183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74" name="object 52"/>
          <p:cNvSpPr/>
          <p:nvPr/>
        </p:nvSpPr>
        <p:spPr>
          <a:xfrm>
            <a:off x="3973599" y="450879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75" name="object 50"/>
          <p:cNvSpPr/>
          <p:nvPr/>
        </p:nvSpPr>
        <p:spPr>
          <a:xfrm>
            <a:off x="3718772" y="50002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76" name="object 48"/>
          <p:cNvSpPr/>
          <p:nvPr/>
        </p:nvSpPr>
        <p:spPr>
          <a:xfrm>
            <a:off x="2408007" y="44379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77" name="object 42"/>
          <p:cNvSpPr/>
          <p:nvPr/>
        </p:nvSpPr>
        <p:spPr>
          <a:xfrm>
            <a:off x="5025578" y="369976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78" name="object 44"/>
          <p:cNvSpPr/>
          <p:nvPr/>
        </p:nvSpPr>
        <p:spPr>
          <a:xfrm>
            <a:off x="4837588" y="296815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79" name="object 46"/>
          <p:cNvSpPr/>
          <p:nvPr/>
        </p:nvSpPr>
        <p:spPr>
          <a:xfrm>
            <a:off x="4698983" y="33524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80" name="object 40"/>
          <p:cNvSpPr/>
          <p:nvPr/>
        </p:nvSpPr>
        <p:spPr>
          <a:xfrm>
            <a:off x="4490595" y="5309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81" name="object 38"/>
          <p:cNvSpPr/>
          <p:nvPr/>
        </p:nvSpPr>
        <p:spPr>
          <a:xfrm>
            <a:off x="6309840" y="26070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82" name="object 36"/>
          <p:cNvSpPr/>
          <p:nvPr/>
        </p:nvSpPr>
        <p:spPr>
          <a:xfrm>
            <a:off x="6662640" y="379011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6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7"/>
                </a:lnTo>
                <a:lnTo>
                  <a:pt x="310251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094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83" name="object 34"/>
          <p:cNvSpPr/>
          <p:nvPr/>
        </p:nvSpPr>
        <p:spPr>
          <a:xfrm>
            <a:off x="4315829" y="28709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84" name="object 32"/>
          <p:cNvSpPr/>
          <p:nvPr/>
        </p:nvSpPr>
        <p:spPr>
          <a:xfrm>
            <a:off x="6470207" y="198120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85" name="object 30"/>
          <p:cNvSpPr/>
          <p:nvPr/>
        </p:nvSpPr>
        <p:spPr>
          <a:xfrm>
            <a:off x="5479047" y="355789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86" name="object 28"/>
          <p:cNvSpPr/>
          <p:nvPr/>
        </p:nvSpPr>
        <p:spPr>
          <a:xfrm>
            <a:off x="4155464" y="571658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87" name="object 26"/>
          <p:cNvSpPr/>
          <p:nvPr/>
        </p:nvSpPr>
        <p:spPr>
          <a:xfrm>
            <a:off x="4859348" y="49095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88" name="object 24"/>
          <p:cNvSpPr/>
          <p:nvPr/>
        </p:nvSpPr>
        <p:spPr>
          <a:xfrm>
            <a:off x="2806145" y="390525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89" name="object 22"/>
          <p:cNvSpPr/>
          <p:nvPr/>
        </p:nvSpPr>
        <p:spPr>
          <a:xfrm>
            <a:off x="2530320" y="55944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90" name="object 20"/>
          <p:cNvSpPr/>
          <p:nvPr/>
        </p:nvSpPr>
        <p:spPr>
          <a:xfrm>
            <a:off x="3126876" y="443922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91" name="object 18"/>
          <p:cNvSpPr/>
          <p:nvPr/>
        </p:nvSpPr>
        <p:spPr>
          <a:xfrm>
            <a:off x="5991162" y="307897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92" name="object 6"/>
          <p:cNvSpPr txBox="1"/>
          <p:nvPr/>
        </p:nvSpPr>
        <p:spPr>
          <a:xfrm>
            <a:off x="609600" y="4147206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grpSp>
        <p:nvGrpSpPr>
          <p:cNvPr id="194" name="Group 193"/>
          <p:cNvGrpSpPr/>
          <p:nvPr/>
        </p:nvGrpSpPr>
        <p:grpSpPr>
          <a:xfrm>
            <a:off x="1660913" y="2276856"/>
            <a:ext cx="6303362" cy="4054670"/>
            <a:chOff x="2343901" y="1923700"/>
            <a:chExt cx="6303362" cy="4054670"/>
          </a:xfrm>
        </p:grpSpPr>
        <p:sp>
          <p:nvSpPr>
            <p:cNvPr id="195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196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" name="object 70"/>
          <p:cNvSpPr/>
          <p:nvPr/>
        </p:nvSpPr>
        <p:spPr>
          <a:xfrm>
            <a:off x="5826519" y="3380260"/>
            <a:ext cx="193281" cy="300873"/>
          </a:xfrm>
          <a:custGeom>
            <a:avLst/>
            <a:gdLst/>
            <a:ahLst/>
            <a:cxnLst/>
            <a:rect l="l" t="t" r="r" b="b"/>
            <a:pathLst>
              <a:path w="226787" h="185432">
                <a:moveTo>
                  <a:pt x="226787" y="0"/>
                </a:moveTo>
                <a:lnTo>
                  <a:pt x="0" y="185432"/>
                </a:lnTo>
              </a:path>
            </a:pathLst>
          </a:custGeom>
          <a:ln w="38099">
            <a:solidFill>
              <a:srgbClr val="6094C9"/>
            </a:solidFill>
            <a:headEnd type="arrow"/>
            <a:tailEnd type="arrow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7" name="object 3"/>
          <p:cNvSpPr txBox="1"/>
          <p:nvPr/>
        </p:nvSpPr>
        <p:spPr>
          <a:xfrm>
            <a:off x="604887" y="533891"/>
            <a:ext cx="7709221" cy="3810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3000"/>
              </a:lnSpc>
              <a:spcBef>
                <a:spcPts val="150"/>
              </a:spcBef>
            </a:pPr>
            <a:r>
              <a:rPr lang="en-US" sz="4200" baseline="1950" dirty="0" smtClean="0">
                <a:solidFill>
                  <a:srgbClr val="4E81BC"/>
                </a:solidFill>
                <a:latin typeface="+mj-lt"/>
                <a:cs typeface="Calibri"/>
              </a:rPr>
              <a:t>linkage </a:t>
            </a:r>
            <a:r>
              <a:rPr lang="en-US" sz="4200" baseline="1950" dirty="0">
                <a:solidFill>
                  <a:srgbClr val="4E81BC"/>
                </a:solidFill>
                <a:latin typeface="+mj-lt"/>
                <a:cs typeface="Calibri"/>
              </a:rPr>
              <a:t>= “</a:t>
            </a:r>
            <a:r>
              <a:rPr lang="en-US" sz="4200" baseline="1950" dirty="0" smtClean="0">
                <a:solidFill>
                  <a:srgbClr val="4E81BC"/>
                </a:solidFill>
                <a:latin typeface="+mj-lt"/>
                <a:cs typeface="Calibri"/>
              </a:rPr>
              <a:t>single”</a:t>
            </a:r>
            <a:endParaRPr sz="2800" dirty="0">
              <a:latin typeface="+mj-lt"/>
              <a:cs typeface="Calibri"/>
            </a:endParaRPr>
          </a:p>
        </p:txBody>
      </p:sp>
      <p:sp>
        <p:nvSpPr>
          <p:cNvPr id="88" name="object 13"/>
          <p:cNvSpPr txBox="1"/>
          <p:nvPr/>
        </p:nvSpPr>
        <p:spPr>
          <a:xfrm>
            <a:off x="604886" y="999752"/>
            <a:ext cx="8234313" cy="905248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>
              <a:lnSpc>
                <a:spcPts val="3400"/>
              </a:lnSpc>
              <a:spcBef>
                <a:spcPts val="170"/>
              </a:spcBef>
            </a:pPr>
            <a:r>
              <a:rPr lang="en-US" sz="4200" spc="0" baseline="1706" dirty="0" smtClean="0">
                <a:solidFill>
                  <a:srgbClr val="7F7E7E"/>
                </a:solidFill>
                <a:latin typeface="+mj-lt"/>
                <a:cs typeface="Calibri"/>
              </a:rPr>
              <a:t>Distance between two cluster is the minimum pairwise distance</a:t>
            </a:r>
            <a:endParaRPr sz="4200" dirty="0">
              <a:solidFill>
                <a:srgbClr val="7F7E7E"/>
              </a:solidFill>
              <a:latin typeface="+mj-lt"/>
              <a:cs typeface="Calibri"/>
            </a:endParaRPr>
          </a:p>
        </p:txBody>
      </p:sp>
      <p:sp>
        <p:nvSpPr>
          <p:cNvPr id="89" name="object 82"/>
          <p:cNvSpPr/>
          <p:nvPr/>
        </p:nvSpPr>
        <p:spPr>
          <a:xfrm>
            <a:off x="3691847" y="5875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0" name="object 84"/>
          <p:cNvSpPr/>
          <p:nvPr/>
        </p:nvSpPr>
        <p:spPr>
          <a:xfrm>
            <a:off x="4677222" y="590921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1" name="object 86"/>
          <p:cNvSpPr/>
          <p:nvPr/>
        </p:nvSpPr>
        <p:spPr>
          <a:xfrm>
            <a:off x="5529026" y="589026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2" name="object 74"/>
          <p:cNvSpPr/>
          <p:nvPr/>
        </p:nvSpPr>
        <p:spPr>
          <a:xfrm>
            <a:off x="1945944" y="558313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3" name="object 72"/>
          <p:cNvSpPr/>
          <p:nvPr/>
        </p:nvSpPr>
        <p:spPr>
          <a:xfrm>
            <a:off x="5236841" y="2905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40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80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4" name="object 70"/>
          <p:cNvSpPr/>
          <p:nvPr/>
        </p:nvSpPr>
        <p:spPr>
          <a:xfrm>
            <a:off x="4837588" y="252356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5" name="object 68"/>
          <p:cNvSpPr/>
          <p:nvPr/>
        </p:nvSpPr>
        <p:spPr>
          <a:xfrm>
            <a:off x="4425503" y="211104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6" name="object 66"/>
          <p:cNvSpPr/>
          <p:nvPr/>
        </p:nvSpPr>
        <p:spPr>
          <a:xfrm>
            <a:off x="6149478" y="380010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094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7" name="object 63"/>
          <p:cNvSpPr/>
          <p:nvPr/>
        </p:nvSpPr>
        <p:spPr>
          <a:xfrm>
            <a:off x="5158317" y="54094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6"/>
                </a:lnTo>
                <a:lnTo>
                  <a:pt x="1583" y="198179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6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2"/>
                </a:lnTo>
                <a:lnTo>
                  <a:pt x="49876" y="299561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6"/>
                </a:lnTo>
                <a:lnTo>
                  <a:pt x="196530" y="342926"/>
                </a:lnTo>
                <a:lnTo>
                  <a:pt x="209650" y="339004"/>
                </a:lnTo>
                <a:lnTo>
                  <a:pt x="222295" y="333936"/>
                </a:lnTo>
                <a:lnTo>
                  <a:pt x="234413" y="327778"/>
                </a:lnTo>
                <a:lnTo>
                  <a:pt x="245953" y="320583"/>
                </a:lnTo>
                <a:lnTo>
                  <a:pt x="256864" y="312409"/>
                </a:lnTo>
                <a:lnTo>
                  <a:pt x="267095" y="303311"/>
                </a:lnTo>
                <a:lnTo>
                  <a:pt x="276595" y="293343"/>
                </a:lnTo>
                <a:lnTo>
                  <a:pt x="285312" y="282562"/>
                </a:lnTo>
                <a:lnTo>
                  <a:pt x="293195" y="271023"/>
                </a:lnTo>
                <a:lnTo>
                  <a:pt x="300193" y="258781"/>
                </a:lnTo>
                <a:lnTo>
                  <a:pt x="306255" y="245892"/>
                </a:lnTo>
                <a:lnTo>
                  <a:pt x="311330" y="232411"/>
                </a:lnTo>
                <a:lnTo>
                  <a:pt x="315366" y="218394"/>
                </a:lnTo>
                <a:lnTo>
                  <a:pt x="318312" y="203896"/>
                </a:lnTo>
                <a:lnTo>
                  <a:pt x="320117" y="188973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9" y="93485"/>
                </a:lnTo>
                <a:lnTo>
                  <a:pt x="296006" y="80986"/>
                </a:lnTo>
                <a:lnTo>
                  <a:pt x="288459" y="69169"/>
                </a:lnTo>
                <a:lnTo>
                  <a:pt x="280058" y="58089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4"/>
                </a:lnTo>
                <a:lnTo>
                  <a:pt x="86318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8" name="object 62"/>
          <p:cNvSpPr/>
          <p:nvPr/>
        </p:nvSpPr>
        <p:spPr>
          <a:xfrm>
            <a:off x="3604437" y="388180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9" name="object 60"/>
          <p:cNvSpPr/>
          <p:nvPr/>
        </p:nvSpPr>
        <p:spPr>
          <a:xfrm>
            <a:off x="2728738" y="495895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0" name="object 58"/>
          <p:cNvSpPr/>
          <p:nvPr/>
        </p:nvSpPr>
        <p:spPr>
          <a:xfrm>
            <a:off x="6790937" y="243336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1" name="object 56"/>
          <p:cNvSpPr/>
          <p:nvPr/>
        </p:nvSpPr>
        <p:spPr>
          <a:xfrm>
            <a:off x="5830796" y="23498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2" name="object 54"/>
          <p:cNvSpPr/>
          <p:nvPr/>
        </p:nvSpPr>
        <p:spPr>
          <a:xfrm>
            <a:off x="6630572" y="314183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3" name="object 52"/>
          <p:cNvSpPr/>
          <p:nvPr/>
        </p:nvSpPr>
        <p:spPr>
          <a:xfrm>
            <a:off x="3973599" y="450879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4" name="object 50"/>
          <p:cNvSpPr/>
          <p:nvPr/>
        </p:nvSpPr>
        <p:spPr>
          <a:xfrm>
            <a:off x="3718772" y="50002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5" name="object 48"/>
          <p:cNvSpPr/>
          <p:nvPr/>
        </p:nvSpPr>
        <p:spPr>
          <a:xfrm>
            <a:off x="2408007" y="44379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6" name="object 42"/>
          <p:cNvSpPr/>
          <p:nvPr/>
        </p:nvSpPr>
        <p:spPr>
          <a:xfrm>
            <a:off x="5025578" y="369976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7" name="object 44"/>
          <p:cNvSpPr/>
          <p:nvPr/>
        </p:nvSpPr>
        <p:spPr>
          <a:xfrm>
            <a:off x="4837588" y="296815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8" name="object 46"/>
          <p:cNvSpPr/>
          <p:nvPr/>
        </p:nvSpPr>
        <p:spPr>
          <a:xfrm>
            <a:off x="4698983" y="33524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9" name="object 40"/>
          <p:cNvSpPr/>
          <p:nvPr/>
        </p:nvSpPr>
        <p:spPr>
          <a:xfrm>
            <a:off x="4490595" y="5309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0" name="object 38"/>
          <p:cNvSpPr/>
          <p:nvPr/>
        </p:nvSpPr>
        <p:spPr>
          <a:xfrm>
            <a:off x="6309840" y="26070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1" name="object 36"/>
          <p:cNvSpPr/>
          <p:nvPr/>
        </p:nvSpPr>
        <p:spPr>
          <a:xfrm>
            <a:off x="6662640" y="379011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6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7"/>
                </a:lnTo>
                <a:lnTo>
                  <a:pt x="310251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094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2" name="object 34"/>
          <p:cNvSpPr/>
          <p:nvPr/>
        </p:nvSpPr>
        <p:spPr>
          <a:xfrm>
            <a:off x="4315829" y="28709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3" name="object 32"/>
          <p:cNvSpPr/>
          <p:nvPr/>
        </p:nvSpPr>
        <p:spPr>
          <a:xfrm>
            <a:off x="6470207" y="198120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4" name="object 30"/>
          <p:cNvSpPr/>
          <p:nvPr/>
        </p:nvSpPr>
        <p:spPr>
          <a:xfrm>
            <a:off x="5479047" y="355789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5" name="object 28"/>
          <p:cNvSpPr/>
          <p:nvPr/>
        </p:nvSpPr>
        <p:spPr>
          <a:xfrm>
            <a:off x="4155464" y="571658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6" name="object 26"/>
          <p:cNvSpPr/>
          <p:nvPr/>
        </p:nvSpPr>
        <p:spPr>
          <a:xfrm>
            <a:off x="4859348" y="49095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7" name="object 24"/>
          <p:cNvSpPr/>
          <p:nvPr/>
        </p:nvSpPr>
        <p:spPr>
          <a:xfrm>
            <a:off x="2806145" y="390525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8" name="object 22"/>
          <p:cNvSpPr/>
          <p:nvPr/>
        </p:nvSpPr>
        <p:spPr>
          <a:xfrm>
            <a:off x="2530320" y="55944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9" name="object 20"/>
          <p:cNvSpPr/>
          <p:nvPr/>
        </p:nvSpPr>
        <p:spPr>
          <a:xfrm>
            <a:off x="3126876" y="443922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0" name="object 18"/>
          <p:cNvSpPr/>
          <p:nvPr/>
        </p:nvSpPr>
        <p:spPr>
          <a:xfrm>
            <a:off x="5991162" y="307897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1" name="object 6"/>
          <p:cNvSpPr txBox="1"/>
          <p:nvPr/>
        </p:nvSpPr>
        <p:spPr>
          <a:xfrm>
            <a:off x="609600" y="4147206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grpSp>
        <p:nvGrpSpPr>
          <p:cNvPr id="123" name="Group 122"/>
          <p:cNvGrpSpPr/>
          <p:nvPr/>
        </p:nvGrpSpPr>
        <p:grpSpPr>
          <a:xfrm>
            <a:off x="1660913" y="2276856"/>
            <a:ext cx="6303362" cy="4054670"/>
            <a:chOff x="2343901" y="1923700"/>
            <a:chExt cx="6303362" cy="4054670"/>
          </a:xfrm>
        </p:grpSpPr>
        <p:sp>
          <p:nvSpPr>
            <p:cNvPr id="124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125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" name="object 56"/>
          <p:cNvSpPr/>
          <p:nvPr/>
        </p:nvSpPr>
        <p:spPr>
          <a:xfrm>
            <a:off x="3927243" y="3641273"/>
            <a:ext cx="804730" cy="297678"/>
          </a:xfrm>
          <a:custGeom>
            <a:avLst/>
            <a:gdLst/>
            <a:ahLst/>
            <a:cxnLst/>
            <a:rect l="l" t="t" r="r" b="b"/>
            <a:pathLst>
              <a:path w="804730" h="297678">
                <a:moveTo>
                  <a:pt x="804730" y="0"/>
                </a:moveTo>
                <a:lnTo>
                  <a:pt x="0" y="297678"/>
                </a:lnTo>
              </a:path>
            </a:pathLst>
          </a:custGeom>
          <a:ln w="38099">
            <a:solidFill>
              <a:srgbClr val="6094C9"/>
            </a:solidFill>
            <a:headEnd type="arrow"/>
            <a:tailEnd type="arrow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1" name="object 3"/>
          <p:cNvSpPr txBox="1"/>
          <p:nvPr/>
        </p:nvSpPr>
        <p:spPr>
          <a:xfrm>
            <a:off x="604887" y="533891"/>
            <a:ext cx="7709221" cy="3810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3000"/>
              </a:lnSpc>
              <a:spcBef>
                <a:spcPts val="150"/>
              </a:spcBef>
            </a:pPr>
            <a:r>
              <a:rPr lang="en-US" sz="4200" baseline="1950" dirty="0" smtClean="0">
                <a:solidFill>
                  <a:srgbClr val="4E81BC"/>
                </a:solidFill>
                <a:latin typeface="+mj-lt"/>
                <a:cs typeface="Calibri"/>
              </a:rPr>
              <a:t>linkage </a:t>
            </a:r>
            <a:r>
              <a:rPr lang="en-US" sz="4200" baseline="1950" dirty="0">
                <a:solidFill>
                  <a:srgbClr val="4E81BC"/>
                </a:solidFill>
                <a:latin typeface="+mj-lt"/>
                <a:cs typeface="Calibri"/>
              </a:rPr>
              <a:t>= “</a:t>
            </a:r>
            <a:r>
              <a:rPr lang="en-US" sz="4200" baseline="1950" dirty="0" smtClean="0">
                <a:solidFill>
                  <a:srgbClr val="4E81BC"/>
                </a:solidFill>
                <a:latin typeface="+mj-lt"/>
                <a:cs typeface="Calibri"/>
              </a:rPr>
              <a:t>single”</a:t>
            </a:r>
            <a:endParaRPr sz="2800" dirty="0">
              <a:latin typeface="+mj-lt"/>
              <a:cs typeface="Calibri"/>
            </a:endParaRPr>
          </a:p>
        </p:txBody>
      </p:sp>
      <p:sp>
        <p:nvSpPr>
          <p:cNvPr id="92" name="object 13"/>
          <p:cNvSpPr txBox="1"/>
          <p:nvPr/>
        </p:nvSpPr>
        <p:spPr>
          <a:xfrm>
            <a:off x="604886" y="999752"/>
            <a:ext cx="8234313" cy="905248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>
              <a:lnSpc>
                <a:spcPts val="3400"/>
              </a:lnSpc>
              <a:spcBef>
                <a:spcPts val="170"/>
              </a:spcBef>
            </a:pPr>
            <a:r>
              <a:rPr lang="en-US" sz="4200" spc="0" baseline="1706" dirty="0" smtClean="0">
                <a:solidFill>
                  <a:srgbClr val="7F7E7E"/>
                </a:solidFill>
                <a:latin typeface="+mj-lt"/>
                <a:cs typeface="Calibri"/>
              </a:rPr>
              <a:t>Distance between two cluster is the minimum pairwise distance</a:t>
            </a:r>
            <a:endParaRPr sz="4200" dirty="0">
              <a:solidFill>
                <a:srgbClr val="7F7E7E"/>
              </a:solidFill>
              <a:latin typeface="+mj-lt"/>
              <a:cs typeface="Calibri"/>
            </a:endParaRPr>
          </a:p>
        </p:txBody>
      </p:sp>
      <p:sp>
        <p:nvSpPr>
          <p:cNvPr id="93" name="object 70"/>
          <p:cNvSpPr/>
          <p:nvPr/>
        </p:nvSpPr>
        <p:spPr>
          <a:xfrm>
            <a:off x="5826519" y="3380260"/>
            <a:ext cx="193281" cy="300873"/>
          </a:xfrm>
          <a:custGeom>
            <a:avLst/>
            <a:gdLst/>
            <a:ahLst/>
            <a:cxnLst/>
            <a:rect l="l" t="t" r="r" b="b"/>
            <a:pathLst>
              <a:path w="226787" h="185432">
                <a:moveTo>
                  <a:pt x="226787" y="0"/>
                </a:moveTo>
                <a:lnTo>
                  <a:pt x="0" y="185432"/>
                </a:lnTo>
              </a:path>
            </a:pathLst>
          </a:custGeom>
          <a:ln w="38099">
            <a:solidFill>
              <a:srgbClr val="6094C9"/>
            </a:solidFill>
            <a:headEnd type="arrow"/>
            <a:tailEnd type="arrow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4" name="object 82"/>
          <p:cNvSpPr/>
          <p:nvPr/>
        </p:nvSpPr>
        <p:spPr>
          <a:xfrm>
            <a:off x="3691847" y="5875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5" name="object 84"/>
          <p:cNvSpPr/>
          <p:nvPr/>
        </p:nvSpPr>
        <p:spPr>
          <a:xfrm>
            <a:off x="4677222" y="590921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6" name="object 86"/>
          <p:cNvSpPr/>
          <p:nvPr/>
        </p:nvSpPr>
        <p:spPr>
          <a:xfrm>
            <a:off x="5529026" y="589026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7" name="object 74"/>
          <p:cNvSpPr/>
          <p:nvPr/>
        </p:nvSpPr>
        <p:spPr>
          <a:xfrm>
            <a:off x="1945944" y="558313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8" name="object 72"/>
          <p:cNvSpPr/>
          <p:nvPr/>
        </p:nvSpPr>
        <p:spPr>
          <a:xfrm>
            <a:off x="5236841" y="2905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40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80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9" name="object 70"/>
          <p:cNvSpPr/>
          <p:nvPr/>
        </p:nvSpPr>
        <p:spPr>
          <a:xfrm>
            <a:off x="4837588" y="252356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0" name="object 68"/>
          <p:cNvSpPr/>
          <p:nvPr/>
        </p:nvSpPr>
        <p:spPr>
          <a:xfrm>
            <a:off x="4425503" y="211104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1" name="object 66"/>
          <p:cNvSpPr/>
          <p:nvPr/>
        </p:nvSpPr>
        <p:spPr>
          <a:xfrm>
            <a:off x="6149478" y="380010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094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2" name="object 63"/>
          <p:cNvSpPr/>
          <p:nvPr/>
        </p:nvSpPr>
        <p:spPr>
          <a:xfrm>
            <a:off x="5158317" y="54094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6"/>
                </a:lnTo>
                <a:lnTo>
                  <a:pt x="1583" y="198179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6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2"/>
                </a:lnTo>
                <a:lnTo>
                  <a:pt x="49876" y="299561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6"/>
                </a:lnTo>
                <a:lnTo>
                  <a:pt x="196530" y="342926"/>
                </a:lnTo>
                <a:lnTo>
                  <a:pt x="209650" y="339004"/>
                </a:lnTo>
                <a:lnTo>
                  <a:pt x="222295" y="333936"/>
                </a:lnTo>
                <a:lnTo>
                  <a:pt x="234413" y="327778"/>
                </a:lnTo>
                <a:lnTo>
                  <a:pt x="245953" y="320583"/>
                </a:lnTo>
                <a:lnTo>
                  <a:pt x="256864" y="312409"/>
                </a:lnTo>
                <a:lnTo>
                  <a:pt x="267095" y="303311"/>
                </a:lnTo>
                <a:lnTo>
                  <a:pt x="276595" y="293343"/>
                </a:lnTo>
                <a:lnTo>
                  <a:pt x="285312" y="282562"/>
                </a:lnTo>
                <a:lnTo>
                  <a:pt x="293195" y="271023"/>
                </a:lnTo>
                <a:lnTo>
                  <a:pt x="300193" y="258781"/>
                </a:lnTo>
                <a:lnTo>
                  <a:pt x="306255" y="245892"/>
                </a:lnTo>
                <a:lnTo>
                  <a:pt x="311330" y="232411"/>
                </a:lnTo>
                <a:lnTo>
                  <a:pt x="315366" y="218394"/>
                </a:lnTo>
                <a:lnTo>
                  <a:pt x="318312" y="203896"/>
                </a:lnTo>
                <a:lnTo>
                  <a:pt x="320117" y="188973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9" y="93485"/>
                </a:lnTo>
                <a:lnTo>
                  <a:pt x="296006" y="80986"/>
                </a:lnTo>
                <a:lnTo>
                  <a:pt x="288459" y="69169"/>
                </a:lnTo>
                <a:lnTo>
                  <a:pt x="280058" y="58089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4"/>
                </a:lnTo>
                <a:lnTo>
                  <a:pt x="86318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3" name="object 62"/>
          <p:cNvSpPr/>
          <p:nvPr/>
        </p:nvSpPr>
        <p:spPr>
          <a:xfrm>
            <a:off x="3604437" y="388180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4" name="object 60"/>
          <p:cNvSpPr/>
          <p:nvPr/>
        </p:nvSpPr>
        <p:spPr>
          <a:xfrm>
            <a:off x="2728738" y="495895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5" name="object 58"/>
          <p:cNvSpPr/>
          <p:nvPr/>
        </p:nvSpPr>
        <p:spPr>
          <a:xfrm>
            <a:off x="6790937" y="243336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6" name="object 56"/>
          <p:cNvSpPr/>
          <p:nvPr/>
        </p:nvSpPr>
        <p:spPr>
          <a:xfrm>
            <a:off x="5830796" y="23498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7" name="object 54"/>
          <p:cNvSpPr/>
          <p:nvPr/>
        </p:nvSpPr>
        <p:spPr>
          <a:xfrm>
            <a:off x="6630572" y="314183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8" name="object 52"/>
          <p:cNvSpPr/>
          <p:nvPr/>
        </p:nvSpPr>
        <p:spPr>
          <a:xfrm>
            <a:off x="3973599" y="450879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9" name="object 50"/>
          <p:cNvSpPr/>
          <p:nvPr/>
        </p:nvSpPr>
        <p:spPr>
          <a:xfrm>
            <a:off x="3718772" y="50002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0" name="object 48"/>
          <p:cNvSpPr/>
          <p:nvPr/>
        </p:nvSpPr>
        <p:spPr>
          <a:xfrm>
            <a:off x="2408007" y="44379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1" name="object 42"/>
          <p:cNvSpPr/>
          <p:nvPr/>
        </p:nvSpPr>
        <p:spPr>
          <a:xfrm>
            <a:off x="5025578" y="369976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2" name="object 44"/>
          <p:cNvSpPr/>
          <p:nvPr/>
        </p:nvSpPr>
        <p:spPr>
          <a:xfrm>
            <a:off x="4837588" y="296815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3" name="object 46"/>
          <p:cNvSpPr/>
          <p:nvPr/>
        </p:nvSpPr>
        <p:spPr>
          <a:xfrm>
            <a:off x="4698983" y="33524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4" name="object 40"/>
          <p:cNvSpPr/>
          <p:nvPr/>
        </p:nvSpPr>
        <p:spPr>
          <a:xfrm>
            <a:off x="4490595" y="5309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5" name="object 38"/>
          <p:cNvSpPr/>
          <p:nvPr/>
        </p:nvSpPr>
        <p:spPr>
          <a:xfrm>
            <a:off x="6309840" y="26070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6" name="object 36"/>
          <p:cNvSpPr/>
          <p:nvPr/>
        </p:nvSpPr>
        <p:spPr>
          <a:xfrm>
            <a:off x="6662640" y="379011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6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7"/>
                </a:lnTo>
                <a:lnTo>
                  <a:pt x="310251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094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7" name="object 34"/>
          <p:cNvSpPr/>
          <p:nvPr/>
        </p:nvSpPr>
        <p:spPr>
          <a:xfrm>
            <a:off x="4315829" y="28709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8" name="object 32"/>
          <p:cNvSpPr/>
          <p:nvPr/>
        </p:nvSpPr>
        <p:spPr>
          <a:xfrm>
            <a:off x="6470207" y="198120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9" name="object 30"/>
          <p:cNvSpPr/>
          <p:nvPr/>
        </p:nvSpPr>
        <p:spPr>
          <a:xfrm>
            <a:off x="5479047" y="355789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0" name="object 28"/>
          <p:cNvSpPr/>
          <p:nvPr/>
        </p:nvSpPr>
        <p:spPr>
          <a:xfrm>
            <a:off x="4155464" y="571658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1" name="object 26"/>
          <p:cNvSpPr/>
          <p:nvPr/>
        </p:nvSpPr>
        <p:spPr>
          <a:xfrm>
            <a:off x="4859348" y="49095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2" name="object 24"/>
          <p:cNvSpPr/>
          <p:nvPr/>
        </p:nvSpPr>
        <p:spPr>
          <a:xfrm>
            <a:off x="2806145" y="390525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3" name="object 22"/>
          <p:cNvSpPr/>
          <p:nvPr/>
        </p:nvSpPr>
        <p:spPr>
          <a:xfrm>
            <a:off x="2530320" y="55944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4" name="object 20"/>
          <p:cNvSpPr/>
          <p:nvPr/>
        </p:nvSpPr>
        <p:spPr>
          <a:xfrm>
            <a:off x="3126876" y="443922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5" name="object 18"/>
          <p:cNvSpPr/>
          <p:nvPr/>
        </p:nvSpPr>
        <p:spPr>
          <a:xfrm>
            <a:off x="5991162" y="307897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6" name="object 6"/>
          <p:cNvSpPr txBox="1"/>
          <p:nvPr/>
        </p:nvSpPr>
        <p:spPr>
          <a:xfrm>
            <a:off x="609600" y="4147206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grpSp>
        <p:nvGrpSpPr>
          <p:cNvPr id="128" name="Group 127"/>
          <p:cNvGrpSpPr/>
          <p:nvPr/>
        </p:nvGrpSpPr>
        <p:grpSpPr>
          <a:xfrm>
            <a:off x="1660913" y="2276856"/>
            <a:ext cx="6303362" cy="4054670"/>
            <a:chOff x="2343901" y="1923700"/>
            <a:chExt cx="6303362" cy="4054670"/>
          </a:xfrm>
        </p:grpSpPr>
        <p:sp>
          <p:nvSpPr>
            <p:cNvPr id="129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130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object 40"/>
          <p:cNvSpPr/>
          <p:nvPr/>
        </p:nvSpPr>
        <p:spPr>
          <a:xfrm>
            <a:off x="4066245" y="5257009"/>
            <a:ext cx="429556" cy="153629"/>
          </a:xfrm>
          <a:custGeom>
            <a:avLst/>
            <a:gdLst/>
            <a:ahLst/>
            <a:cxnLst/>
            <a:rect l="l" t="t" r="r" b="b"/>
            <a:pathLst>
              <a:path w="406727" h="147848">
                <a:moveTo>
                  <a:pt x="406727" y="147848"/>
                </a:moveTo>
                <a:lnTo>
                  <a:pt x="0" y="0"/>
                </a:lnTo>
              </a:path>
            </a:pathLst>
          </a:custGeom>
          <a:ln w="38099">
            <a:solidFill>
              <a:srgbClr val="6094C9"/>
            </a:solidFill>
            <a:headEnd type="arrow"/>
            <a:tailEnd type="arrow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5" name="object 3"/>
          <p:cNvSpPr txBox="1"/>
          <p:nvPr/>
        </p:nvSpPr>
        <p:spPr>
          <a:xfrm>
            <a:off x="604887" y="533891"/>
            <a:ext cx="8234312" cy="3810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3000"/>
              </a:lnSpc>
              <a:spcBef>
                <a:spcPts val="150"/>
              </a:spcBef>
            </a:pPr>
            <a:r>
              <a:rPr lang="en-US" sz="4200" baseline="1950" dirty="0" smtClean="0">
                <a:solidFill>
                  <a:srgbClr val="4E81BC"/>
                </a:solidFill>
                <a:latin typeface="+mj-lt"/>
                <a:cs typeface="Calibri"/>
              </a:rPr>
              <a:t>linkage </a:t>
            </a:r>
            <a:r>
              <a:rPr lang="en-US" sz="4200" baseline="1950" dirty="0">
                <a:solidFill>
                  <a:srgbClr val="4E81BC"/>
                </a:solidFill>
                <a:latin typeface="+mj-lt"/>
                <a:cs typeface="Calibri"/>
              </a:rPr>
              <a:t>= “</a:t>
            </a:r>
            <a:r>
              <a:rPr lang="en-US" sz="4200" baseline="1950" dirty="0" smtClean="0">
                <a:solidFill>
                  <a:srgbClr val="4E81BC"/>
                </a:solidFill>
                <a:latin typeface="+mj-lt"/>
                <a:cs typeface="Calibri"/>
              </a:rPr>
              <a:t>single”</a:t>
            </a:r>
            <a:endParaRPr sz="2800" dirty="0">
              <a:latin typeface="+mj-lt"/>
              <a:cs typeface="Calibri"/>
            </a:endParaRPr>
          </a:p>
        </p:txBody>
      </p:sp>
      <p:sp>
        <p:nvSpPr>
          <p:cNvPr id="96" name="object 13"/>
          <p:cNvSpPr txBox="1"/>
          <p:nvPr/>
        </p:nvSpPr>
        <p:spPr>
          <a:xfrm>
            <a:off x="604886" y="999752"/>
            <a:ext cx="8234313" cy="905248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>
              <a:lnSpc>
                <a:spcPts val="3400"/>
              </a:lnSpc>
              <a:spcBef>
                <a:spcPts val="170"/>
              </a:spcBef>
            </a:pPr>
            <a:r>
              <a:rPr lang="en-US" sz="4200" spc="0" baseline="1706" dirty="0" smtClean="0">
                <a:solidFill>
                  <a:srgbClr val="7F7E7E"/>
                </a:solidFill>
                <a:latin typeface="+mj-lt"/>
                <a:cs typeface="Calibri"/>
              </a:rPr>
              <a:t>Distance between two cluster is the minimum pairwise distance</a:t>
            </a:r>
            <a:endParaRPr sz="4200" dirty="0">
              <a:solidFill>
                <a:srgbClr val="7F7E7E"/>
              </a:solidFill>
              <a:latin typeface="+mj-lt"/>
              <a:cs typeface="Calibri"/>
            </a:endParaRPr>
          </a:p>
        </p:txBody>
      </p:sp>
      <p:sp>
        <p:nvSpPr>
          <p:cNvPr id="97" name="object 56"/>
          <p:cNvSpPr/>
          <p:nvPr/>
        </p:nvSpPr>
        <p:spPr>
          <a:xfrm>
            <a:off x="3927243" y="3641273"/>
            <a:ext cx="804730" cy="297678"/>
          </a:xfrm>
          <a:custGeom>
            <a:avLst/>
            <a:gdLst/>
            <a:ahLst/>
            <a:cxnLst/>
            <a:rect l="l" t="t" r="r" b="b"/>
            <a:pathLst>
              <a:path w="804730" h="297678">
                <a:moveTo>
                  <a:pt x="804730" y="0"/>
                </a:moveTo>
                <a:lnTo>
                  <a:pt x="0" y="297678"/>
                </a:lnTo>
              </a:path>
            </a:pathLst>
          </a:custGeom>
          <a:ln w="38099">
            <a:solidFill>
              <a:srgbClr val="6094C9"/>
            </a:solidFill>
            <a:headEnd type="arrow"/>
            <a:tailEnd type="arrow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8" name="object 2"/>
          <p:cNvSpPr txBox="1"/>
          <p:nvPr/>
        </p:nvSpPr>
        <p:spPr>
          <a:xfrm>
            <a:off x="1673165" y="2308963"/>
            <a:ext cx="6303362" cy="405467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99" name="object 70"/>
          <p:cNvSpPr/>
          <p:nvPr/>
        </p:nvSpPr>
        <p:spPr>
          <a:xfrm>
            <a:off x="5826519" y="3380260"/>
            <a:ext cx="193281" cy="300873"/>
          </a:xfrm>
          <a:custGeom>
            <a:avLst/>
            <a:gdLst/>
            <a:ahLst/>
            <a:cxnLst/>
            <a:rect l="l" t="t" r="r" b="b"/>
            <a:pathLst>
              <a:path w="226787" h="185432">
                <a:moveTo>
                  <a:pt x="226787" y="0"/>
                </a:moveTo>
                <a:lnTo>
                  <a:pt x="0" y="185432"/>
                </a:lnTo>
              </a:path>
            </a:pathLst>
          </a:custGeom>
          <a:ln w="38099">
            <a:solidFill>
              <a:srgbClr val="6094C9"/>
            </a:solidFill>
            <a:headEnd type="arrow"/>
            <a:tailEnd type="arrow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0" name="object 82"/>
          <p:cNvSpPr/>
          <p:nvPr/>
        </p:nvSpPr>
        <p:spPr>
          <a:xfrm>
            <a:off x="3691847" y="5875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1" name="object 84"/>
          <p:cNvSpPr/>
          <p:nvPr/>
        </p:nvSpPr>
        <p:spPr>
          <a:xfrm>
            <a:off x="4677222" y="590921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2" name="object 86"/>
          <p:cNvSpPr/>
          <p:nvPr/>
        </p:nvSpPr>
        <p:spPr>
          <a:xfrm>
            <a:off x="5529026" y="589026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3" name="object 74"/>
          <p:cNvSpPr/>
          <p:nvPr/>
        </p:nvSpPr>
        <p:spPr>
          <a:xfrm>
            <a:off x="1945944" y="558313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4" name="object 72"/>
          <p:cNvSpPr/>
          <p:nvPr/>
        </p:nvSpPr>
        <p:spPr>
          <a:xfrm>
            <a:off x="5236841" y="2905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40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80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5" name="object 70"/>
          <p:cNvSpPr/>
          <p:nvPr/>
        </p:nvSpPr>
        <p:spPr>
          <a:xfrm>
            <a:off x="4837588" y="252356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6" name="object 68"/>
          <p:cNvSpPr/>
          <p:nvPr/>
        </p:nvSpPr>
        <p:spPr>
          <a:xfrm>
            <a:off x="4425503" y="211104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7" name="object 66"/>
          <p:cNvSpPr/>
          <p:nvPr/>
        </p:nvSpPr>
        <p:spPr>
          <a:xfrm>
            <a:off x="6149478" y="380010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094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8" name="object 63"/>
          <p:cNvSpPr/>
          <p:nvPr/>
        </p:nvSpPr>
        <p:spPr>
          <a:xfrm>
            <a:off x="5158317" y="54094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6"/>
                </a:lnTo>
                <a:lnTo>
                  <a:pt x="1583" y="198179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6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2"/>
                </a:lnTo>
                <a:lnTo>
                  <a:pt x="49876" y="299561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6"/>
                </a:lnTo>
                <a:lnTo>
                  <a:pt x="196530" y="342926"/>
                </a:lnTo>
                <a:lnTo>
                  <a:pt x="209650" y="339004"/>
                </a:lnTo>
                <a:lnTo>
                  <a:pt x="222295" y="333936"/>
                </a:lnTo>
                <a:lnTo>
                  <a:pt x="234413" y="327778"/>
                </a:lnTo>
                <a:lnTo>
                  <a:pt x="245953" y="320583"/>
                </a:lnTo>
                <a:lnTo>
                  <a:pt x="256864" y="312409"/>
                </a:lnTo>
                <a:lnTo>
                  <a:pt x="267095" y="303311"/>
                </a:lnTo>
                <a:lnTo>
                  <a:pt x="276595" y="293343"/>
                </a:lnTo>
                <a:lnTo>
                  <a:pt x="285312" y="282562"/>
                </a:lnTo>
                <a:lnTo>
                  <a:pt x="293195" y="271023"/>
                </a:lnTo>
                <a:lnTo>
                  <a:pt x="300193" y="258781"/>
                </a:lnTo>
                <a:lnTo>
                  <a:pt x="306255" y="245892"/>
                </a:lnTo>
                <a:lnTo>
                  <a:pt x="311330" y="232411"/>
                </a:lnTo>
                <a:lnTo>
                  <a:pt x="315366" y="218394"/>
                </a:lnTo>
                <a:lnTo>
                  <a:pt x="318312" y="203896"/>
                </a:lnTo>
                <a:lnTo>
                  <a:pt x="320117" y="188973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9" y="93485"/>
                </a:lnTo>
                <a:lnTo>
                  <a:pt x="296006" y="80986"/>
                </a:lnTo>
                <a:lnTo>
                  <a:pt x="288459" y="69169"/>
                </a:lnTo>
                <a:lnTo>
                  <a:pt x="280058" y="58089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4"/>
                </a:lnTo>
                <a:lnTo>
                  <a:pt x="86318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9" name="object 62"/>
          <p:cNvSpPr/>
          <p:nvPr/>
        </p:nvSpPr>
        <p:spPr>
          <a:xfrm>
            <a:off x="3604437" y="388180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0" name="object 60"/>
          <p:cNvSpPr/>
          <p:nvPr/>
        </p:nvSpPr>
        <p:spPr>
          <a:xfrm>
            <a:off x="2728738" y="495895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1" name="object 58"/>
          <p:cNvSpPr/>
          <p:nvPr/>
        </p:nvSpPr>
        <p:spPr>
          <a:xfrm>
            <a:off x="6790937" y="243336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2" name="object 56"/>
          <p:cNvSpPr/>
          <p:nvPr/>
        </p:nvSpPr>
        <p:spPr>
          <a:xfrm>
            <a:off x="5830796" y="23498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3" name="object 54"/>
          <p:cNvSpPr/>
          <p:nvPr/>
        </p:nvSpPr>
        <p:spPr>
          <a:xfrm>
            <a:off x="6630572" y="314183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4" name="object 52"/>
          <p:cNvSpPr/>
          <p:nvPr/>
        </p:nvSpPr>
        <p:spPr>
          <a:xfrm>
            <a:off x="3973599" y="450879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5" name="object 50"/>
          <p:cNvSpPr/>
          <p:nvPr/>
        </p:nvSpPr>
        <p:spPr>
          <a:xfrm>
            <a:off x="3718772" y="50002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6" name="object 48"/>
          <p:cNvSpPr/>
          <p:nvPr/>
        </p:nvSpPr>
        <p:spPr>
          <a:xfrm>
            <a:off x="2408007" y="44379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7" name="object 42"/>
          <p:cNvSpPr/>
          <p:nvPr/>
        </p:nvSpPr>
        <p:spPr>
          <a:xfrm>
            <a:off x="5025578" y="369976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8" name="object 44"/>
          <p:cNvSpPr/>
          <p:nvPr/>
        </p:nvSpPr>
        <p:spPr>
          <a:xfrm>
            <a:off x="4837588" y="296815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9" name="object 46"/>
          <p:cNvSpPr/>
          <p:nvPr/>
        </p:nvSpPr>
        <p:spPr>
          <a:xfrm>
            <a:off x="4698983" y="33524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0" name="object 40"/>
          <p:cNvSpPr/>
          <p:nvPr/>
        </p:nvSpPr>
        <p:spPr>
          <a:xfrm>
            <a:off x="4490595" y="5309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1" name="object 38"/>
          <p:cNvSpPr/>
          <p:nvPr/>
        </p:nvSpPr>
        <p:spPr>
          <a:xfrm>
            <a:off x="6309840" y="26070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2" name="object 36"/>
          <p:cNvSpPr/>
          <p:nvPr/>
        </p:nvSpPr>
        <p:spPr>
          <a:xfrm>
            <a:off x="6662640" y="379011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6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7"/>
                </a:lnTo>
                <a:lnTo>
                  <a:pt x="310251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094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3" name="object 34"/>
          <p:cNvSpPr/>
          <p:nvPr/>
        </p:nvSpPr>
        <p:spPr>
          <a:xfrm>
            <a:off x="4315829" y="28709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4" name="object 32"/>
          <p:cNvSpPr/>
          <p:nvPr/>
        </p:nvSpPr>
        <p:spPr>
          <a:xfrm>
            <a:off x="6470207" y="198120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5" name="object 30"/>
          <p:cNvSpPr/>
          <p:nvPr/>
        </p:nvSpPr>
        <p:spPr>
          <a:xfrm>
            <a:off x="5479047" y="355789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6" name="object 28"/>
          <p:cNvSpPr/>
          <p:nvPr/>
        </p:nvSpPr>
        <p:spPr>
          <a:xfrm>
            <a:off x="4155464" y="571658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7" name="object 26"/>
          <p:cNvSpPr/>
          <p:nvPr/>
        </p:nvSpPr>
        <p:spPr>
          <a:xfrm>
            <a:off x="4859348" y="49095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8" name="object 24"/>
          <p:cNvSpPr/>
          <p:nvPr/>
        </p:nvSpPr>
        <p:spPr>
          <a:xfrm>
            <a:off x="2806145" y="390525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9" name="object 22"/>
          <p:cNvSpPr/>
          <p:nvPr/>
        </p:nvSpPr>
        <p:spPr>
          <a:xfrm>
            <a:off x="2530320" y="55944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0" name="object 20"/>
          <p:cNvSpPr/>
          <p:nvPr/>
        </p:nvSpPr>
        <p:spPr>
          <a:xfrm>
            <a:off x="3126876" y="443922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1" name="object 18"/>
          <p:cNvSpPr/>
          <p:nvPr/>
        </p:nvSpPr>
        <p:spPr>
          <a:xfrm>
            <a:off x="5991162" y="307897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2" name="object 6"/>
          <p:cNvSpPr txBox="1"/>
          <p:nvPr/>
        </p:nvSpPr>
        <p:spPr>
          <a:xfrm>
            <a:off x="609600" y="4147206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grpSp>
        <p:nvGrpSpPr>
          <p:cNvPr id="134" name="Group 133"/>
          <p:cNvGrpSpPr/>
          <p:nvPr/>
        </p:nvGrpSpPr>
        <p:grpSpPr>
          <a:xfrm>
            <a:off x="1660913" y="2276856"/>
            <a:ext cx="6303362" cy="4054670"/>
            <a:chOff x="2343901" y="1923700"/>
            <a:chExt cx="6303362" cy="4054670"/>
          </a:xfrm>
        </p:grpSpPr>
        <p:sp>
          <p:nvSpPr>
            <p:cNvPr id="135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136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" name="object 82"/>
          <p:cNvSpPr/>
          <p:nvPr/>
        </p:nvSpPr>
        <p:spPr>
          <a:xfrm>
            <a:off x="5183063" y="4109350"/>
            <a:ext cx="995205" cy="858777"/>
          </a:xfrm>
          <a:custGeom>
            <a:avLst/>
            <a:gdLst/>
            <a:ahLst/>
            <a:cxnLst/>
            <a:rect l="l" t="t" r="r" b="b"/>
            <a:pathLst>
              <a:path w="979964" h="814040">
                <a:moveTo>
                  <a:pt x="979964" y="0"/>
                </a:moveTo>
                <a:lnTo>
                  <a:pt x="0" y="814040"/>
                </a:lnTo>
              </a:path>
            </a:pathLst>
          </a:custGeom>
          <a:ln w="38099">
            <a:solidFill>
              <a:srgbClr val="6094C9"/>
            </a:solidFill>
            <a:headEnd type="arrow"/>
            <a:tailEnd type="arrow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9" name="object 3"/>
          <p:cNvSpPr txBox="1"/>
          <p:nvPr/>
        </p:nvSpPr>
        <p:spPr>
          <a:xfrm>
            <a:off x="604887" y="533891"/>
            <a:ext cx="8234312" cy="3810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3000"/>
              </a:lnSpc>
              <a:spcBef>
                <a:spcPts val="150"/>
              </a:spcBef>
            </a:pPr>
            <a:r>
              <a:rPr lang="en-US" sz="4200" baseline="1950" dirty="0" smtClean="0">
                <a:solidFill>
                  <a:srgbClr val="4E81BC"/>
                </a:solidFill>
                <a:latin typeface="+mj-lt"/>
                <a:cs typeface="Calibri"/>
              </a:rPr>
              <a:t>linkage </a:t>
            </a:r>
            <a:r>
              <a:rPr lang="en-US" sz="4200" baseline="1950" dirty="0">
                <a:solidFill>
                  <a:srgbClr val="4E81BC"/>
                </a:solidFill>
                <a:latin typeface="+mj-lt"/>
                <a:cs typeface="Calibri"/>
              </a:rPr>
              <a:t>= “</a:t>
            </a:r>
            <a:r>
              <a:rPr lang="en-US" sz="4200" baseline="1950" dirty="0" smtClean="0">
                <a:solidFill>
                  <a:srgbClr val="4E81BC"/>
                </a:solidFill>
                <a:latin typeface="+mj-lt"/>
                <a:cs typeface="Calibri"/>
              </a:rPr>
              <a:t>single”</a:t>
            </a:r>
            <a:endParaRPr sz="2800" dirty="0">
              <a:latin typeface="+mj-lt"/>
              <a:cs typeface="Calibri"/>
            </a:endParaRPr>
          </a:p>
        </p:txBody>
      </p:sp>
      <p:sp>
        <p:nvSpPr>
          <p:cNvPr id="100" name="object 13"/>
          <p:cNvSpPr txBox="1"/>
          <p:nvPr/>
        </p:nvSpPr>
        <p:spPr>
          <a:xfrm>
            <a:off x="604886" y="999752"/>
            <a:ext cx="8234313" cy="905248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>
              <a:lnSpc>
                <a:spcPts val="3400"/>
              </a:lnSpc>
              <a:spcBef>
                <a:spcPts val="170"/>
              </a:spcBef>
            </a:pPr>
            <a:r>
              <a:rPr lang="en-US" sz="4200" spc="0" baseline="1706" dirty="0" smtClean="0">
                <a:solidFill>
                  <a:srgbClr val="7F7E7E"/>
                </a:solidFill>
                <a:latin typeface="+mj-lt"/>
                <a:cs typeface="Calibri"/>
              </a:rPr>
              <a:t>Distance between two cluster is the minimum pairwise distance</a:t>
            </a:r>
            <a:endParaRPr sz="4200" dirty="0">
              <a:solidFill>
                <a:srgbClr val="7F7E7E"/>
              </a:solidFill>
              <a:latin typeface="+mj-lt"/>
              <a:cs typeface="Calibri"/>
            </a:endParaRPr>
          </a:p>
        </p:txBody>
      </p:sp>
      <p:sp>
        <p:nvSpPr>
          <p:cNvPr id="101" name="object 40"/>
          <p:cNvSpPr/>
          <p:nvPr/>
        </p:nvSpPr>
        <p:spPr>
          <a:xfrm>
            <a:off x="4066245" y="5257009"/>
            <a:ext cx="429556" cy="153629"/>
          </a:xfrm>
          <a:custGeom>
            <a:avLst/>
            <a:gdLst/>
            <a:ahLst/>
            <a:cxnLst/>
            <a:rect l="l" t="t" r="r" b="b"/>
            <a:pathLst>
              <a:path w="406727" h="147848">
                <a:moveTo>
                  <a:pt x="406727" y="147848"/>
                </a:moveTo>
                <a:lnTo>
                  <a:pt x="0" y="0"/>
                </a:lnTo>
              </a:path>
            </a:pathLst>
          </a:custGeom>
          <a:ln w="38099">
            <a:solidFill>
              <a:srgbClr val="6094C9"/>
            </a:solidFill>
            <a:headEnd type="arrow"/>
            <a:tailEnd type="arrow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2" name="object 2"/>
          <p:cNvSpPr txBox="1"/>
          <p:nvPr/>
        </p:nvSpPr>
        <p:spPr>
          <a:xfrm>
            <a:off x="1673165" y="2308963"/>
            <a:ext cx="6303362" cy="405467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103" name="object 56"/>
          <p:cNvSpPr/>
          <p:nvPr/>
        </p:nvSpPr>
        <p:spPr>
          <a:xfrm>
            <a:off x="3927243" y="3641273"/>
            <a:ext cx="804730" cy="297678"/>
          </a:xfrm>
          <a:custGeom>
            <a:avLst/>
            <a:gdLst/>
            <a:ahLst/>
            <a:cxnLst/>
            <a:rect l="l" t="t" r="r" b="b"/>
            <a:pathLst>
              <a:path w="804730" h="297678">
                <a:moveTo>
                  <a:pt x="804730" y="0"/>
                </a:moveTo>
                <a:lnTo>
                  <a:pt x="0" y="297678"/>
                </a:lnTo>
              </a:path>
            </a:pathLst>
          </a:custGeom>
          <a:ln w="38099">
            <a:solidFill>
              <a:srgbClr val="6094C9"/>
            </a:solidFill>
            <a:headEnd type="arrow"/>
            <a:tailEnd type="arrow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4" name="object 2"/>
          <p:cNvSpPr txBox="1"/>
          <p:nvPr/>
        </p:nvSpPr>
        <p:spPr>
          <a:xfrm>
            <a:off x="1673165" y="2308963"/>
            <a:ext cx="6303362" cy="405467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105" name="object 70"/>
          <p:cNvSpPr/>
          <p:nvPr/>
        </p:nvSpPr>
        <p:spPr>
          <a:xfrm>
            <a:off x="5826519" y="3380260"/>
            <a:ext cx="193281" cy="300873"/>
          </a:xfrm>
          <a:custGeom>
            <a:avLst/>
            <a:gdLst/>
            <a:ahLst/>
            <a:cxnLst/>
            <a:rect l="l" t="t" r="r" b="b"/>
            <a:pathLst>
              <a:path w="226787" h="185432">
                <a:moveTo>
                  <a:pt x="226787" y="0"/>
                </a:moveTo>
                <a:lnTo>
                  <a:pt x="0" y="185432"/>
                </a:lnTo>
              </a:path>
            </a:pathLst>
          </a:custGeom>
          <a:ln w="38099">
            <a:solidFill>
              <a:srgbClr val="6094C9"/>
            </a:solidFill>
            <a:headEnd type="arrow"/>
            <a:tailEnd type="arrow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6" name="object 82"/>
          <p:cNvSpPr/>
          <p:nvPr/>
        </p:nvSpPr>
        <p:spPr>
          <a:xfrm>
            <a:off x="3691847" y="5875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7" name="object 84"/>
          <p:cNvSpPr/>
          <p:nvPr/>
        </p:nvSpPr>
        <p:spPr>
          <a:xfrm>
            <a:off x="4677222" y="590921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8" name="object 86"/>
          <p:cNvSpPr/>
          <p:nvPr/>
        </p:nvSpPr>
        <p:spPr>
          <a:xfrm>
            <a:off x="5529026" y="589026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9" name="object 74"/>
          <p:cNvSpPr/>
          <p:nvPr/>
        </p:nvSpPr>
        <p:spPr>
          <a:xfrm>
            <a:off x="1945944" y="558313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0" name="object 72"/>
          <p:cNvSpPr/>
          <p:nvPr/>
        </p:nvSpPr>
        <p:spPr>
          <a:xfrm>
            <a:off x="5236841" y="2905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40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80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1" name="object 70"/>
          <p:cNvSpPr/>
          <p:nvPr/>
        </p:nvSpPr>
        <p:spPr>
          <a:xfrm>
            <a:off x="4837588" y="252356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2" name="object 68"/>
          <p:cNvSpPr/>
          <p:nvPr/>
        </p:nvSpPr>
        <p:spPr>
          <a:xfrm>
            <a:off x="4425503" y="211104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3" name="object 66"/>
          <p:cNvSpPr/>
          <p:nvPr/>
        </p:nvSpPr>
        <p:spPr>
          <a:xfrm>
            <a:off x="6149478" y="380010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094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4" name="object 63"/>
          <p:cNvSpPr/>
          <p:nvPr/>
        </p:nvSpPr>
        <p:spPr>
          <a:xfrm>
            <a:off x="5158317" y="54094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6"/>
                </a:lnTo>
                <a:lnTo>
                  <a:pt x="1583" y="198179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6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2"/>
                </a:lnTo>
                <a:lnTo>
                  <a:pt x="49876" y="299561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6"/>
                </a:lnTo>
                <a:lnTo>
                  <a:pt x="196530" y="342926"/>
                </a:lnTo>
                <a:lnTo>
                  <a:pt x="209650" y="339004"/>
                </a:lnTo>
                <a:lnTo>
                  <a:pt x="222295" y="333936"/>
                </a:lnTo>
                <a:lnTo>
                  <a:pt x="234413" y="327778"/>
                </a:lnTo>
                <a:lnTo>
                  <a:pt x="245953" y="320583"/>
                </a:lnTo>
                <a:lnTo>
                  <a:pt x="256864" y="312409"/>
                </a:lnTo>
                <a:lnTo>
                  <a:pt x="267095" y="303311"/>
                </a:lnTo>
                <a:lnTo>
                  <a:pt x="276595" y="293343"/>
                </a:lnTo>
                <a:lnTo>
                  <a:pt x="285312" y="282562"/>
                </a:lnTo>
                <a:lnTo>
                  <a:pt x="293195" y="271023"/>
                </a:lnTo>
                <a:lnTo>
                  <a:pt x="300193" y="258781"/>
                </a:lnTo>
                <a:lnTo>
                  <a:pt x="306255" y="245892"/>
                </a:lnTo>
                <a:lnTo>
                  <a:pt x="311330" y="232411"/>
                </a:lnTo>
                <a:lnTo>
                  <a:pt x="315366" y="218394"/>
                </a:lnTo>
                <a:lnTo>
                  <a:pt x="318312" y="203896"/>
                </a:lnTo>
                <a:lnTo>
                  <a:pt x="320117" y="188973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9" y="93485"/>
                </a:lnTo>
                <a:lnTo>
                  <a:pt x="296006" y="80986"/>
                </a:lnTo>
                <a:lnTo>
                  <a:pt x="288459" y="69169"/>
                </a:lnTo>
                <a:lnTo>
                  <a:pt x="280058" y="58089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4"/>
                </a:lnTo>
                <a:lnTo>
                  <a:pt x="86318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5" name="object 62"/>
          <p:cNvSpPr/>
          <p:nvPr/>
        </p:nvSpPr>
        <p:spPr>
          <a:xfrm>
            <a:off x="3604437" y="388180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6" name="object 60"/>
          <p:cNvSpPr/>
          <p:nvPr/>
        </p:nvSpPr>
        <p:spPr>
          <a:xfrm>
            <a:off x="2728738" y="495895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7" name="object 58"/>
          <p:cNvSpPr/>
          <p:nvPr/>
        </p:nvSpPr>
        <p:spPr>
          <a:xfrm>
            <a:off x="6790937" y="243336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8" name="object 56"/>
          <p:cNvSpPr/>
          <p:nvPr/>
        </p:nvSpPr>
        <p:spPr>
          <a:xfrm>
            <a:off x="5830796" y="23498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9" name="object 54"/>
          <p:cNvSpPr/>
          <p:nvPr/>
        </p:nvSpPr>
        <p:spPr>
          <a:xfrm>
            <a:off x="6630572" y="314183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0" name="object 52"/>
          <p:cNvSpPr/>
          <p:nvPr/>
        </p:nvSpPr>
        <p:spPr>
          <a:xfrm>
            <a:off x="3973599" y="450879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1" name="object 50"/>
          <p:cNvSpPr/>
          <p:nvPr/>
        </p:nvSpPr>
        <p:spPr>
          <a:xfrm>
            <a:off x="3718772" y="50002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2" name="object 48"/>
          <p:cNvSpPr/>
          <p:nvPr/>
        </p:nvSpPr>
        <p:spPr>
          <a:xfrm>
            <a:off x="2408007" y="44379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3" name="object 42"/>
          <p:cNvSpPr/>
          <p:nvPr/>
        </p:nvSpPr>
        <p:spPr>
          <a:xfrm>
            <a:off x="5025578" y="369976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4" name="object 44"/>
          <p:cNvSpPr/>
          <p:nvPr/>
        </p:nvSpPr>
        <p:spPr>
          <a:xfrm>
            <a:off x="4837588" y="296815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5" name="object 46"/>
          <p:cNvSpPr/>
          <p:nvPr/>
        </p:nvSpPr>
        <p:spPr>
          <a:xfrm>
            <a:off x="4698983" y="33524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6" name="object 40"/>
          <p:cNvSpPr/>
          <p:nvPr/>
        </p:nvSpPr>
        <p:spPr>
          <a:xfrm>
            <a:off x="4490595" y="5309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7" name="object 38"/>
          <p:cNvSpPr/>
          <p:nvPr/>
        </p:nvSpPr>
        <p:spPr>
          <a:xfrm>
            <a:off x="6309840" y="26070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8" name="object 36"/>
          <p:cNvSpPr/>
          <p:nvPr/>
        </p:nvSpPr>
        <p:spPr>
          <a:xfrm>
            <a:off x="6662640" y="379011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6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7"/>
                </a:lnTo>
                <a:lnTo>
                  <a:pt x="310251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094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9" name="object 34"/>
          <p:cNvSpPr/>
          <p:nvPr/>
        </p:nvSpPr>
        <p:spPr>
          <a:xfrm>
            <a:off x="4315829" y="28709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0" name="object 32"/>
          <p:cNvSpPr/>
          <p:nvPr/>
        </p:nvSpPr>
        <p:spPr>
          <a:xfrm>
            <a:off x="6470207" y="198120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1" name="object 30"/>
          <p:cNvSpPr/>
          <p:nvPr/>
        </p:nvSpPr>
        <p:spPr>
          <a:xfrm>
            <a:off x="5479047" y="355789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2" name="object 28"/>
          <p:cNvSpPr/>
          <p:nvPr/>
        </p:nvSpPr>
        <p:spPr>
          <a:xfrm>
            <a:off x="4155464" y="571658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3" name="object 26"/>
          <p:cNvSpPr/>
          <p:nvPr/>
        </p:nvSpPr>
        <p:spPr>
          <a:xfrm>
            <a:off x="4859348" y="49095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4" name="object 24"/>
          <p:cNvSpPr/>
          <p:nvPr/>
        </p:nvSpPr>
        <p:spPr>
          <a:xfrm>
            <a:off x="2806145" y="390525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5" name="object 22"/>
          <p:cNvSpPr/>
          <p:nvPr/>
        </p:nvSpPr>
        <p:spPr>
          <a:xfrm>
            <a:off x="2530320" y="55944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6" name="object 20"/>
          <p:cNvSpPr/>
          <p:nvPr/>
        </p:nvSpPr>
        <p:spPr>
          <a:xfrm>
            <a:off x="3126876" y="443922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7" name="object 18"/>
          <p:cNvSpPr/>
          <p:nvPr/>
        </p:nvSpPr>
        <p:spPr>
          <a:xfrm>
            <a:off x="5991162" y="307897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8" name="object 6"/>
          <p:cNvSpPr txBox="1"/>
          <p:nvPr/>
        </p:nvSpPr>
        <p:spPr>
          <a:xfrm>
            <a:off x="609600" y="4147206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grpSp>
        <p:nvGrpSpPr>
          <p:cNvPr id="140" name="Group 139"/>
          <p:cNvGrpSpPr/>
          <p:nvPr/>
        </p:nvGrpSpPr>
        <p:grpSpPr>
          <a:xfrm>
            <a:off x="1660913" y="2276856"/>
            <a:ext cx="6303362" cy="4054670"/>
            <a:chOff x="2343901" y="1923700"/>
            <a:chExt cx="6303362" cy="4054670"/>
          </a:xfrm>
        </p:grpSpPr>
        <p:sp>
          <p:nvSpPr>
            <p:cNvPr id="141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142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" name="object 3"/>
          <p:cNvSpPr txBox="1"/>
          <p:nvPr/>
        </p:nvSpPr>
        <p:spPr>
          <a:xfrm>
            <a:off x="604887" y="533891"/>
            <a:ext cx="8234312" cy="3810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3000"/>
              </a:lnSpc>
              <a:spcBef>
                <a:spcPts val="150"/>
              </a:spcBef>
            </a:pPr>
            <a:r>
              <a:rPr lang="en-US" sz="4200" baseline="1950" dirty="0" smtClean="0">
                <a:solidFill>
                  <a:srgbClr val="4E81BC"/>
                </a:solidFill>
                <a:latin typeface="+mj-lt"/>
                <a:cs typeface="Calibri"/>
              </a:rPr>
              <a:t>linkage </a:t>
            </a:r>
            <a:r>
              <a:rPr lang="en-US" sz="4200" baseline="1950" dirty="0">
                <a:solidFill>
                  <a:srgbClr val="4E81BC"/>
                </a:solidFill>
                <a:latin typeface="+mj-lt"/>
                <a:cs typeface="Calibri"/>
              </a:rPr>
              <a:t>= “</a:t>
            </a:r>
            <a:r>
              <a:rPr lang="en-US" sz="4200" baseline="1950" dirty="0" smtClean="0">
                <a:solidFill>
                  <a:srgbClr val="4E81BC"/>
                </a:solidFill>
                <a:latin typeface="+mj-lt"/>
                <a:cs typeface="Calibri"/>
              </a:rPr>
              <a:t>single”</a:t>
            </a:r>
            <a:endParaRPr sz="2800" dirty="0">
              <a:latin typeface="+mj-lt"/>
              <a:cs typeface="Calibri"/>
            </a:endParaRPr>
          </a:p>
        </p:txBody>
      </p:sp>
      <p:sp>
        <p:nvSpPr>
          <p:cNvPr id="104" name="object 13"/>
          <p:cNvSpPr txBox="1"/>
          <p:nvPr/>
        </p:nvSpPr>
        <p:spPr>
          <a:xfrm>
            <a:off x="604886" y="999752"/>
            <a:ext cx="8234313" cy="905248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>
              <a:lnSpc>
                <a:spcPts val="3400"/>
              </a:lnSpc>
              <a:spcBef>
                <a:spcPts val="170"/>
              </a:spcBef>
            </a:pPr>
            <a:r>
              <a:rPr lang="en-US" sz="4200" spc="0" baseline="1706" dirty="0" smtClean="0">
                <a:solidFill>
                  <a:srgbClr val="7F7E7E"/>
                </a:solidFill>
                <a:latin typeface="+mj-lt"/>
                <a:cs typeface="Calibri"/>
              </a:rPr>
              <a:t>Distance between two cluster is the minimum pairwise distance</a:t>
            </a:r>
            <a:endParaRPr sz="4200" dirty="0">
              <a:solidFill>
                <a:srgbClr val="7F7E7E"/>
              </a:solidFill>
              <a:latin typeface="+mj-lt"/>
              <a:cs typeface="Calibri"/>
            </a:endParaRPr>
          </a:p>
        </p:txBody>
      </p:sp>
      <p:sp>
        <p:nvSpPr>
          <p:cNvPr id="105" name="object 82"/>
          <p:cNvSpPr/>
          <p:nvPr/>
        </p:nvSpPr>
        <p:spPr>
          <a:xfrm>
            <a:off x="5183063" y="4109350"/>
            <a:ext cx="995205" cy="858777"/>
          </a:xfrm>
          <a:custGeom>
            <a:avLst/>
            <a:gdLst/>
            <a:ahLst/>
            <a:cxnLst/>
            <a:rect l="l" t="t" r="r" b="b"/>
            <a:pathLst>
              <a:path w="979964" h="814040">
                <a:moveTo>
                  <a:pt x="979964" y="0"/>
                </a:moveTo>
                <a:lnTo>
                  <a:pt x="0" y="814040"/>
                </a:lnTo>
              </a:path>
            </a:pathLst>
          </a:custGeom>
          <a:ln w="38099">
            <a:solidFill>
              <a:srgbClr val="6094C9"/>
            </a:solidFill>
            <a:headEnd type="arrow"/>
            <a:tailEnd type="arrow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6" name="object 40"/>
          <p:cNvSpPr/>
          <p:nvPr/>
        </p:nvSpPr>
        <p:spPr>
          <a:xfrm>
            <a:off x="4066245" y="5257009"/>
            <a:ext cx="429556" cy="153629"/>
          </a:xfrm>
          <a:custGeom>
            <a:avLst/>
            <a:gdLst/>
            <a:ahLst/>
            <a:cxnLst/>
            <a:rect l="l" t="t" r="r" b="b"/>
            <a:pathLst>
              <a:path w="406727" h="147848">
                <a:moveTo>
                  <a:pt x="406727" y="147848"/>
                </a:moveTo>
                <a:lnTo>
                  <a:pt x="0" y="0"/>
                </a:lnTo>
              </a:path>
            </a:pathLst>
          </a:custGeom>
          <a:ln w="38099">
            <a:solidFill>
              <a:srgbClr val="6094C9"/>
            </a:solidFill>
            <a:headEnd type="arrow"/>
            <a:tailEnd type="arrow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7" name="object 2"/>
          <p:cNvSpPr txBox="1"/>
          <p:nvPr/>
        </p:nvSpPr>
        <p:spPr>
          <a:xfrm>
            <a:off x="1673165" y="2308963"/>
            <a:ext cx="6303362" cy="405467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108" name="object 56"/>
          <p:cNvSpPr/>
          <p:nvPr/>
        </p:nvSpPr>
        <p:spPr>
          <a:xfrm>
            <a:off x="3927243" y="3641273"/>
            <a:ext cx="804730" cy="297678"/>
          </a:xfrm>
          <a:custGeom>
            <a:avLst/>
            <a:gdLst/>
            <a:ahLst/>
            <a:cxnLst/>
            <a:rect l="l" t="t" r="r" b="b"/>
            <a:pathLst>
              <a:path w="804730" h="297678">
                <a:moveTo>
                  <a:pt x="804730" y="0"/>
                </a:moveTo>
                <a:lnTo>
                  <a:pt x="0" y="297678"/>
                </a:lnTo>
              </a:path>
            </a:pathLst>
          </a:custGeom>
          <a:ln w="38099">
            <a:solidFill>
              <a:srgbClr val="6094C9"/>
            </a:solidFill>
            <a:headEnd type="arrow"/>
            <a:tailEnd type="arrow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9" name="object 2"/>
          <p:cNvSpPr txBox="1"/>
          <p:nvPr/>
        </p:nvSpPr>
        <p:spPr>
          <a:xfrm>
            <a:off x="1673165" y="2308963"/>
            <a:ext cx="6303362" cy="405467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110" name="object 70"/>
          <p:cNvSpPr/>
          <p:nvPr/>
        </p:nvSpPr>
        <p:spPr>
          <a:xfrm>
            <a:off x="5826519" y="3380260"/>
            <a:ext cx="193281" cy="300873"/>
          </a:xfrm>
          <a:custGeom>
            <a:avLst/>
            <a:gdLst/>
            <a:ahLst/>
            <a:cxnLst/>
            <a:rect l="l" t="t" r="r" b="b"/>
            <a:pathLst>
              <a:path w="226787" h="185432">
                <a:moveTo>
                  <a:pt x="226787" y="0"/>
                </a:moveTo>
                <a:lnTo>
                  <a:pt x="0" y="185432"/>
                </a:lnTo>
              </a:path>
            </a:pathLst>
          </a:custGeom>
          <a:ln w="38099">
            <a:solidFill>
              <a:srgbClr val="6094C9"/>
            </a:solidFill>
            <a:headEnd type="arrow"/>
            <a:tailEnd type="arrow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1" name="object 82"/>
          <p:cNvSpPr/>
          <p:nvPr/>
        </p:nvSpPr>
        <p:spPr>
          <a:xfrm>
            <a:off x="3691847" y="5875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2" name="object 84"/>
          <p:cNvSpPr/>
          <p:nvPr/>
        </p:nvSpPr>
        <p:spPr>
          <a:xfrm>
            <a:off x="4677222" y="590921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3" name="object 86"/>
          <p:cNvSpPr/>
          <p:nvPr/>
        </p:nvSpPr>
        <p:spPr>
          <a:xfrm>
            <a:off x="5529026" y="589026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4" name="object 74"/>
          <p:cNvSpPr/>
          <p:nvPr/>
        </p:nvSpPr>
        <p:spPr>
          <a:xfrm>
            <a:off x="1945944" y="558313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5" name="object 72"/>
          <p:cNvSpPr/>
          <p:nvPr/>
        </p:nvSpPr>
        <p:spPr>
          <a:xfrm>
            <a:off x="5236841" y="2905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40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80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6" name="object 70"/>
          <p:cNvSpPr/>
          <p:nvPr/>
        </p:nvSpPr>
        <p:spPr>
          <a:xfrm>
            <a:off x="4837588" y="252356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7" name="object 68"/>
          <p:cNvSpPr/>
          <p:nvPr/>
        </p:nvSpPr>
        <p:spPr>
          <a:xfrm>
            <a:off x="4425503" y="211104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8" name="object 66"/>
          <p:cNvSpPr/>
          <p:nvPr/>
        </p:nvSpPr>
        <p:spPr>
          <a:xfrm>
            <a:off x="6149478" y="380010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094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9" name="object 63"/>
          <p:cNvSpPr/>
          <p:nvPr/>
        </p:nvSpPr>
        <p:spPr>
          <a:xfrm>
            <a:off x="5158317" y="54094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6"/>
                </a:lnTo>
                <a:lnTo>
                  <a:pt x="1583" y="198179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6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2"/>
                </a:lnTo>
                <a:lnTo>
                  <a:pt x="49876" y="299561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6"/>
                </a:lnTo>
                <a:lnTo>
                  <a:pt x="196530" y="342926"/>
                </a:lnTo>
                <a:lnTo>
                  <a:pt x="209650" y="339004"/>
                </a:lnTo>
                <a:lnTo>
                  <a:pt x="222295" y="333936"/>
                </a:lnTo>
                <a:lnTo>
                  <a:pt x="234413" y="327778"/>
                </a:lnTo>
                <a:lnTo>
                  <a:pt x="245953" y="320583"/>
                </a:lnTo>
                <a:lnTo>
                  <a:pt x="256864" y="312409"/>
                </a:lnTo>
                <a:lnTo>
                  <a:pt x="267095" y="303311"/>
                </a:lnTo>
                <a:lnTo>
                  <a:pt x="276595" y="293343"/>
                </a:lnTo>
                <a:lnTo>
                  <a:pt x="285312" y="282562"/>
                </a:lnTo>
                <a:lnTo>
                  <a:pt x="293195" y="271023"/>
                </a:lnTo>
                <a:lnTo>
                  <a:pt x="300193" y="258781"/>
                </a:lnTo>
                <a:lnTo>
                  <a:pt x="306255" y="245892"/>
                </a:lnTo>
                <a:lnTo>
                  <a:pt x="311330" y="232411"/>
                </a:lnTo>
                <a:lnTo>
                  <a:pt x="315366" y="218394"/>
                </a:lnTo>
                <a:lnTo>
                  <a:pt x="318312" y="203896"/>
                </a:lnTo>
                <a:lnTo>
                  <a:pt x="320117" y="188973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9" y="93485"/>
                </a:lnTo>
                <a:lnTo>
                  <a:pt x="296006" y="80986"/>
                </a:lnTo>
                <a:lnTo>
                  <a:pt x="288459" y="69169"/>
                </a:lnTo>
                <a:lnTo>
                  <a:pt x="280058" y="58089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4"/>
                </a:lnTo>
                <a:lnTo>
                  <a:pt x="86318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0" name="object 62"/>
          <p:cNvSpPr/>
          <p:nvPr/>
        </p:nvSpPr>
        <p:spPr>
          <a:xfrm>
            <a:off x="3604437" y="388180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1" name="object 60"/>
          <p:cNvSpPr/>
          <p:nvPr/>
        </p:nvSpPr>
        <p:spPr>
          <a:xfrm>
            <a:off x="2728738" y="495895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2" name="object 58"/>
          <p:cNvSpPr/>
          <p:nvPr/>
        </p:nvSpPr>
        <p:spPr>
          <a:xfrm>
            <a:off x="6790937" y="243336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3" name="object 56"/>
          <p:cNvSpPr/>
          <p:nvPr/>
        </p:nvSpPr>
        <p:spPr>
          <a:xfrm>
            <a:off x="5830796" y="23498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4" name="object 54"/>
          <p:cNvSpPr/>
          <p:nvPr/>
        </p:nvSpPr>
        <p:spPr>
          <a:xfrm>
            <a:off x="6630572" y="314183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5" name="object 52"/>
          <p:cNvSpPr/>
          <p:nvPr/>
        </p:nvSpPr>
        <p:spPr>
          <a:xfrm>
            <a:off x="3973599" y="450879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6" name="object 50"/>
          <p:cNvSpPr/>
          <p:nvPr/>
        </p:nvSpPr>
        <p:spPr>
          <a:xfrm>
            <a:off x="3718772" y="50002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7" name="object 48"/>
          <p:cNvSpPr/>
          <p:nvPr/>
        </p:nvSpPr>
        <p:spPr>
          <a:xfrm>
            <a:off x="2408007" y="44379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8" name="object 42"/>
          <p:cNvSpPr/>
          <p:nvPr/>
        </p:nvSpPr>
        <p:spPr>
          <a:xfrm>
            <a:off x="5025578" y="369976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9" name="object 44"/>
          <p:cNvSpPr/>
          <p:nvPr/>
        </p:nvSpPr>
        <p:spPr>
          <a:xfrm>
            <a:off x="4837588" y="296815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0" name="object 46"/>
          <p:cNvSpPr/>
          <p:nvPr/>
        </p:nvSpPr>
        <p:spPr>
          <a:xfrm>
            <a:off x="4698983" y="33524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1" name="object 40"/>
          <p:cNvSpPr/>
          <p:nvPr/>
        </p:nvSpPr>
        <p:spPr>
          <a:xfrm>
            <a:off x="4490595" y="5309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2" name="object 38"/>
          <p:cNvSpPr/>
          <p:nvPr/>
        </p:nvSpPr>
        <p:spPr>
          <a:xfrm>
            <a:off x="6309840" y="26070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3" name="object 36"/>
          <p:cNvSpPr/>
          <p:nvPr/>
        </p:nvSpPr>
        <p:spPr>
          <a:xfrm>
            <a:off x="6662640" y="379011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6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7"/>
                </a:lnTo>
                <a:lnTo>
                  <a:pt x="310251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094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4" name="object 34"/>
          <p:cNvSpPr/>
          <p:nvPr/>
        </p:nvSpPr>
        <p:spPr>
          <a:xfrm>
            <a:off x="4315829" y="28709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5" name="object 32"/>
          <p:cNvSpPr/>
          <p:nvPr/>
        </p:nvSpPr>
        <p:spPr>
          <a:xfrm>
            <a:off x="6470207" y="198120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6" name="object 30"/>
          <p:cNvSpPr/>
          <p:nvPr/>
        </p:nvSpPr>
        <p:spPr>
          <a:xfrm>
            <a:off x="5479047" y="355789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7" name="object 28"/>
          <p:cNvSpPr/>
          <p:nvPr/>
        </p:nvSpPr>
        <p:spPr>
          <a:xfrm>
            <a:off x="4155464" y="571658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8" name="object 26"/>
          <p:cNvSpPr/>
          <p:nvPr/>
        </p:nvSpPr>
        <p:spPr>
          <a:xfrm>
            <a:off x="4859348" y="49095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9" name="object 24"/>
          <p:cNvSpPr/>
          <p:nvPr/>
        </p:nvSpPr>
        <p:spPr>
          <a:xfrm>
            <a:off x="2806145" y="390525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0" name="object 22"/>
          <p:cNvSpPr/>
          <p:nvPr/>
        </p:nvSpPr>
        <p:spPr>
          <a:xfrm>
            <a:off x="2530320" y="55944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1" name="object 20"/>
          <p:cNvSpPr/>
          <p:nvPr/>
        </p:nvSpPr>
        <p:spPr>
          <a:xfrm>
            <a:off x="3126876" y="443922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2" name="object 18"/>
          <p:cNvSpPr/>
          <p:nvPr/>
        </p:nvSpPr>
        <p:spPr>
          <a:xfrm>
            <a:off x="5991162" y="307897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3" name="object 6"/>
          <p:cNvSpPr txBox="1"/>
          <p:nvPr/>
        </p:nvSpPr>
        <p:spPr>
          <a:xfrm>
            <a:off x="609600" y="4147206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grpSp>
        <p:nvGrpSpPr>
          <p:cNvPr id="145" name="Group 144"/>
          <p:cNvGrpSpPr/>
          <p:nvPr/>
        </p:nvGrpSpPr>
        <p:grpSpPr>
          <a:xfrm>
            <a:off x="1660913" y="2276856"/>
            <a:ext cx="6303362" cy="4054670"/>
            <a:chOff x="2343901" y="1923700"/>
            <a:chExt cx="6303362" cy="4054670"/>
          </a:xfrm>
        </p:grpSpPr>
        <p:sp>
          <p:nvSpPr>
            <p:cNvPr id="146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147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  <p:sp>
        <p:nvSpPr>
          <p:cNvPr id="148" name="object 82"/>
          <p:cNvSpPr/>
          <p:nvPr/>
        </p:nvSpPr>
        <p:spPr>
          <a:xfrm>
            <a:off x="5024693" y="4047240"/>
            <a:ext cx="145336" cy="862298"/>
          </a:xfrm>
          <a:custGeom>
            <a:avLst/>
            <a:gdLst/>
            <a:ahLst/>
            <a:cxnLst/>
            <a:rect l="l" t="t" r="r" b="b"/>
            <a:pathLst>
              <a:path w="979964" h="814040">
                <a:moveTo>
                  <a:pt x="979964" y="0"/>
                </a:moveTo>
                <a:lnTo>
                  <a:pt x="0" y="814040"/>
                </a:lnTo>
              </a:path>
            </a:pathLst>
          </a:custGeom>
          <a:ln w="38099">
            <a:solidFill>
              <a:srgbClr val="6094C9"/>
            </a:solidFill>
            <a:headEnd type="arrow"/>
            <a:tailEnd type="arrow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8" name="object 3"/>
          <p:cNvSpPr txBox="1"/>
          <p:nvPr/>
        </p:nvSpPr>
        <p:spPr>
          <a:xfrm>
            <a:off x="604887" y="533891"/>
            <a:ext cx="8234312" cy="3810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3000"/>
              </a:lnSpc>
              <a:spcBef>
                <a:spcPts val="150"/>
              </a:spcBef>
            </a:pPr>
            <a:r>
              <a:rPr lang="en-US" sz="4200" baseline="1950" dirty="0" smtClean="0">
                <a:solidFill>
                  <a:srgbClr val="4E81BC"/>
                </a:solidFill>
                <a:latin typeface="+mj-lt"/>
                <a:cs typeface="Calibri"/>
              </a:rPr>
              <a:t>linkage </a:t>
            </a:r>
            <a:r>
              <a:rPr lang="en-US" sz="4200" baseline="1950" dirty="0">
                <a:solidFill>
                  <a:srgbClr val="4E81BC"/>
                </a:solidFill>
                <a:latin typeface="+mj-lt"/>
                <a:cs typeface="Calibri"/>
              </a:rPr>
              <a:t>= “</a:t>
            </a:r>
            <a:r>
              <a:rPr lang="en-US" sz="4200" baseline="1950" dirty="0" smtClean="0">
                <a:solidFill>
                  <a:srgbClr val="4E81BC"/>
                </a:solidFill>
                <a:latin typeface="+mj-lt"/>
                <a:cs typeface="Calibri"/>
              </a:rPr>
              <a:t>single”</a:t>
            </a:r>
            <a:endParaRPr sz="2800" dirty="0">
              <a:latin typeface="+mj-lt"/>
              <a:cs typeface="Calibri"/>
            </a:endParaRPr>
          </a:p>
        </p:txBody>
      </p:sp>
      <p:sp>
        <p:nvSpPr>
          <p:cNvPr id="109" name="object 13"/>
          <p:cNvSpPr txBox="1"/>
          <p:nvPr/>
        </p:nvSpPr>
        <p:spPr>
          <a:xfrm>
            <a:off x="604886" y="999752"/>
            <a:ext cx="8234313" cy="832279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>
              <a:lnSpc>
                <a:spcPts val="3000"/>
              </a:lnSpc>
              <a:spcBef>
                <a:spcPts val="150"/>
              </a:spcBef>
            </a:pPr>
            <a:r>
              <a:rPr lang="en-US" sz="4200" baseline="1950" dirty="0">
                <a:solidFill>
                  <a:srgbClr val="F69545"/>
                </a:solidFill>
                <a:cs typeface="Calibri"/>
              </a:rPr>
              <a:t>Fast</a:t>
            </a:r>
            <a:r>
              <a:rPr lang="en-US" sz="4200" baseline="1950" dirty="0" smtClean="0">
                <a:solidFill>
                  <a:srgbClr val="F69545"/>
                </a:solidFill>
                <a:cs typeface="Calibri"/>
              </a:rPr>
              <a:t>. Can from long chains instead of </a:t>
            </a:r>
          </a:p>
          <a:p>
            <a:pPr marL="12700">
              <a:lnSpc>
                <a:spcPts val="3000"/>
              </a:lnSpc>
              <a:spcBef>
                <a:spcPts val="150"/>
              </a:spcBef>
            </a:pPr>
            <a:r>
              <a:rPr lang="en-US" sz="4200" dirty="0" smtClean="0">
                <a:solidFill>
                  <a:srgbClr val="F69545"/>
                </a:solidFill>
                <a:cs typeface="Calibri"/>
              </a:rPr>
              <a:t> </a:t>
            </a:r>
            <a:r>
              <a:rPr lang="en-US" sz="4200" baseline="1950" dirty="0">
                <a:solidFill>
                  <a:srgbClr val="F69545"/>
                </a:solidFill>
                <a:cs typeface="Calibri"/>
              </a:rPr>
              <a:t>clusters</a:t>
            </a:r>
            <a:r>
              <a:rPr lang="en-US" sz="4200" baseline="1950" dirty="0" smtClean="0">
                <a:solidFill>
                  <a:srgbClr val="F69545"/>
                </a:solidFill>
                <a:cs typeface="Calibri"/>
              </a:rPr>
              <a:t>.</a:t>
            </a:r>
            <a:endParaRPr lang="en-US" sz="2800" dirty="0">
              <a:cs typeface="Calibri"/>
            </a:endParaRPr>
          </a:p>
        </p:txBody>
      </p:sp>
      <p:sp>
        <p:nvSpPr>
          <p:cNvPr id="110" name="object 82"/>
          <p:cNvSpPr/>
          <p:nvPr/>
        </p:nvSpPr>
        <p:spPr>
          <a:xfrm>
            <a:off x="5183063" y="4109350"/>
            <a:ext cx="995205" cy="858777"/>
          </a:xfrm>
          <a:custGeom>
            <a:avLst/>
            <a:gdLst/>
            <a:ahLst/>
            <a:cxnLst/>
            <a:rect l="l" t="t" r="r" b="b"/>
            <a:pathLst>
              <a:path w="979964" h="814040">
                <a:moveTo>
                  <a:pt x="979964" y="0"/>
                </a:moveTo>
                <a:lnTo>
                  <a:pt x="0" y="814040"/>
                </a:lnTo>
              </a:path>
            </a:pathLst>
          </a:custGeom>
          <a:ln w="38099">
            <a:solidFill>
              <a:srgbClr val="6094C9"/>
            </a:solidFill>
            <a:headEnd type="arrow"/>
            <a:tailEnd type="arrow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1" name="object 40"/>
          <p:cNvSpPr/>
          <p:nvPr/>
        </p:nvSpPr>
        <p:spPr>
          <a:xfrm>
            <a:off x="4066245" y="5257009"/>
            <a:ext cx="429556" cy="153629"/>
          </a:xfrm>
          <a:custGeom>
            <a:avLst/>
            <a:gdLst/>
            <a:ahLst/>
            <a:cxnLst/>
            <a:rect l="l" t="t" r="r" b="b"/>
            <a:pathLst>
              <a:path w="406727" h="147848">
                <a:moveTo>
                  <a:pt x="406727" y="147848"/>
                </a:moveTo>
                <a:lnTo>
                  <a:pt x="0" y="0"/>
                </a:lnTo>
              </a:path>
            </a:pathLst>
          </a:custGeom>
          <a:ln w="38099">
            <a:solidFill>
              <a:srgbClr val="6094C9"/>
            </a:solidFill>
            <a:headEnd type="arrow"/>
            <a:tailEnd type="arrow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2" name="object 2"/>
          <p:cNvSpPr txBox="1"/>
          <p:nvPr/>
        </p:nvSpPr>
        <p:spPr>
          <a:xfrm>
            <a:off x="1673165" y="2308963"/>
            <a:ext cx="6303362" cy="405467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113" name="object 56"/>
          <p:cNvSpPr/>
          <p:nvPr/>
        </p:nvSpPr>
        <p:spPr>
          <a:xfrm>
            <a:off x="3927243" y="3641273"/>
            <a:ext cx="804730" cy="297678"/>
          </a:xfrm>
          <a:custGeom>
            <a:avLst/>
            <a:gdLst/>
            <a:ahLst/>
            <a:cxnLst/>
            <a:rect l="l" t="t" r="r" b="b"/>
            <a:pathLst>
              <a:path w="804730" h="297678">
                <a:moveTo>
                  <a:pt x="804730" y="0"/>
                </a:moveTo>
                <a:lnTo>
                  <a:pt x="0" y="297678"/>
                </a:lnTo>
              </a:path>
            </a:pathLst>
          </a:custGeom>
          <a:ln w="38099">
            <a:solidFill>
              <a:srgbClr val="6094C9"/>
            </a:solidFill>
            <a:headEnd type="arrow"/>
            <a:tailEnd type="arrow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4" name="object 2"/>
          <p:cNvSpPr txBox="1"/>
          <p:nvPr/>
        </p:nvSpPr>
        <p:spPr>
          <a:xfrm>
            <a:off x="1673165" y="2308963"/>
            <a:ext cx="6303362" cy="405467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115" name="object 70"/>
          <p:cNvSpPr/>
          <p:nvPr/>
        </p:nvSpPr>
        <p:spPr>
          <a:xfrm>
            <a:off x="5826519" y="3380260"/>
            <a:ext cx="193281" cy="300873"/>
          </a:xfrm>
          <a:custGeom>
            <a:avLst/>
            <a:gdLst/>
            <a:ahLst/>
            <a:cxnLst/>
            <a:rect l="l" t="t" r="r" b="b"/>
            <a:pathLst>
              <a:path w="226787" h="185432">
                <a:moveTo>
                  <a:pt x="226787" y="0"/>
                </a:moveTo>
                <a:lnTo>
                  <a:pt x="0" y="185432"/>
                </a:lnTo>
              </a:path>
            </a:pathLst>
          </a:custGeom>
          <a:ln w="38099">
            <a:solidFill>
              <a:srgbClr val="6094C9"/>
            </a:solidFill>
            <a:headEnd type="arrow"/>
            <a:tailEnd type="arrow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6" name="object 82"/>
          <p:cNvSpPr/>
          <p:nvPr/>
        </p:nvSpPr>
        <p:spPr>
          <a:xfrm>
            <a:off x="3691847" y="5875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7" name="object 84"/>
          <p:cNvSpPr/>
          <p:nvPr/>
        </p:nvSpPr>
        <p:spPr>
          <a:xfrm>
            <a:off x="4677222" y="590921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8" name="object 86"/>
          <p:cNvSpPr/>
          <p:nvPr/>
        </p:nvSpPr>
        <p:spPr>
          <a:xfrm>
            <a:off x="5529026" y="589026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9" name="object 74"/>
          <p:cNvSpPr/>
          <p:nvPr/>
        </p:nvSpPr>
        <p:spPr>
          <a:xfrm>
            <a:off x="1945944" y="558313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0" name="object 72"/>
          <p:cNvSpPr/>
          <p:nvPr/>
        </p:nvSpPr>
        <p:spPr>
          <a:xfrm>
            <a:off x="5236841" y="2905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40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80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1" name="object 70"/>
          <p:cNvSpPr/>
          <p:nvPr/>
        </p:nvSpPr>
        <p:spPr>
          <a:xfrm>
            <a:off x="4837588" y="252356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2" name="object 68"/>
          <p:cNvSpPr/>
          <p:nvPr/>
        </p:nvSpPr>
        <p:spPr>
          <a:xfrm>
            <a:off x="4425503" y="211104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3" name="object 66"/>
          <p:cNvSpPr/>
          <p:nvPr/>
        </p:nvSpPr>
        <p:spPr>
          <a:xfrm>
            <a:off x="6149478" y="380010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094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4" name="object 63"/>
          <p:cNvSpPr/>
          <p:nvPr/>
        </p:nvSpPr>
        <p:spPr>
          <a:xfrm>
            <a:off x="5158317" y="54094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6"/>
                </a:lnTo>
                <a:lnTo>
                  <a:pt x="1583" y="198179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6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2"/>
                </a:lnTo>
                <a:lnTo>
                  <a:pt x="49876" y="299561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6"/>
                </a:lnTo>
                <a:lnTo>
                  <a:pt x="196530" y="342926"/>
                </a:lnTo>
                <a:lnTo>
                  <a:pt x="209650" y="339004"/>
                </a:lnTo>
                <a:lnTo>
                  <a:pt x="222295" y="333936"/>
                </a:lnTo>
                <a:lnTo>
                  <a:pt x="234413" y="327778"/>
                </a:lnTo>
                <a:lnTo>
                  <a:pt x="245953" y="320583"/>
                </a:lnTo>
                <a:lnTo>
                  <a:pt x="256864" y="312409"/>
                </a:lnTo>
                <a:lnTo>
                  <a:pt x="267095" y="303311"/>
                </a:lnTo>
                <a:lnTo>
                  <a:pt x="276595" y="293343"/>
                </a:lnTo>
                <a:lnTo>
                  <a:pt x="285312" y="282562"/>
                </a:lnTo>
                <a:lnTo>
                  <a:pt x="293195" y="271023"/>
                </a:lnTo>
                <a:lnTo>
                  <a:pt x="300193" y="258781"/>
                </a:lnTo>
                <a:lnTo>
                  <a:pt x="306255" y="245892"/>
                </a:lnTo>
                <a:lnTo>
                  <a:pt x="311330" y="232411"/>
                </a:lnTo>
                <a:lnTo>
                  <a:pt x="315366" y="218394"/>
                </a:lnTo>
                <a:lnTo>
                  <a:pt x="318312" y="203896"/>
                </a:lnTo>
                <a:lnTo>
                  <a:pt x="320117" y="188973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9" y="93485"/>
                </a:lnTo>
                <a:lnTo>
                  <a:pt x="296006" y="80986"/>
                </a:lnTo>
                <a:lnTo>
                  <a:pt x="288459" y="69169"/>
                </a:lnTo>
                <a:lnTo>
                  <a:pt x="280058" y="58089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4"/>
                </a:lnTo>
                <a:lnTo>
                  <a:pt x="86318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5" name="object 62"/>
          <p:cNvSpPr/>
          <p:nvPr/>
        </p:nvSpPr>
        <p:spPr>
          <a:xfrm>
            <a:off x="3604437" y="388180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6" name="object 60"/>
          <p:cNvSpPr/>
          <p:nvPr/>
        </p:nvSpPr>
        <p:spPr>
          <a:xfrm>
            <a:off x="2728738" y="495895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7" name="object 58"/>
          <p:cNvSpPr/>
          <p:nvPr/>
        </p:nvSpPr>
        <p:spPr>
          <a:xfrm>
            <a:off x="6790937" y="243336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8" name="object 56"/>
          <p:cNvSpPr/>
          <p:nvPr/>
        </p:nvSpPr>
        <p:spPr>
          <a:xfrm>
            <a:off x="5830796" y="23498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9" name="object 54"/>
          <p:cNvSpPr/>
          <p:nvPr/>
        </p:nvSpPr>
        <p:spPr>
          <a:xfrm>
            <a:off x="6630572" y="314183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0" name="object 52"/>
          <p:cNvSpPr/>
          <p:nvPr/>
        </p:nvSpPr>
        <p:spPr>
          <a:xfrm>
            <a:off x="3973599" y="450879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1" name="object 50"/>
          <p:cNvSpPr/>
          <p:nvPr/>
        </p:nvSpPr>
        <p:spPr>
          <a:xfrm>
            <a:off x="3718772" y="50002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2" name="object 48"/>
          <p:cNvSpPr/>
          <p:nvPr/>
        </p:nvSpPr>
        <p:spPr>
          <a:xfrm>
            <a:off x="2408007" y="44379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3" name="object 42"/>
          <p:cNvSpPr/>
          <p:nvPr/>
        </p:nvSpPr>
        <p:spPr>
          <a:xfrm>
            <a:off x="5025578" y="369976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4" name="object 44"/>
          <p:cNvSpPr/>
          <p:nvPr/>
        </p:nvSpPr>
        <p:spPr>
          <a:xfrm>
            <a:off x="4837588" y="296815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5" name="object 46"/>
          <p:cNvSpPr/>
          <p:nvPr/>
        </p:nvSpPr>
        <p:spPr>
          <a:xfrm>
            <a:off x="4698983" y="33524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6" name="object 40"/>
          <p:cNvSpPr/>
          <p:nvPr/>
        </p:nvSpPr>
        <p:spPr>
          <a:xfrm>
            <a:off x="4490595" y="5309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7" name="object 38"/>
          <p:cNvSpPr/>
          <p:nvPr/>
        </p:nvSpPr>
        <p:spPr>
          <a:xfrm>
            <a:off x="6309840" y="26070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8" name="object 36"/>
          <p:cNvSpPr/>
          <p:nvPr/>
        </p:nvSpPr>
        <p:spPr>
          <a:xfrm>
            <a:off x="6662640" y="379011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6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7"/>
                </a:lnTo>
                <a:lnTo>
                  <a:pt x="310251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094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9" name="object 34"/>
          <p:cNvSpPr/>
          <p:nvPr/>
        </p:nvSpPr>
        <p:spPr>
          <a:xfrm>
            <a:off x="4315829" y="28709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0" name="object 32"/>
          <p:cNvSpPr/>
          <p:nvPr/>
        </p:nvSpPr>
        <p:spPr>
          <a:xfrm>
            <a:off x="6470207" y="198120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1" name="object 30"/>
          <p:cNvSpPr/>
          <p:nvPr/>
        </p:nvSpPr>
        <p:spPr>
          <a:xfrm>
            <a:off x="5479047" y="355789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2" name="object 28"/>
          <p:cNvSpPr/>
          <p:nvPr/>
        </p:nvSpPr>
        <p:spPr>
          <a:xfrm>
            <a:off x="4155464" y="571658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3" name="object 26"/>
          <p:cNvSpPr/>
          <p:nvPr/>
        </p:nvSpPr>
        <p:spPr>
          <a:xfrm>
            <a:off x="4859348" y="49095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4" name="object 24"/>
          <p:cNvSpPr/>
          <p:nvPr/>
        </p:nvSpPr>
        <p:spPr>
          <a:xfrm>
            <a:off x="2806145" y="390525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5" name="object 22"/>
          <p:cNvSpPr/>
          <p:nvPr/>
        </p:nvSpPr>
        <p:spPr>
          <a:xfrm>
            <a:off x="2530320" y="55944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6" name="object 20"/>
          <p:cNvSpPr/>
          <p:nvPr/>
        </p:nvSpPr>
        <p:spPr>
          <a:xfrm>
            <a:off x="3126876" y="443922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7" name="object 18"/>
          <p:cNvSpPr/>
          <p:nvPr/>
        </p:nvSpPr>
        <p:spPr>
          <a:xfrm>
            <a:off x="5991162" y="307897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8" name="object 6"/>
          <p:cNvSpPr txBox="1"/>
          <p:nvPr/>
        </p:nvSpPr>
        <p:spPr>
          <a:xfrm>
            <a:off x="609600" y="4147206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grpSp>
        <p:nvGrpSpPr>
          <p:cNvPr id="150" name="Group 149"/>
          <p:cNvGrpSpPr/>
          <p:nvPr/>
        </p:nvGrpSpPr>
        <p:grpSpPr>
          <a:xfrm>
            <a:off x="1660913" y="2276856"/>
            <a:ext cx="6303362" cy="4054670"/>
            <a:chOff x="2343901" y="1923700"/>
            <a:chExt cx="6303362" cy="4054670"/>
          </a:xfrm>
        </p:grpSpPr>
        <p:sp>
          <p:nvSpPr>
            <p:cNvPr id="151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152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  <p:sp>
        <p:nvSpPr>
          <p:cNvPr id="153" name="object 82"/>
          <p:cNvSpPr/>
          <p:nvPr/>
        </p:nvSpPr>
        <p:spPr>
          <a:xfrm>
            <a:off x="5024693" y="4047240"/>
            <a:ext cx="145336" cy="862298"/>
          </a:xfrm>
          <a:custGeom>
            <a:avLst/>
            <a:gdLst/>
            <a:ahLst/>
            <a:cxnLst/>
            <a:rect l="l" t="t" r="r" b="b"/>
            <a:pathLst>
              <a:path w="979964" h="814040">
                <a:moveTo>
                  <a:pt x="979964" y="0"/>
                </a:moveTo>
                <a:lnTo>
                  <a:pt x="0" y="814040"/>
                </a:lnTo>
              </a:path>
            </a:pathLst>
          </a:custGeom>
          <a:ln w="38099">
            <a:solidFill>
              <a:srgbClr val="6094C9"/>
            </a:solidFill>
            <a:headEnd type="arrow"/>
            <a:tailEnd type="arrow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54" name="object 82"/>
          <p:cNvSpPr/>
          <p:nvPr/>
        </p:nvSpPr>
        <p:spPr>
          <a:xfrm>
            <a:off x="4310468" y="4005004"/>
            <a:ext cx="1839009" cy="597017"/>
          </a:xfrm>
          <a:custGeom>
            <a:avLst/>
            <a:gdLst/>
            <a:ahLst/>
            <a:cxnLst/>
            <a:rect l="l" t="t" r="r" b="b"/>
            <a:pathLst>
              <a:path w="979964" h="814040">
                <a:moveTo>
                  <a:pt x="979964" y="0"/>
                </a:moveTo>
                <a:lnTo>
                  <a:pt x="0" y="814040"/>
                </a:lnTo>
              </a:path>
            </a:pathLst>
          </a:custGeom>
          <a:ln w="38099">
            <a:solidFill>
              <a:srgbClr val="6094C9"/>
            </a:solidFill>
            <a:headEnd type="arrow"/>
            <a:tailEnd type="arrow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3" name="object 3"/>
          <p:cNvSpPr txBox="1"/>
          <p:nvPr/>
        </p:nvSpPr>
        <p:spPr>
          <a:xfrm>
            <a:off x="604887" y="533891"/>
            <a:ext cx="8234312" cy="3810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3000"/>
              </a:lnSpc>
              <a:spcBef>
                <a:spcPts val="150"/>
              </a:spcBef>
            </a:pPr>
            <a:r>
              <a:rPr lang="en-US" sz="4200" baseline="1950" dirty="0" smtClean="0">
                <a:solidFill>
                  <a:srgbClr val="4E81BC"/>
                </a:solidFill>
                <a:latin typeface="+mj-lt"/>
                <a:cs typeface="Calibri"/>
              </a:rPr>
              <a:t>linkage </a:t>
            </a:r>
            <a:r>
              <a:rPr lang="en-US" sz="4200" baseline="1950" dirty="0">
                <a:solidFill>
                  <a:srgbClr val="4E81BC"/>
                </a:solidFill>
                <a:latin typeface="+mj-lt"/>
                <a:cs typeface="Calibri"/>
              </a:rPr>
              <a:t>= </a:t>
            </a:r>
            <a:r>
              <a:rPr lang="en-US" sz="4200" baseline="1950" dirty="0" smtClean="0">
                <a:solidFill>
                  <a:srgbClr val="4E81BC"/>
                </a:solidFill>
                <a:latin typeface="+mj-lt"/>
                <a:cs typeface="Calibri"/>
              </a:rPr>
              <a:t>“complete”</a:t>
            </a:r>
            <a:endParaRPr sz="2800" dirty="0">
              <a:latin typeface="+mj-lt"/>
              <a:cs typeface="Calibri"/>
            </a:endParaRPr>
          </a:p>
        </p:txBody>
      </p:sp>
      <p:sp>
        <p:nvSpPr>
          <p:cNvPr id="84" name="object 13"/>
          <p:cNvSpPr txBox="1"/>
          <p:nvPr/>
        </p:nvSpPr>
        <p:spPr>
          <a:xfrm>
            <a:off x="604886" y="999752"/>
            <a:ext cx="8234313" cy="861774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>
              <a:lnSpc>
                <a:spcPts val="3400"/>
              </a:lnSpc>
              <a:spcBef>
                <a:spcPts val="170"/>
              </a:spcBef>
            </a:pPr>
            <a:r>
              <a:rPr lang="en-US" sz="4200" spc="0" baseline="1706" dirty="0" smtClean="0">
                <a:solidFill>
                  <a:srgbClr val="7F7E7E"/>
                </a:solidFill>
                <a:latin typeface="+mj-lt"/>
                <a:cs typeface="Calibri"/>
              </a:rPr>
              <a:t>Distance between two clusters is the maximum pairwise distance</a:t>
            </a:r>
            <a:endParaRPr sz="4200" dirty="0">
              <a:solidFill>
                <a:srgbClr val="7F7E7E"/>
              </a:solidFill>
              <a:latin typeface="+mj-lt"/>
              <a:cs typeface="Calibri"/>
            </a:endParaRPr>
          </a:p>
        </p:txBody>
      </p:sp>
      <p:sp>
        <p:nvSpPr>
          <p:cNvPr id="87" name="object 2"/>
          <p:cNvSpPr txBox="1"/>
          <p:nvPr/>
        </p:nvSpPr>
        <p:spPr>
          <a:xfrm>
            <a:off x="1673165" y="2308963"/>
            <a:ext cx="6303362" cy="405467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89" name="object 2"/>
          <p:cNvSpPr txBox="1"/>
          <p:nvPr/>
        </p:nvSpPr>
        <p:spPr>
          <a:xfrm>
            <a:off x="1673165" y="2308963"/>
            <a:ext cx="6303362" cy="405467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91" name="object 82"/>
          <p:cNvSpPr/>
          <p:nvPr/>
        </p:nvSpPr>
        <p:spPr>
          <a:xfrm>
            <a:off x="3691847" y="5875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2" name="object 84"/>
          <p:cNvSpPr/>
          <p:nvPr/>
        </p:nvSpPr>
        <p:spPr>
          <a:xfrm>
            <a:off x="4677222" y="590921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3" name="object 86"/>
          <p:cNvSpPr/>
          <p:nvPr/>
        </p:nvSpPr>
        <p:spPr>
          <a:xfrm>
            <a:off x="5529026" y="589026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4" name="object 74"/>
          <p:cNvSpPr/>
          <p:nvPr/>
        </p:nvSpPr>
        <p:spPr>
          <a:xfrm>
            <a:off x="1945944" y="558313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5" name="object 72"/>
          <p:cNvSpPr/>
          <p:nvPr/>
        </p:nvSpPr>
        <p:spPr>
          <a:xfrm>
            <a:off x="5236841" y="2905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40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80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6" name="object 70"/>
          <p:cNvSpPr/>
          <p:nvPr/>
        </p:nvSpPr>
        <p:spPr>
          <a:xfrm>
            <a:off x="4837588" y="252356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7" name="object 68"/>
          <p:cNvSpPr/>
          <p:nvPr/>
        </p:nvSpPr>
        <p:spPr>
          <a:xfrm>
            <a:off x="4425503" y="211104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8" name="object 66"/>
          <p:cNvSpPr/>
          <p:nvPr/>
        </p:nvSpPr>
        <p:spPr>
          <a:xfrm>
            <a:off x="6149478" y="380010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094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9" name="object 63"/>
          <p:cNvSpPr/>
          <p:nvPr/>
        </p:nvSpPr>
        <p:spPr>
          <a:xfrm>
            <a:off x="5158317" y="54094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6"/>
                </a:lnTo>
                <a:lnTo>
                  <a:pt x="1583" y="198179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6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2"/>
                </a:lnTo>
                <a:lnTo>
                  <a:pt x="49876" y="299561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6"/>
                </a:lnTo>
                <a:lnTo>
                  <a:pt x="196530" y="342926"/>
                </a:lnTo>
                <a:lnTo>
                  <a:pt x="209650" y="339004"/>
                </a:lnTo>
                <a:lnTo>
                  <a:pt x="222295" y="333936"/>
                </a:lnTo>
                <a:lnTo>
                  <a:pt x="234413" y="327778"/>
                </a:lnTo>
                <a:lnTo>
                  <a:pt x="245953" y="320583"/>
                </a:lnTo>
                <a:lnTo>
                  <a:pt x="256864" y="312409"/>
                </a:lnTo>
                <a:lnTo>
                  <a:pt x="267095" y="303311"/>
                </a:lnTo>
                <a:lnTo>
                  <a:pt x="276595" y="293343"/>
                </a:lnTo>
                <a:lnTo>
                  <a:pt x="285312" y="282562"/>
                </a:lnTo>
                <a:lnTo>
                  <a:pt x="293195" y="271023"/>
                </a:lnTo>
                <a:lnTo>
                  <a:pt x="300193" y="258781"/>
                </a:lnTo>
                <a:lnTo>
                  <a:pt x="306255" y="245892"/>
                </a:lnTo>
                <a:lnTo>
                  <a:pt x="311330" y="232411"/>
                </a:lnTo>
                <a:lnTo>
                  <a:pt x="315366" y="218394"/>
                </a:lnTo>
                <a:lnTo>
                  <a:pt x="318312" y="203896"/>
                </a:lnTo>
                <a:lnTo>
                  <a:pt x="320117" y="188973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9" y="93485"/>
                </a:lnTo>
                <a:lnTo>
                  <a:pt x="296006" y="80986"/>
                </a:lnTo>
                <a:lnTo>
                  <a:pt x="288459" y="69169"/>
                </a:lnTo>
                <a:lnTo>
                  <a:pt x="280058" y="58089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4"/>
                </a:lnTo>
                <a:lnTo>
                  <a:pt x="86318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0" name="object 62"/>
          <p:cNvSpPr/>
          <p:nvPr/>
        </p:nvSpPr>
        <p:spPr>
          <a:xfrm>
            <a:off x="3604437" y="388180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1" name="object 60"/>
          <p:cNvSpPr/>
          <p:nvPr/>
        </p:nvSpPr>
        <p:spPr>
          <a:xfrm>
            <a:off x="2728738" y="495895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2" name="object 58"/>
          <p:cNvSpPr/>
          <p:nvPr/>
        </p:nvSpPr>
        <p:spPr>
          <a:xfrm>
            <a:off x="6790937" y="243336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3" name="object 56"/>
          <p:cNvSpPr/>
          <p:nvPr/>
        </p:nvSpPr>
        <p:spPr>
          <a:xfrm>
            <a:off x="5830796" y="23498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4" name="object 54"/>
          <p:cNvSpPr/>
          <p:nvPr/>
        </p:nvSpPr>
        <p:spPr>
          <a:xfrm>
            <a:off x="6630572" y="314183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5" name="object 52"/>
          <p:cNvSpPr/>
          <p:nvPr/>
        </p:nvSpPr>
        <p:spPr>
          <a:xfrm>
            <a:off x="3973599" y="450879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6" name="object 50"/>
          <p:cNvSpPr/>
          <p:nvPr/>
        </p:nvSpPr>
        <p:spPr>
          <a:xfrm>
            <a:off x="3718772" y="50002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7" name="object 48"/>
          <p:cNvSpPr/>
          <p:nvPr/>
        </p:nvSpPr>
        <p:spPr>
          <a:xfrm>
            <a:off x="2408007" y="44379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8" name="object 42"/>
          <p:cNvSpPr/>
          <p:nvPr/>
        </p:nvSpPr>
        <p:spPr>
          <a:xfrm>
            <a:off x="5025578" y="369976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9" name="object 44"/>
          <p:cNvSpPr/>
          <p:nvPr/>
        </p:nvSpPr>
        <p:spPr>
          <a:xfrm>
            <a:off x="4837588" y="296815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0" name="object 46"/>
          <p:cNvSpPr/>
          <p:nvPr/>
        </p:nvSpPr>
        <p:spPr>
          <a:xfrm>
            <a:off x="4698983" y="33524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1" name="object 40"/>
          <p:cNvSpPr/>
          <p:nvPr/>
        </p:nvSpPr>
        <p:spPr>
          <a:xfrm>
            <a:off x="4490595" y="5309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2" name="object 38"/>
          <p:cNvSpPr/>
          <p:nvPr/>
        </p:nvSpPr>
        <p:spPr>
          <a:xfrm>
            <a:off x="6309840" y="26070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3" name="object 36"/>
          <p:cNvSpPr/>
          <p:nvPr/>
        </p:nvSpPr>
        <p:spPr>
          <a:xfrm>
            <a:off x="6662640" y="379011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6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7"/>
                </a:lnTo>
                <a:lnTo>
                  <a:pt x="310251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094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4" name="object 34"/>
          <p:cNvSpPr/>
          <p:nvPr/>
        </p:nvSpPr>
        <p:spPr>
          <a:xfrm>
            <a:off x="4315829" y="28709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5" name="object 32"/>
          <p:cNvSpPr/>
          <p:nvPr/>
        </p:nvSpPr>
        <p:spPr>
          <a:xfrm>
            <a:off x="6470207" y="198120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6" name="object 30"/>
          <p:cNvSpPr/>
          <p:nvPr/>
        </p:nvSpPr>
        <p:spPr>
          <a:xfrm>
            <a:off x="5479047" y="355789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7" name="object 28"/>
          <p:cNvSpPr/>
          <p:nvPr/>
        </p:nvSpPr>
        <p:spPr>
          <a:xfrm>
            <a:off x="4155464" y="571658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8" name="object 26"/>
          <p:cNvSpPr/>
          <p:nvPr/>
        </p:nvSpPr>
        <p:spPr>
          <a:xfrm>
            <a:off x="4859348" y="49095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9" name="object 24"/>
          <p:cNvSpPr/>
          <p:nvPr/>
        </p:nvSpPr>
        <p:spPr>
          <a:xfrm>
            <a:off x="2806145" y="390525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0" name="object 22"/>
          <p:cNvSpPr/>
          <p:nvPr/>
        </p:nvSpPr>
        <p:spPr>
          <a:xfrm>
            <a:off x="2530320" y="55944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1" name="object 20"/>
          <p:cNvSpPr/>
          <p:nvPr/>
        </p:nvSpPr>
        <p:spPr>
          <a:xfrm>
            <a:off x="3126876" y="443922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2" name="object 18"/>
          <p:cNvSpPr/>
          <p:nvPr/>
        </p:nvSpPr>
        <p:spPr>
          <a:xfrm>
            <a:off x="5991162" y="307897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3" name="object 6"/>
          <p:cNvSpPr txBox="1"/>
          <p:nvPr/>
        </p:nvSpPr>
        <p:spPr>
          <a:xfrm>
            <a:off x="609600" y="4147206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grpSp>
        <p:nvGrpSpPr>
          <p:cNvPr id="125" name="Group 124"/>
          <p:cNvGrpSpPr/>
          <p:nvPr/>
        </p:nvGrpSpPr>
        <p:grpSpPr>
          <a:xfrm>
            <a:off x="1660913" y="2276856"/>
            <a:ext cx="6303362" cy="4054670"/>
            <a:chOff x="2343901" y="1923700"/>
            <a:chExt cx="6303362" cy="4054670"/>
          </a:xfrm>
        </p:grpSpPr>
        <p:sp>
          <p:nvSpPr>
            <p:cNvPr id="126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127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6" name="object 84"/>
          <p:cNvSpPr/>
          <p:nvPr/>
        </p:nvSpPr>
        <p:spPr>
          <a:xfrm>
            <a:off x="4414372" y="54871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7" name="object 86"/>
          <p:cNvSpPr/>
          <p:nvPr/>
        </p:nvSpPr>
        <p:spPr>
          <a:xfrm>
            <a:off x="5399747" y="55212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8" name="object 88"/>
          <p:cNvSpPr/>
          <p:nvPr/>
        </p:nvSpPr>
        <p:spPr>
          <a:xfrm>
            <a:off x="6251551" y="55023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9" name="object 76"/>
          <p:cNvSpPr/>
          <p:nvPr/>
        </p:nvSpPr>
        <p:spPr>
          <a:xfrm>
            <a:off x="2668469" y="519520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0" name="object 73"/>
          <p:cNvSpPr/>
          <p:nvPr/>
        </p:nvSpPr>
        <p:spPr>
          <a:xfrm>
            <a:off x="5959366" y="251737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1"/>
                </a:moveTo>
                <a:lnTo>
                  <a:pt x="232" y="183108"/>
                </a:lnTo>
                <a:lnTo>
                  <a:pt x="1583" y="198180"/>
                </a:lnTo>
                <a:lnTo>
                  <a:pt x="4094" y="212849"/>
                </a:lnTo>
                <a:lnTo>
                  <a:pt x="7715" y="227058"/>
                </a:lnTo>
                <a:lnTo>
                  <a:pt x="12395" y="240753"/>
                </a:lnTo>
                <a:lnTo>
                  <a:pt x="18082" y="253877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3"/>
                </a:lnTo>
                <a:lnTo>
                  <a:pt x="49876" y="299561"/>
                </a:lnTo>
                <a:lnTo>
                  <a:pt x="59830" y="309002"/>
                </a:lnTo>
                <a:lnTo>
                  <a:pt x="70485" y="317540"/>
                </a:lnTo>
                <a:lnTo>
                  <a:pt x="81788" y="325119"/>
                </a:lnTo>
                <a:lnTo>
                  <a:pt x="93689" y="331685"/>
                </a:lnTo>
                <a:lnTo>
                  <a:pt x="106136" y="337181"/>
                </a:lnTo>
                <a:lnTo>
                  <a:pt x="119079" y="341552"/>
                </a:lnTo>
                <a:lnTo>
                  <a:pt x="132465" y="344743"/>
                </a:lnTo>
                <a:lnTo>
                  <a:pt x="146244" y="346698"/>
                </a:lnTo>
                <a:lnTo>
                  <a:pt x="160365" y="347362"/>
                </a:lnTo>
                <a:lnTo>
                  <a:pt x="169068" y="347111"/>
                </a:lnTo>
                <a:lnTo>
                  <a:pt x="182985" y="345648"/>
                </a:lnTo>
                <a:lnTo>
                  <a:pt x="196529" y="342928"/>
                </a:lnTo>
                <a:lnTo>
                  <a:pt x="209649" y="339006"/>
                </a:lnTo>
                <a:lnTo>
                  <a:pt x="222294" y="333938"/>
                </a:lnTo>
                <a:lnTo>
                  <a:pt x="234412" y="327779"/>
                </a:lnTo>
                <a:lnTo>
                  <a:pt x="245952" y="320585"/>
                </a:lnTo>
                <a:lnTo>
                  <a:pt x="256863" y="312411"/>
                </a:lnTo>
                <a:lnTo>
                  <a:pt x="267094" y="303312"/>
                </a:lnTo>
                <a:lnTo>
                  <a:pt x="276594" y="293344"/>
                </a:lnTo>
                <a:lnTo>
                  <a:pt x="285311" y="282563"/>
                </a:lnTo>
                <a:lnTo>
                  <a:pt x="293194" y="271024"/>
                </a:lnTo>
                <a:lnTo>
                  <a:pt x="300192" y="258782"/>
                </a:lnTo>
                <a:lnTo>
                  <a:pt x="306254" y="245893"/>
                </a:lnTo>
                <a:lnTo>
                  <a:pt x="311328" y="232412"/>
                </a:lnTo>
                <a:lnTo>
                  <a:pt x="315364" y="218395"/>
                </a:lnTo>
                <a:lnTo>
                  <a:pt x="318311" y="203897"/>
                </a:lnTo>
                <a:lnTo>
                  <a:pt x="320116" y="188974"/>
                </a:lnTo>
                <a:lnTo>
                  <a:pt x="320729" y="173681"/>
                </a:lnTo>
                <a:lnTo>
                  <a:pt x="320497" y="164255"/>
                </a:lnTo>
                <a:lnTo>
                  <a:pt x="319146" y="149182"/>
                </a:lnTo>
                <a:lnTo>
                  <a:pt x="316635" y="134513"/>
                </a:lnTo>
                <a:lnTo>
                  <a:pt x="313014" y="120304"/>
                </a:lnTo>
                <a:lnTo>
                  <a:pt x="308334" y="106609"/>
                </a:lnTo>
                <a:lnTo>
                  <a:pt x="302648" y="93485"/>
                </a:lnTo>
                <a:lnTo>
                  <a:pt x="296005" y="80986"/>
                </a:lnTo>
                <a:lnTo>
                  <a:pt x="288458" y="69169"/>
                </a:lnTo>
                <a:lnTo>
                  <a:pt x="280057" y="58089"/>
                </a:lnTo>
                <a:lnTo>
                  <a:pt x="270854" y="47800"/>
                </a:lnTo>
                <a:lnTo>
                  <a:pt x="260899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1" y="251"/>
                </a:lnTo>
                <a:lnTo>
                  <a:pt x="137744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5" y="13424"/>
                </a:lnTo>
                <a:lnTo>
                  <a:pt x="86317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50"/>
                </a:lnTo>
                <a:lnTo>
                  <a:pt x="44135" y="54017"/>
                </a:lnTo>
                <a:lnTo>
                  <a:pt x="35418" y="64798"/>
                </a:lnTo>
                <a:lnTo>
                  <a:pt x="27535" y="76338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9"/>
                </a:lnTo>
                <a:lnTo>
                  <a:pt x="5364" y="128966"/>
                </a:lnTo>
                <a:lnTo>
                  <a:pt x="2418" y="143464"/>
                </a:lnTo>
                <a:lnTo>
                  <a:pt x="613" y="158388"/>
                </a:lnTo>
                <a:lnTo>
                  <a:pt x="0" y="173681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1" name="object 72"/>
          <p:cNvSpPr/>
          <p:nvPr/>
        </p:nvSpPr>
        <p:spPr>
          <a:xfrm>
            <a:off x="5560113" y="213564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2" name="object 70"/>
          <p:cNvSpPr/>
          <p:nvPr/>
        </p:nvSpPr>
        <p:spPr>
          <a:xfrm>
            <a:off x="5148028" y="1723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3" name="object 68"/>
          <p:cNvSpPr/>
          <p:nvPr/>
        </p:nvSpPr>
        <p:spPr>
          <a:xfrm>
            <a:off x="6872003" y="34121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4" name="object 66"/>
          <p:cNvSpPr/>
          <p:nvPr/>
        </p:nvSpPr>
        <p:spPr>
          <a:xfrm>
            <a:off x="5880841" y="502152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5" name="object 62"/>
          <p:cNvSpPr/>
          <p:nvPr/>
        </p:nvSpPr>
        <p:spPr>
          <a:xfrm>
            <a:off x="4326962" y="34938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7" name="object 58"/>
          <p:cNvSpPr/>
          <p:nvPr/>
        </p:nvSpPr>
        <p:spPr>
          <a:xfrm>
            <a:off x="7513462" y="204543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8" name="object 56"/>
          <p:cNvSpPr/>
          <p:nvPr/>
        </p:nvSpPr>
        <p:spPr>
          <a:xfrm>
            <a:off x="6553321" y="196196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9" name="object 54"/>
          <p:cNvSpPr/>
          <p:nvPr/>
        </p:nvSpPr>
        <p:spPr>
          <a:xfrm>
            <a:off x="7353097" y="275391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0" name="object 52"/>
          <p:cNvSpPr/>
          <p:nvPr/>
        </p:nvSpPr>
        <p:spPr>
          <a:xfrm>
            <a:off x="4696124" y="412086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1" name="object 50"/>
          <p:cNvSpPr/>
          <p:nvPr/>
        </p:nvSpPr>
        <p:spPr>
          <a:xfrm>
            <a:off x="4441297" y="46123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2" name="object 48"/>
          <p:cNvSpPr/>
          <p:nvPr/>
        </p:nvSpPr>
        <p:spPr>
          <a:xfrm>
            <a:off x="3130532" y="40499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3" name="object 42"/>
          <p:cNvSpPr/>
          <p:nvPr/>
        </p:nvSpPr>
        <p:spPr>
          <a:xfrm>
            <a:off x="5748103" y="33118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4" name="object 44"/>
          <p:cNvSpPr/>
          <p:nvPr/>
        </p:nvSpPr>
        <p:spPr>
          <a:xfrm>
            <a:off x="5560113" y="25802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5" name="object 46"/>
          <p:cNvSpPr/>
          <p:nvPr/>
        </p:nvSpPr>
        <p:spPr>
          <a:xfrm>
            <a:off x="5421508" y="296447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6" name="object 40"/>
          <p:cNvSpPr/>
          <p:nvPr/>
        </p:nvSpPr>
        <p:spPr>
          <a:xfrm>
            <a:off x="5213120" y="49216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7" name="object 38"/>
          <p:cNvSpPr/>
          <p:nvPr/>
        </p:nvSpPr>
        <p:spPr>
          <a:xfrm>
            <a:off x="7032365" y="221911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8" name="object 36"/>
          <p:cNvSpPr/>
          <p:nvPr/>
        </p:nvSpPr>
        <p:spPr>
          <a:xfrm>
            <a:off x="7385165" y="340218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6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7"/>
                </a:lnTo>
                <a:lnTo>
                  <a:pt x="310251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9" name="object 34"/>
          <p:cNvSpPr/>
          <p:nvPr/>
        </p:nvSpPr>
        <p:spPr>
          <a:xfrm>
            <a:off x="5038354" y="24830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50" name="object 32"/>
          <p:cNvSpPr/>
          <p:nvPr/>
        </p:nvSpPr>
        <p:spPr>
          <a:xfrm>
            <a:off x="7192732" y="159327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51" name="object 28"/>
          <p:cNvSpPr/>
          <p:nvPr/>
        </p:nvSpPr>
        <p:spPr>
          <a:xfrm>
            <a:off x="6201572" y="316997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52" name="object 26"/>
          <p:cNvSpPr/>
          <p:nvPr/>
        </p:nvSpPr>
        <p:spPr>
          <a:xfrm>
            <a:off x="4877989" y="532865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53" name="object 24"/>
          <p:cNvSpPr/>
          <p:nvPr/>
        </p:nvSpPr>
        <p:spPr>
          <a:xfrm>
            <a:off x="5581873" y="4521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54" name="object 22"/>
          <p:cNvSpPr/>
          <p:nvPr/>
        </p:nvSpPr>
        <p:spPr>
          <a:xfrm>
            <a:off x="3528670" y="35173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55" name="object 20"/>
          <p:cNvSpPr/>
          <p:nvPr/>
        </p:nvSpPr>
        <p:spPr>
          <a:xfrm>
            <a:off x="3252845" y="520650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56" name="object 18"/>
          <p:cNvSpPr/>
          <p:nvPr/>
        </p:nvSpPr>
        <p:spPr>
          <a:xfrm>
            <a:off x="3849401" y="4051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57" name="object 16"/>
          <p:cNvSpPr/>
          <p:nvPr/>
        </p:nvSpPr>
        <p:spPr>
          <a:xfrm>
            <a:off x="6713687" y="269105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2" name="object 22"/>
          <p:cNvSpPr/>
          <p:nvPr/>
        </p:nvSpPr>
        <p:spPr>
          <a:xfrm>
            <a:off x="3973047" y="4421492"/>
            <a:ext cx="394167" cy="381727"/>
          </a:xfrm>
          <a:custGeom>
            <a:avLst/>
            <a:gdLst/>
            <a:ahLst/>
            <a:cxnLst/>
            <a:rect l="l" t="t" r="r" b="b"/>
            <a:pathLst>
              <a:path w="394167" h="381727">
                <a:moveTo>
                  <a:pt x="0" y="0"/>
                </a:moveTo>
                <a:lnTo>
                  <a:pt x="394167" y="0"/>
                </a:lnTo>
                <a:lnTo>
                  <a:pt x="394167" y="381727"/>
                </a:lnTo>
                <a:lnTo>
                  <a:pt x="0" y="381727"/>
                </a:lnTo>
                <a:lnTo>
                  <a:pt x="0" y="0"/>
                </a:lnTo>
                <a:close/>
              </a:path>
            </a:pathLst>
          </a:custGeom>
          <a:solidFill>
            <a:srgbClr val="AAC56C"/>
          </a:solidFill>
          <a:ln w="57150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8" name="object 18"/>
          <p:cNvSpPr/>
          <p:nvPr/>
        </p:nvSpPr>
        <p:spPr>
          <a:xfrm>
            <a:off x="6375198" y="2581199"/>
            <a:ext cx="394168" cy="381727"/>
          </a:xfrm>
          <a:custGeom>
            <a:avLst/>
            <a:gdLst/>
            <a:ahLst/>
            <a:cxnLst/>
            <a:rect l="l" t="t" r="r" b="b"/>
            <a:pathLst>
              <a:path w="394168" h="381727">
                <a:moveTo>
                  <a:pt x="0" y="0"/>
                </a:moveTo>
                <a:lnTo>
                  <a:pt x="394168" y="0"/>
                </a:lnTo>
                <a:lnTo>
                  <a:pt x="394168" y="381727"/>
                </a:lnTo>
                <a:lnTo>
                  <a:pt x="0" y="381727"/>
                </a:lnTo>
                <a:lnTo>
                  <a:pt x="0" y="0"/>
                </a:lnTo>
                <a:close/>
              </a:path>
            </a:pathLst>
          </a:custGeom>
          <a:solidFill>
            <a:srgbClr val="59BAD1"/>
          </a:solidFill>
          <a:ln w="57150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" name="object 6"/>
          <p:cNvSpPr txBox="1"/>
          <p:nvPr/>
        </p:nvSpPr>
        <p:spPr>
          <a:xfrm>
            <a:off x="1332125" y="3759280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Income</a:t>
            </a:r>
            <a:endParaRPr sz="2400">
              <a:cs typeface="Calibri"/>
            </a:endParaRPr>
          </a:p>
        </p:txBody>
      </p:sp>
      <p:sp>
        <p:nvSpPr>
          <p:cNvPr id="5" name="object 5"/>
          <p:cNvSpPr txBox="1"/>
          <p:nvPr/>
        </p:nvSpPr>
        <p:spPr>
          <a:xfrm>
            <a:off x="5426815" y="6116930"/>
            <a:ext cx="542241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Age</a:t>
            </a:r>
            <a:endParaRPr sz="2400">
              <a:cs typeface="Calibri"/>
            </a:endParaRPr>
          </a:p>
        </p:txBody>
      </p:sp>
      <p:sp>
        <p:nvSpPr>
          <p:cNvPr id="3" name="object 3"/>
          <p:cNvSpPr txBox="1"/>
          <p:nvPr/>
        </p:nvSpPr>
        <p:spPr>
          <a:xfrm>
            <a:off x="3973047" y="4421492"/>
            <a:ext cx="394167" cy="38172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2" name="object 2"/>
          <p:cNvSpPr txBox="1"/>
          <p:nvPr/>
        </p:nvSpPr>
        <p:spPr>
          <a:xfrm>
            <a:off x="6375198" y="2581199"/>
            <a:ext cx="394168" cy="38172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grpSp>
        <p:nvGrpSpPr>
          <p:cNvPr id="89" name="Group 88"/>
          <p:cNvGrpSpPr/>
          <p:nvPr/>
        </p:nvGrpSpPr>
        <p:grpSpPr>
          <a:xfrm>
            <a:off x="2383438" y="1888930"/>
            <a:ext cx="6303362" cy="4054670"/>
            <a:chOff x="2343901" y="1923700"/>
            <a:chExt cx="6303362" cy="4054670"/>
          </a:xfrm>
        </p:grpSpPr>
        <p:sp>
          <p:nvSpPr>
            <p:cNvPr id="90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91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  <p:sp>
        <p:nvSpPr>
          <p:cNvPr id="159" name="object 60"/>
          <p:cNvSpPr/>
          <p:nvPr/>
        </p:nvSpPr>
        <p:spPr>
          <a:xfrm>
            <a:off x="3451263" y="457102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1" name="object 13"/>
          <p:cNvSpPr txBox="1"/>
          <p:nvPr/>
        </p:nvSpPr>
        <p:spPr>
          <a:xfrm>
            <a:off x="2101915" y="369650"/>
            <a:ext cx="6280085" cy="436017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>
              <a:lnSpc>
                <a:spcPts val="3400"/>
              </a:lnSpc>
              <a:spcBef>
                <a:spcPts val="170"/>
              </a:spcBef>
            </a:pPr>
            <a:r>
              <a:rPr sz="4800" baseline="1706" dirty="0" smtClean="0">
                <a:solidFill>
                  <a:srgbClr val="4E81BC"/>
                </a:solidFill>
                <a:latin typeface="+mj-lt"/>
                <a:cs typeface="Calibri"/>
              </a:rPr>
              <a:t>K-­Means </a:t>
            </a:r>
            <a:r>
              <a:rPr sz="4800" spc="0" baseline="1706" dirty="0" smtClean="0">
                <a:solidFill>
                  <a:srgbClr val="F69545"/>
                </a:solidFill>
                <a:latin typeface="+mj-lt"/>
                <a:cs typeface="Calibri"/>
              </a:rPr>
              <a:t>K=2</a:t>
            </a:r>
            <a:endParaRPr sz="3200" dirty="0">
              <a:latin typeface="+mj-lt"/>
              <a:cs typeface="Calibri"/>
            </a:endParaRPr>
          </a:p>
        </p:txBody>
      </p:sp>
      <p:sp>
        <p:nvSpPr>
          <p:cNvPr id="52" name="object 12"/>
          <p:cNvSpPr txBox="1"/>
          <p:nvPr/>
        </p:nvSpPr>
        <p:spPr>
          <a:xfrm>
            <a:off x="2101915" y="852250"/>
            <a:ext cx="6280085" cy="4318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3400"/>
              </a:lnSpc>
              <a:spcBef>
                <a:spcPts val="170"/>
              </a:spcBef>
            </a:pPr>
            <a:r>
              <a:rPr sz="4800" spc="0" baseline="1706" dirty="0" smtClean="0">
                <a:solidFill>
                  <a:srgbClr val="7F7E7E"/>
                </a:solidFill>
                <a:latin typeface="+mj-lt"/>
                <a:cs typeface="Calibri"/>
              </a:rPr>
              <a:t>Each</a:t>
            </a:r>
            <a:r>
              <a:rPr lang="en-US" sz="4800" spc="0" baseline="1706" dirty="0" smtClean="0">
                <a:solidFill>
                  <a:srgbClr val="7F7E7E"/>
                </a:solidFill>
                <a:latin typeface="+mj-lt"/>
                <a:cs typeface="Calibri"/>
              </a:rPr>
              <a:t> point belongs to closest center</a:t>
            </a:r>
            <a:endParaRPr sz="3200" dirty="0">
              <a:latin typeface="+mj-lt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767116453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" name="object 3"/>
          <p:cNvSpPr txBox="1"/>
          <p:nvPr/>
        </p:nvSpPr>
        <p:spPr>
          <a:xfrm>
            <a:off x="604887" y="533891"/>
            <a:ext cx="8234312" cy="3810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3000"/>
              </a:lnSpc>
              <a:spcBef>
                <a:spcPts val="150"/>
              </a:spcBef>
            </a:pPr>
            <a:r>
              <a:rPr lang="en-US" sz="4200" baseline="1950" dirty="0" smtClean="0">
                <a:solidFill>
                  <a:srgbClr val="4E81BC"/>
                </a:solidFill>
                <a:latin typeface="+mj-lt"/>
                <a:cs typeface="Calibri"/>
              </a:rPr>
              <a:t>linkage </a:t>
            </a:r>
            <a:r>
              <a:rPr lang="en-US" sz="4200" baseline="1950" dirty="0">
                <a:solidFill>
                  <a:srgbClr val="4E81BC"/>
                </a:solidFill>
                <a:latin typeface="+mj-lt"/>
                <a:cs typeface="Calibri"/>
              </a:rPr>
              <a:t>= </a:t>
            </a:r>
            <a:r>
              <a:rPr lang="en-US" sz="4200" baseline="1950" dirty="0" smtClean="0">
                <a:solidFill>
                  <a:srgbClr val="4E81BC"/>
                </a:solidFill>
                <a:latin typeface="+mj-lt"/>
                <a:cs typeface="Calibri"/>
              </a:rPr>
              <a:t>“complete”</a:t>
            </a:r>
            <a:endParaRPr sz="2800" dirty="0">
              <a:latin typeface="+mj-lt"/>
              <a:cs typeface="Calibri"/>
            </a:endParaRPr>
          </a:p>
        </p:txBody>
      </p:sp>
      <p:sp>
        <p:nvSpPr>
          <p:cNvPr id="88" name="object 13"/>
          <p:cNvSpPr txBox="1"/>
          <p:nvPr/>
        </p:nvSpPr>
        <p:spPr>
          <a:xfrm>
            <a:off x="604886" y="999752"/>
            <a:ext cx="8234313" cy="861774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>
              <a:lnSpc>
                <a:spcPts val="3400"/>
              </a:lnSpc>
              <a:spcBef>
                <a:spcPts val="170"/>
              </a:spcBef>
            </a:pPr>
            <a:r>
              <a:rPr lang="en-US" sz="4200" spc="0" baseline="1706" dirty="0" smtClean="0">
                <a:solidFill>
                  <a:srgbClr val="7F7E7E"/>
                </a:solidFill>
                <a:latin typeface="+mj-lt"/>
                <a:cs typeface="Calibri"/>
              </a:rPr>
              <a:t>Distance between two clusters is the </a:t>
            </a:r>
            <a:r>
              <a:rPr lang="en-US" sz="4200" baseline="1706" dirty="0">
                <a:solidFill>
                  <a:srgbClr val="7F7E7E"/>
                </a:solidFill>
                <a:cs typeface="Calibri"/>
              </a:rPr>
              <a:t>maximum </a:t>
            </a:r>
            <a:r>
              <a:rPr lang="en-US" sz="4200" spc="0" baseline="1706" dirty="0" smtClean="0">
                <a:solidFill>
                  <a:srgbClr val="7F7E7E"/>
                </a:solidFill>
                <a:latin typeface="+mj-lt"/>
                <a:cs typeface="Calibri"/>
              </a:rPr>
              <a:t>pairwise distance</a:t>
            </a:r>
            <a:endParaRPr sz="4200" dirty="0">
              <a:solidFill>
                <a:srgbClr val="7F7E7E"/>
              </a:solidFill>
              <a:latin typeface="+mj-lt"/>
              <a:cs typeface="Calibri"/>
            </a:endParaRPr>
          </a:p>
        </p:txBody>
      </p:sp>
      <p:sp>
        <p:nvSpPr>
          <p:cNvPr id="91" name="object 2"/>
          <p:cNvSpPr txBox="1"/>
          <p:nvPr/>
        </p:nvSpPr>
        <p:spPr>
          <a:xfrm>
            <a:off x="1673165" y="2308963"/>
            <a:ext cx="6303362" cy="405467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93" name="object 2"/>
          <p:cNvSpPr txBox="1"/>
          <p:nvPr/>
        </p:nvSpPr>
        <p:spPr>
          <a:xfrm>
            <a:off x="1673165" y="2308963"/>
            <a:ext cx="6303362" cy="405467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95" name="object 82"/>
          <p:cNvSpPr/>
          <p:nvPr/>
        </p:nvSpPr>
        <p:spPr>
          <a:xfrm>
            <a:off x="3691847" y="5875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6" name="object 84"/>
          <p:cNvSpPr/>
          <p:nvPr/>
        </p:nvSpPr>
        <p:spPr>
          <a:xfrm>
            <a:off x="4677222" y="590921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7" name="object 86"/>
          <p:cNvSpPr/>
          <p:nvPr/>
        </p:nvSpPr>
        <p:spPr>
          <a:xfrm>
            <a:off x="5529026" y="589026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8" name="object 74"/>
          <p:cNvSpPr/>
          <p:nvPr/>
        </p:nvSpPr>
        <p:spPr>
          <a:xfrm>
            <a:off x="1945944" y="558313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9" name="object 72"/>
          <p:cNvSpPr/>
          <p:nvPr/>
        </p:nvSpPr>
        <p:spPr>
          <a:xfrm>
            <a:off x="5236841" y="2905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40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80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0" name="object 70"/>
          <p:cNvSpPr/>
          <p:nvPr/>
        </p:nvSpPr>
        <p:spPr>
          <a:xfrm>
            <a:off x="4837588" y="252356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1" name="object 68"/>
          <p:cNvSpPr/>
          <p:nvPr/>
        </p:nvSpPr>
        <p:spPr>
          <a:xfrm>
            <a:off x="4425503" y="211104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2" name="object 66"/>
          <p:cNvSpPr/>
          <p:nvPr/>
        </p:nvSpPr>
        <p:spPr>
          <a:xfrm>
            <a:off x="6149478" y="380010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094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3" name="object 63"/>
          <p:cNvSpPr/>
          <p:nvPr/>
        </p:nvSpPr>
        <p:spPr>
          <a:xfrm>
            <a:off x="5158317" y="54094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6"/>
                </a:lnTo>
                <a:lnTo>
                  <a:pt x="1583" y="198179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6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2"/>
                </a:lnTo>
                <a:lnTo>
                  <a:pt x="49876" y="299561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6"/>
                </a:lnTo>
                <a:lnTo>
                  <a:pt x="196530" y="342926"/>
                </a:lnTo>
                <a:lnTo>
                  <a:pt x="209650" y="339004"/>
                </a:lnTo>
                <a:lnTo>
                  <a:pt x="222295" y="333936"/>
                </a:lnTo>
                <a:lnTo>
                  <a:pt x="234413" y="327778"/>
                </a:lnTo>
                <a:lnTo>
                  <a:pt x="245953" y="320583"/>
                </a:lnTo>
                <a:lnTo>
                  <a:pt x="256864" y="312409"/>
                </a:lnTo>
                <a:lnTo>
                  <a:pt x="267095" y="303311"/>
                </a:lnTo>
                <a:lnTo>
                  <a:pt x="276595" y="293343"/>
                </a:lnTo>
                <a:lnTo>
                  <a:pt x="285312" y="282562"/>
                </a:lnTo>
                <a:lnTo>
                  <a:pt x="293195" y="271023"/>
                </a:lnTo>
                <a:lnTo>
                  <a:pt x="300193" y="258781"/>
                </a:lnTo>
                <a:lnTo>
                  <a:pt x="306255" y="245892"/>
                </a:lnTo>
                <a:lnTo>
                  <a:pt x="311330" y="232411"/>
                </a:lnTo>
                <a:lnTo>
                  <a:pt x="315366" y="218394"/>
                </a:lnTo>
                <a:lnTo>
                  <a:pt x="318312" y="203896"/>
                </a:lnTo>
                <a:lnTo>
                  <a:pt x="320117" y="188973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9" y="93485"/>
                </a:lnTo>
                <a:lnTo>
                  <a:pt x="296006" y="80986"/>
                </a:lnTo>
                <a:lnTo>
                  <a:pt x="288459" y="69169"/>
                </a:lnTo>
                <a:lnTo>
                  <a:pt x="280058" y="58089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4"/>
                </a:lnTo>
                <a:lnTo>
                  <a:pt x="86318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4" name="object 62"/>
          <p:cNvSpPr/>
          <p:nvPr/>
        </p:nvSpPr>
        <p:spPr>
          <a:xfrm>
            <a:off x="3604437" y="388180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5" name="object 60"/>
          <p:cNvSpPr/>
          <p:nvPr/>
        </p:nvSpPr>
        <p:spPr>
          <a:xfrm>
            <a:off x="2728738" y="495895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6" name="object 58"/>
          <p:cNvSpPr/>
          <p:nvPr/>
        </p:nvSpPr>
        <p:spPr>
          <a:xfrm>
            <a:off x="6790937" y="243336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7" name="object 56"/>
          <p:cNvSpPr/>
          <p:nvPr/>
        </p:nvSpPr>
        <p:spPr>
          <a:xfrm>
            <a:off x="5830796" y="23498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8" name="object 54"/>
          <p:cNvSpPr/>
          <p:nvPr/>
        </p:nvSpPr>
        <p:spPr>
          <a:xfrm>
            <a:off x="6630572" y="314183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9" name="object 52"/>
          <p:cNvSpPr/>
          <p:nvPr/>
        </p:nvSpPr>
        <p:spPr>
          <a:xfrm>
            <a:off x="3973599" y="450879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0" name="object 50"/>
          <p:cNvSpPr/>
          <p:nvPr/>
        </p:nvSpPr>
        <p:spPr>
          <a:xfrm>
            <a:off x="3718772" y="50002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1" name="object 48"/>
          <p:cNvSpPr/>
          <p:nvPr/>
        </p:nvSpPr>
        <p:spPr>
          <a:xfrm>
            <a:off x="2408007" y="44379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2" name="object 42"/>
          <p:cNvSpPr/>
          <p:nvPr/>
        </p:nvSpPr>
        <p:spPr>
          <a:xfrm>
            <a:off x="5025578" y="369976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3" name="object 44"/>
          <p:cNvSpPr/>
          <p:nvPr/>
        </p:nvSpPr>
        <p:spPr>
          <a:xfrm>
            <a:off x="4837588" y="296815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4" name="object 46"/>
          <p:cNvSpPr/>
          <p:nvPr/>
        </p:nvSpPr>
        <p:spPr>
          <a:xfrm>
            <a:off x="4698983" y="33524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5" name="object 40"/>
          <p:cNvSpPr/>
          <p:nvPr/>
        </p:nvSpPr>
        <p:spPr>
          <a:xfrm>
            <a:off x="4490595" y="5309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6" name="object 38"/>
          <p:cNvSpPr/>
          <p:nvPr/>
        </p:nvSpPr>
        <p:spPr>
          <a:xfrm>
            <a:off x="6309840" y="26070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7" name="object 36"/>
          <p:cNvSpPr/>
          <p:nvPr/>
        </p:nvSpPr>
        <p:spPr>
          <a:xfrm>
            <a:off x="6662640" y="379011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6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7"/>
                </a:lnTo>
                <a:lnTo>
                  <a:pt x="310251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094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8" name="object 34"/>
          <p:cNvSpPr/>
          <p:nvPr/>
        </p:nvSpPr>
        <p:spPr>
          <a:xfrm>
            <a:off x="4315829" y="28709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9" name="object 32"/>
          <p:cNvSpPr/>
          <p:nvPr/>
        </p:nvSpPr>
        <p:spPr>
          <a:xfrm>
            <a:off x="6470207" y="198120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0" name="object 30"/>
          <p:cNvSpPr/>
          <p:nvPr/>
        </p:nvSpPr>
        <p:spPr>
          <a:xfrm>
            <a:off x="5479047" y="355789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1" name="object 28"/>
          <p:cNvSpPr/>
          <p:nvPr/>
        </p:nvSpPr>
        <p:spPr>
          <a:xfrm>
            <a:off x="4155464" y="571658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2" name="object 26"/>
          <p:cNvSpPr/>
          <p:nvPr/>
        </p:nvSpPr>
        <p:spPr>
          <a:xfrm>
            <a:off x="4859348" y="49095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3" name="object 24"/>
          <p:cNvSpPr/>
          <p:nvPr/>
        </p:nvSpPr>
        <p:spPr>
          <a:xfrm>
            <a:off x="2806145" y="390525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4" name="object 22"/>
          <p:cNvSpPr/>
          <p:nvPr/>
        </p:nvSpPr>
        <p:spPr>
          <a:xfrm>
            <a:off x="2530320" y="55944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5" name="object 20"/>
          <p:cNvSpPr/>
          <p:nvPr/>
        </p:nvSpPr>
        <p:spPr>
          <a:xfrm>
            <a:off x="3126876" y="443922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6" name="object 18"/>
          <p:cNvSpPr/>
          <p:nvPr/>
        </p:nvSpPr>
        <p:spPr>
          <a:xfrm>
            <a:off x="5991162" y="307897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7" name="object 6"/>
          <p:cNvSpPr txBox="1"/>
          <p:nvPr/>
        </p:nvSpPr>
        <p:spPr>
          <a:xfrm>
            <a:off x="609600" y="4147206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grpSp>
        <p:nvGrpSpPr>
          <p:cNvPr id="129" name="Group 128"/>
          <p:cNvGrpSpPr/>
          <p:nvPr/>
        </p:nvGrpSpPr>
        <p:grpSpPr>
          <a:xfrm>
            <a:off x="1660913" y="2276856"/>
            <a:ext cx="6303362" cy="4054670"/>
            <a:chOff x="2343901" y="1923700"/>
            <a:chExt cx="6303362" cy="4054670"/>
          </a:xfrm>
        </p:grpSpPr>
        <p:sp>
          <p:nvSpPr>
            <p:cNvPr id="130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131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  <p:sp>
        <p:nvSpPr>
          <p:cNvPr id="133" name="object 82"/>
          <p:cNvSpPr/>
          <p:nvPr/>
        </p:nvSpPr>
        <p:spPr>
          <a:xfrm flipV="1">
            <a:off x="4772975" y="2349886"/>
            <a:ext cx="1932625" cy="1450220"/>
          </a:xfrm>
          <a:custGeom>
            <a:avLst/>
            <a:gdLst/>
            <a:ahLst/>
            <a:cxnLst/>
            <a:rect l="l" t="t" r="r" b="b"/>
            <a:pathLst>
              <a:path w="979964" h="814040">
                <a:moveTo>
                  <a:pt x="979964" y="0"/>
                </a:moveTo>
                <a:lnTo>
                  <a:pt x="0" y="814040"/>
                </a:lnTo>
              </a:path>
            </a:pathLst>
          </a:custGeom>
          <a:ln w="38099">
            <a:solidFill>
              <a:srgbClr val="6094C9"/>
            </a:solidFill>
            <a:headEnd type="arrow"/>
            <a:tailEnd type="arrow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1" name="object 3"/>
          <p:cNvSpPr txBox="1"/>
          <p:nvPr/>
        </p:nvSpPr>
        <p:spPr>
          <a:xfrm>
            <a:off x="604887" y="533891"/>
            <a:ext cx="8234312" cy="3810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3000"/>
              </a:lnSpc>
              <a:spcBef>
                <a:spcPts val="150"/>
              </a:spcBef>
            </a:pPr>
            <a:r>
              <a:rPr lang="en-US" sz="4200" baseline="1950" dirty="0" smtClean="0">
                <a:solidFill>
                  <a:srgbClr val="4E81BC"/>
                </a:solidFill>
                <a:latin typeface="+mj-lt"/>
                <a:cs typeface="Calibri"/>
              </a:rPr>
              <a:t>linkage </a:t>
            </a:r>
            <a:r>
              <a:rPr lang="en-US" sz="4200" baseline="1950" dirty="0">
                <a:solidFill>
                  <a:srgbClr val="4E81BC"/>
                </a:solidFill>
                <a:latin typeface="+mj-lt"/>
                <a:cs typeface="Calibri"/>
              </a:rPr>
              <a:t>= </a:t>
            </a:r>
            <a:r>
              <a:rPr lang="en-US" sz="4200" baseline="1950" dirty="0" smtClean="0">
                <a:solidFill>
                  <a:srgbClr val="4E81BC"/>
                </a:solidFill>
                <a:latin typeface="+mj-lt"/>
                <a:cs typeface="Calibri"/>
              </a:rPr>
              <a:t>“complete”</a:t>
            </a:r>
            <a:endParaRPr sz="2800" dirty="0">
              <a:latin typeface="+mj-lt"/>
              <a:cs typeface="Calibri"/>
            </a:endParaRPr>
          </a:p>
        </p:txBody>
      </p:sp>
      <p:sp>
        <p:nvSpPr>
          <p:cNvPr id="93" name="object 2"/>
          <p:cNvSpPr txBox="1"/>
          <p:nvPr/>
        </p:nvSpPr>
        <p:spPr>
          <a:xfrm>
            <a:off x="1673165" y="2308963"/>
            <a:ext cx="6303362" cy="405467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94" name="object 2"/>
          <p:cNvSpPr txBox="1"/>
          <p:nvPr/>
        </p:nvSpPr>
        <p:spPr>
          <a:xfrm>
            <a:off x="1673165" y="2308963"/>
            <a:ext cx="6303362" cy="405467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95" name="object 82"/>
          <p:cNvSpPr/>
          <p:nvPr/>
        </p:nvSpPr>
        <p:spPr>
          <a:xfrm>
            <a:off x="3691847" y="5875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6" name="object 84"/>
          <p:cNvSpPr/>
          <p:nvPr/>
        </p:nvSpPr>
        <p:spPr>
          <a:xfrm>
            <a:off x="4677222" y="590921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7" name="object 86"/>
          <p:cNvSpPr/>
          <p:nvPr/>
        </p:nvSpPr>
        <p:spPr>
          <a:xfrm>
            <a:off x="5529026" y="589026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8" name="object 74"/>
          <p:cNvSpPr/>
          <p:nvPr/>
        </p:nvSpPr>
        <p:spPr>
          <a:xfrm>
            <a:off x="1945944" y="558313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9" name="object 72"/>
          <p:cNvSpPr/>
          <p:nvPr/>
        </p:nvSpPr>
        <p:spPr>
          <a:xfrm>
            <a:off x="5236841" y="2905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40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80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0" name="object 70"/>
          <p:cNvSpPr/>
          <p:nvPr/>
        </p:nvSpPr>
        <p:spPr>
          <a:xfrm>
            <a:off x="4837588" y="252356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1" name="object 68"/>
          <p:cNvSpPr/>
          <p:nvPr/>
        </p:nvSpPr>
        <p:spPr>
          <a:xfrm>
            <a:off x="4425503" y="211104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2" name="object 66"/>
          <p:cNvSpPr/>
          <p:nvPr/>
        </p:nvSpPr>
        <p:spPr>
          <a:xfrm>
            <a:off x="6149478" y="380010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094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3" name="object 63"/>
          <p:cNvSpPr/>
          <p:nvPr/>
        </p:nvSpPr>
        <p:spPr>
          <a:xfrm>
            <a:off x="5158317" y="54094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6"/>
                </a:lnTo>
                <a:lnTo>
                  <a:pt x="1583" y="198179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6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2"/>
                </a:lnTo>
                <a:lnTo>
                  <a:pt x="49876" y="299561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6"/>
                </a:lnTo>
                <a:lnTo>
                  <a:pt x="196530" y="342926"/>
                </a:lnTo>
                <a:lnTo>
                  <a:pt x="209650" y="339004"/>
                </a:lnTo>
                <a:lnTo>
                  <a:pt x="222295" y="333936"/>
                </a:lnTo>
                <a:lnTo>
                  <a:pt x="234413" y="327778"/>
                </a:lnTo>
                <a:lnTo>
                  <a:pt x="245953" y="320583"/>
                </a:lnTo>
                <a:lnTo>
                  <a:pt x="256864" y="312409"/>
                </a:lnTo>
                <a:lnTo>
                  <a:pt x="267095" y="303311"/>
                </a:lnTo>
                <a:lnTo>
                  <a:pt x="276595" y="293343"/>
                </a:lnTo>
                <a:lnTo>
                  <a:pt x="285312" y="282562"/>
                </a:lnTo>
                <a:lnTo>
                  <a:pt x="293195" y="271023"/>
                </a:lnTo>
                <a:lnTo>
                  <a:pt x="300193" y="258781"/>
                </a:lnTo>
                <a:lnTo>
                  <a:pt x="306255" y="245892"/>
                </a:lnTo>
                <a:lnTo>
                  <a:pt x="311330" y="232411"/>
                </a:lnTo>
                <a:lnTo>
                  <a:pt x="315366" y="218394"/>
                </a:lnTo>
                <a:lnTo>
                  <a:pt x="318312" y="203896"/>
                </a:lnTo>
                <a:lnTo>
                  <a:pt x="320117" y="188973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9" y="93485"/>
                </a:lnTo>
                <a:lnTo>
                  <a:pt x="296006" y="80986"/>
                </a:lnTo>
                <a:lnTo>
                  <a:pt x="288459" y="69169"/>
                </a:lnTo>
                <a:lnTo>
                  <a:pt x="280058" y="58089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4"/>
                </a:lnTo>
                <a:lnTo>
                  <a:pt x="86318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4" name="object 62"/>
          <p:cNvSpPr/>
          <p:nvPr/>
        </p:nvSpPr>
        <p:spPr>
          <a:xfrm>
            <a:off x="3604437" y="388180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5" name="object 60"/>
          <p:cNvSpPr/>
          <p:nvPr/>
        </p:nvSpPr>
        <p:spPr>
          <a:xfrm>
            <a:off x="2728738" y="495895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6" name="object 58"/>
          <p:cNvSpPr/>
          <p:nvPr/>
        </p:nvSpPr>
        <p:spPr>
          <a:xfrm>
            <a:off x="6790937" y="243336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7" name="object 56"/>
          <p:cNvSpPr/>
          <p:nvPr/>
        </p:nvSpPr>
        <p:spPr>
          <a:xfrm>
            <a:off x="5830796" y="23498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8" name="object 54"/>
          <p:cNvSpPr/>
          <p:nvPr/>
        </p:nvSpPr>
        <p:spPr>
          <a:xfrm>
            <a:off x="6630572" y="314183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9" name="object 52"/>
          <p:cNvSpPr/>
          <p:nvPr/>
        </p:nvSpPr>
        <p:spPr>
          <a:xfrm>
            <a:off x="3973599" y="450879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0" name="object 50"/>
          <p:cNvSpPr/>
          <p:nvPr/>
        </p:nvSpPr>
        <p:spPr>
          <a:xfrm>
            <a:off x="3718772" y="50002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1" name="object 48"/>
          <p:cNvSpPr/>
          <p:nvPr/>
        </p:nvSpPr>
        <p:spPr>
          <a:xfrm>
            <a:off x="2408007" y="44379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2" name="object 42"/>
          <p:cNvSpPr/>
          <p:nvPr/>
        </p:nvSpPr>
        <p:spPr>
          <a:xfrm>
            <a:off x="5025578" y="369976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3" name="object 44"/>
          <p:cNvSpPr/>
          <p:nvPr/>
        </p:nvSpPr>
        <p:spPr>
          <a:xfrm>
            <a:off x="4837588" y="296815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4" name="object 46"/>
          <p:cNvSpPr/>
          <p:nvPr/>
        </p:nvSpPr>
        <p:spPr>
          <a:xfrm>
            <a:off x="4698983" y="33524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5" name="object 40"/>
          <p:cNvSpPr/>
          <p:nvPr/>
        </p:nvSpPr>
        <p:spPr>
          <a:xfrm>
            <a:off x="4490595" y="5309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6" name="object 38"/>
          <p:cNvSpPr/>
          <p:nvPr/>
        </p:nvSpPr>
        <p:spPr>
          <a:xfrm>
            <a:off x="6309840" y="26070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7" name="object 36"/>
          <p:cNvSpPr/>
          <p:nvPr/>
        </p:nvSpPr>
        <p:spPr>
          <a:xfrm>
            <a:off x="6662640" y="379011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6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7"/>
                </a:lnTo>
                <a:lnTo>
                  <a:pt x="310251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094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8" name="object 34"/>
          <p:cNvSpPr/>
          <p:nvPr/>
        </p:nvSpPr>
        <p:spPr>
          <a:xfrm>
            <a:off x="4315829" y="28709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9" name="object 32"/>
          <p:cNvSpPr/>
          <p:nvPr/>
        </p:nvSpPr>
        <p:spPr>
          <a:xfrm>
            <a:off x="6470207" y="198120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0" name="object 30"/>
          <p:cNvSpPr/>
          <p:nvPr/>
        </p:nvSpPr>
        <p:spPr>
          <a:xfrm>
            <a:off x="5479047" y="355789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1" name="object 28"/>
          <p:cNvSpPr/>
          <p:nvPr/>
        </p:nvSpPr>
        <p:spPr>
          <a:xfrm>
            <a:off x="4155464" y="571658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2" name="object 26"/>
          <p:cNvSpPr/>
          <p:nvPr/>
        </p:nvSpPr>
        <p:spPr>
          <a:xfrm>
            <a:off x="4859348" y="49095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3" name="object 24"/>
          <p:cNvSpPr/>
          <p:nvPr/>
        </p:nvSpPr>
        <p:spPr>
          <a:xfrm>
            <a:off x="2806145" y="390525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4" name="object 22"/>
          <p:cNvSpPr/>
          <p:nvPr/>
        </p:nvSpPr>
        <p:spPr>
          <a:xfrm>
            <a:off x="2530320" y="55944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5" name="object 20"/>
          <p:cNvSpPr/>
          <p:nvPr/>
        </p:nvSpPr>
        <p:spPr>
          <a:xfrm>
            <a:off x="3126876" y="443922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6" name="object 18"/>
          <p:cNvSpPr/>
          <p:nvPr/>
        </p:nvSpPr>
        <p:spPr>
          <a:xfrm>
            <a:off x="5991162" y="307897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7" name="object 6"/>
          <p:cNvSpPr txBox="1"/>
          <p:nvPr/>
        </p:nvSpPr>
        <p:spPr>
          <a:xfrm>
            <a:off x="609600" y="4147206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grpSp>
        <p:nvGrpSpPr>
          <p:cNvPr id="128" name="Group 127"/>
          <p:cNvGrpSpPr/>
          <p:nvPr/>
        </p:nvGrpSpPr>
        <p:grpSpPr>
          <a:xfrm>
            <a:off x="1660913" y="2276856"/>
            <a:ext cx="6303362" cy="4054670"/>
            <a:chOff x="2343901" y="1923700"/>
            <a:chExt cx="6303362" cy="4054670"/>
          </a:xfrm>
        </p:grpSpPr>
        <p:sp>
          <p:nvSpPr>
            <p:cNvPr id="129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130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  <p:sp>
        <p:nvSpPr>
          <p:cNvPr id="131" name="object 82"/>
          <p:cNvSpPr/>
          <p:nvPr/>
        </p:nvSpPr>
        <p:spPr>
          <a:xfrm flipV="1">
            <a:off x="4772975" y="2349886"/>
            <a:ext cx="1932625" cy="1450220"/>
          </a:xfrm>
          <a:custGeom>
            <a:avLst/>
            <a:gdLst/>
            <a:ahLst/>
            <a:cxnLst/>
            <a:rect l="l" t="t" r="r" b="b"/>
            <a:pathLst>
              <a:path w="979964" h="814040">
                <a:moveTo>
                  <a:pt x="979964" y="0"/>
                </a:moveTo>
                <a:lnTo>
                  <a:pt x="0" y="814040"/>
                </a:lnTo>
              </a:path>
            </a:pathLst>
          </a:custGeom>
          <a:ln w="38099">
            <a:solidFill>
              <a:srgbClr val="6094C9"/>
            </a:solidFill>
            <a:headEnd type="arrow"/>
            <a:tailEnd type="arrow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2" name="object 82"/>
          <p:cNvSpPr/>
          <p:nvPr/>
        </p:nvSpPr>
        <p:spPr>
          <a:xfrm rot="16200000" flipV="1">
            <a:off x="1732271" y="2853295"/>
            <a:ext cx="3225812" cy="2233866"/>
          </a:xfrm>
          <a:custGeom>
            <a:avLst/>
            <a:gdLst/>
            <a:ahLst/>
            <a:cxnLst/>
            <a:rect l="l" t="t" r="r" b="b"/>
            <a:pathLst>
              <a:path w="979964" h="814040">
                <a:moveTo>
                  <a:pt x="979964" y="0"/>
                </a:moveTo>
                <a:lnTo>
                  <a:pt x="0" y="814040"/>
                </a:lnTo>
              </a:path>
            </a:pathLst>
          </a:custGeom>
          <a:ln w="38099">
            <a:solidFill>
              <a:srgbClr val="6094C9"/>
            </a:solidFill>
            <a:headEnd type="arrow"/>
            <a:tailEnd type="arrow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4" name="object 13"/>
          <p:cNvSpPr txBox="1"/>
          <p:nvPr/>
        </p:nvSpPr>
        <p:spPr>
          <a:xfrm>
            <a:off x="604886" y="999752"/>
            <a:ext cx="8234313" cy="861774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>
              <a:lnSpc>
                <a:spcPts val="3400"/>
              </a:lnSpc>
              <a:spcBef>
                <a:spcPts val="170"/>
              </a:spcBef>
            </a:pPr>
            <a:r>
              <a:rPr lang="en-US" sz="4200" spc="0" baseline="1706" dirty="0" smtClean="0">
                <a:solidFill>
                  <a:srgbClr val="7F7E7E"/>
                </a:solidFill>
                <a:latin typeface="+mj-lt"/>
                <a:cs typeface="Calibri"/>
              </a:rPr>
              <a:t>Distance between two clusters is the </a:t>
            </a:r>
            <a:r>
              <a:rPr lang="en-US" sz="4200" baseline="1706" dirty="0">
                <a:solidFill>
                  <a:srgbClr val="7F7E7E"/>
                </a:solidFill>
                <a:cs typeface="Calibri"/>
              </a:rPr>
              <a:t>maximum </a:t>
            </a:r>
            <a:r>
              <a:rPr lang="en-US" sz="4200" spc="0" baseline="1706" dirty="0" smtClean="0">
                <a:solidFill>
                  <a:srgbClr val="7F7E7E"/>
                </a:solidFill>
                <a:latin typeface="+mj-lt"/>
                <a:cs typeface="Calibri"/>
              </a:rPr>
              <a:t>pairwise distance</a:t>
            </a:r>
            <a:endParaRPr sz="4200" dirty="0">
              <a:solidFill>
                <a:srgbClr val="7F7E7E"/>
              </a:solidFill>
              <a:latin typeface="+mj-lt"/>
              <a:cs typeface="Calibri"/>
            </a:endParaRPr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5" name="object 3"/>
          <p:cNvSpPr txBox="1"/>
          <p:nvPr/>
        </p:nvSpPr>
        <p:spPr>
          <a:xfrm>
            <a:off x="604887" y="533891"/>
            <a:ext cx="8234312" cy="3810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3000"/>
              </a:lnSpc>
              <a:spcBef>
                <a:spcPts val="150"/>
              </a:spcBef>
            </a:pPr>
            <a:r>
              <a:rPr lang="en-US" sz="4200" baseline="1950" dirty="0" smtClean="0">
                <a:solidFill>
                  <a:srgbClr val="4E81BC"/>
                </a:solidFill>
                <a:latin typeface="+mj-lt"/>
                <a:cs typeface="Calibri"/>
              </a:rPr>
              <a:t>linkage </a:t>
            </a:r>
            <a:r>
              <a:rPr lang="en-US" sz="4200" baseline="1950" dirty="0">
                <a:solidFill>
                  <a:srgbClr val="4E81BC"/>
                </a:solidFill>
                <a:latin typeface="+mj-lt"/>
                <a:cs typeface="Calibri"/>
              </a:rPr>
              <a:t>= </a:t>
            </a:r>
            <a:r>
              <a:rPr lang="en-US" sz="4200" baseline="1950" dirty="0" smtClean="0">
                <a:solidFill>
                  <a:srgbClr val="4E81BC"/>
                </a:solidFill>
                <a:latin typeface="+mj-lt"/>
                <a:cs typeface="Calibri"/>
              </a:rPr>
              <a:t>“complete”</a:t>
            </a:r>
            <a:endParaRPr sz="2800" dirty="0">
              <a:latin typeface="+mj-lt"/>
              <a:cs typeface="Calibri"/>
            </a:endParaRPr>
          </a:p>
        </p:txBody>
      </p:sp>
      <p:sp>
        <p:nvSpPr>
          <p:cNvPr id="97" name="object 2"/>
          <p:cNvSpPr txBox="1"/>
          <p:nvPr/>
        </p:nvSpPr>
        <p:spPr>
          <a:xfrm>
            <a:off x="1673165" y="2308963"/>
            <a:ext cx="6303362" cy="405467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98" name="object 2"/>
          <p:cNvSpPr txBox="1"/>
          <p:nvPr/>
        </p:nvSpPr>
        <p:spPr>
          <a:xfrm>
            <a:off x="1673165" y="2308963"/>
            <a:ext cx="6303362" cy="405467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99" name="object 82"/>
          <p:cNvSpPr/>
          <p:nvPr/>
        </p:nvSpPr>
        <p:spPr>
          <a:xfrm>
            <a:off x="3691847" y="5875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0" name="object 84"/>
          <p:cNvSpPr/>
          <p:nvPr/>
        </p:nvSpPr>
        <p:spPr>
          <a:xfrm>
            <a:off x="4677222" y="590921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1" name="object 86"/>
          <p:cNvSpPr/>
          <p:nvPr/>
        </p:nvSpPr>
        <p:spPr>
          <a:xfrm>
            <a:off x="5529026" y="589026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2" name="object 74"/>
          <p:cNvSpPr/>
          <p:nvPr/>
        </p:nvSpPr>
        <p:spPr>
          <a:xfrm>
            <a:off x="1945944" y="558313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3" name="object 72"/>
          <p:cNvSpPr/>
          <p:nvPr/>
        </p:nvSpPr>
        <p:spPr>
          <a:xfrm>
            <a:off x="5236841" y="2905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40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80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4" name="object 70"/>
          <p:cNvSpPr/>
          <p:nvPr/>
        </p:nvSpPr>
        <p:spPr>
          <a:xfrm>
            <a:off x="4837588" y="252356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5" name="object 68"/>
          <p:cNvSpPr/>
          <p:nvPr/>
        </p:nvSpPr>
        <p:spPr>
          <a:xfrm>
            <a:off x="4425503" y="211104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6" name="object 66"/>
          <p:cNvSpPr/>
          <p:nvPr/>
        </p:nvSpPr>
        <p:spPr>
          <a:xfrm>
            <a:off x="6149478" y="380010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094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7" name="object 63"/>
          <p:cNvSpPr/>
          <p:nvPr/>
        </p:nvSpPr>
        <p:spPr>
          <a:xfrm>
            <a:off x="5158317" y="54094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6"/>
                </a:lnTo>
                <a:lnTo>
                  <a:pt x="1583" y="198179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6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2"/>
                </a:lnTo>
                <a:lnTo>
                  <a:pt x="49876" y="299561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6"/>
                </a:lnTo>
                <a:lnTo>
                  <a:pt x="196530" y="342926"/>
                </a:lnTo>
                <a:lnTo>
                  <a:pt x="209650" y="339004"/>
                </a:lnTo>
                <a:lnTo>
                  <a:pt x="222295" y="333936"/>
                </a:lnTo>
                <a:lnTo>
                  <a:pt x="234413" y="327778"/>
                </a:lnTo>
                <a:lnTo>
                  <a:pt x="245953" y="320583"/>
                </a:lnTo>
                <a:lnTo>
                  <a:pt x="256864" y="312409"/>
                </a:lnTo>
                <a:lnTo>
                  <a:pt x="267095" y="303311"/>
                </a:lnTo>
                <a:lnTo>
                  <a:pt x="276595" y="293343"/>
                </a:lnTo>
                <a:lnTo>
                  <a:pt x="285312" y="282562"/>
                </a:lnTo>
                <a:lnTo>
                  <a:pt x="293195" y="271023"/>
                </a:lnTo>
                <a:lnTo>
                  <a:pt x="300193" y="258781"/>
                </a:lnTo>
                <a:lnTo>
                  <a:pt x="306255" y="245892"/>
                </a:lnTo>
                <a:lnTo>
                  <a:pt x="311330" y="232411"/>
                </a:lnTo>
                <a:lnTo>
                  <a:pt x="315366" y="218394"/>
                </a:lnTo>
                <a:lnTo>
                  <a:pt x="318312" y="203896"/>
                </a:lnTo>
                <a:lnTo>
                  <a:pt x="320117" y="188973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9" y="93485"/>
                </a:lnTo>
                <a:lnTo>
                  <a:pt x="296006" y="80986"/>
                </a:lnTo>
                <a:lnTo>
                  <a:pt x="288459" y="69169"/>
                </a:lnTo>
                <a:lnTo>
                  <a:pt x="280058" y="58089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4"/>
                </a:lnTo>
                <a:lnTo>
                  <a:pt x="86318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8" name="object 62"/>
          <p:cNvSpPr/>
          <p:nvPr/>
        </p:nvSpPr>
        <p:spPr>
          <a:xfrm>
            <a:off x="3604437" y="388180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9" name="object 60"/>
          <p:cNvSpPr/>
          <p:nvPr/>
        </p:nvSpPr>
        <p:spPr>
          <a:xfrm>
            <a:off x="2728738" y="495895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0" name="object 58"/>
          <p:cNvSpPr/>
          <p:nvPr/>
        </p:nvSpPr>
        <p:spPr>
          <a:xfrm>
            <a:off x="6790937" y="243336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1" name="object 56"/>
          <p:cNvSpPr/>
          <p:nvPr/>
        </p:nvSpPr>
        <p:spPr>
          <a:xfrm>
            <a:off x="5830796" y="23498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2" name="object 54"/>
          <p:cNvSpPr/>
          <p:nvPr/>
        </p:nvSpPr>
        <p:spPr>
          <a:xfrm>
            <a:off x="6630572" y="314183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3" name="object 52"/>
          <p:cNvSpPr/>
          <p:nvPr/>
        </p:nvSpPr>
        <p:spPr>
          <a:xfrm>
            <a:off x="3973599" y="450879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4" name="object 50"/>
          <p:cNvSpPr/>
          <p:nvPr/>
        </p:nvSpPr>
        <p:spPr>
          <a:xfrm>
            <a:off x="3718772" y="50002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5" name="object 48"/>
          <p:cNvSpPr/>
          <p:nvPr/>
        </p:nvSpPr>
        <p:spPr>
          <a:xfrm>
            <a:off x="2408007" y="44379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6" name="object 42"/>
          <p:cNvSpPr/>
          <p:nvPr/>
        </p:nvSpPr>
        <p:spPr>
          <a:xfrm>
            <a:off x="5025578" y="369976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7" name="object 44"/>
          <p:cNvSpPr/>
          <p:nvPr/>
        </p:nvSpPr>
        <p:spPr>
          <a:xfrm>
            <a:off x="4837588" y="296815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8" name="object 46"/>
          <p:cNvSpPr/>
          <p:nvPr/>
        </p:nvSpPr>
        <p:spPr>
          <a:xfrm>
            <a:off x="4698983" y="33524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9" name="object 40"/>
          <p:cNvSpPr/>
          <p:nvPr/>
        </p:nvSpPr>
        <p:spPr>
          <a:xfrm>
            <a:off x="4490595" y="5309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0" name="object 38"/>
          <p:cNvSpPr/>
          <p:nvPr/>
        </p:nvSpPr>
        <p:spPr>
          <a:xfrm>
            <a:off x="6309840" y="26070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1" name="object 36"/>
          <p:cNvSpPr/>
          <p:nvPr/>
        </p:nvSpPr>
        <p:spPr>
          <a:xfrm>
            <a:off x="6662640" y="379011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6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7"/>
                </a:lnTo>
                <a:lnTo>
                  <a:pt x="310251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094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2" name="object 34"/>
          <p:cNvSpPr/>
          <p:nvPr/>
        </p:nvSpPr>
        <p:spPr>
          <a:xfrm>
            <a:off x="4315829" y="28709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3" name="object 32"/>
          <p:cNvSpPr/>
          <p:nvPr/>
        </p:nvSpPr>
        <p:spPr>
          <a:xfrm>
            <a:off x="6470207" y="198120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4" name="object 30"/>
          <p:cNvSpPr/>
          <p:nvPr/>
        </p:nvSpPr>
        <p:spPr>
          <a:xfrm>
            <a:off x="5479047" y="355789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5" name="object 28"/>
          <p:cNvSpPr/>
          <p:nvPr/>
        </p:nvSpPr>
        <p:spPr>
          <a:xfrm>
            <a:off x="4155464" y="571658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6" name="object 26"/>
          <p:cNvSpPr/>
          <p:nvPr/>
        </p:nvSpPr>
        <p:spPr>
          <a:xfrm>
            <a:off x="4859348" y="49095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7" name="object 24"/>
          <p:cNvSpPr/>
          <p:nvPr/>
        </p:nvSpPr>
        <p:spPr>
          <a:xfrm>
            <a:off x="2806145" y="390525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8" name="object 22"/>
          <p:cNvSpPr/>
          <p:nvPr/>
        </p:nvSpPr>
        <p:spPr>
          <a:xfrm>
            <a:off x="2530320" y="55944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9" name="object 20"/>
          <p:cNvSpPr/>
          <p:nvPr/>
        </p:nvSpPr>
        <p:spPr>
          <a:xfrm>
            <a:off x="3126876" y="443922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0" name="object 18"/>
          <p:cNvSpPr/>
          <p:nvPr/>
        </p:nvSpPr>
        <p:spPr>
          <a:xfrm>
            <a:off x="5991162" y="307897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1" name="object 6"/>
          <p:cNvSpPr txBox="1"/>
          <p:nvPr/>
        </p:nvSpPr>
        <p:spPr>
          <a:xfrm>
            <a:off x="609600" y="4147206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grpSp>
        <p:nvGrpSpPr>
          <p:cNvPr id="132" name="Group 131"/>
          <p:cNvGrpSpPr/>
          <p:nvPr/>
        </p:nvGrpSpPr>
        <p:grpSpPr>
          <a:xfrm>
            <a:off x="1660913" y="2276856"/>
            <a:ext cx="6303362" cy="4054670"/>
            <a:chOff x="2343901" y="1923700"/>
            <a:chExt cx="6303362" cy="4054670"/>
          </a:xfrm>
        </p:grpSpPr>
        <p:sp>
          <p:nvSpPr>
            <p:cNvPr id="133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134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  <p:sp>
        <p:nvSpPr>
          <p:cNvPr id="135" name="object 82"/>
          <p:cNvSpPr/>
          <p:nvPr/>
        </p:nvSpPr>
        <p:spPr>
          <a:xfrm flipV="1">
            <a:off x="4772975" y="2349886"/>
            <a:ext cx="1932625" cy="1450220"/>
          </a:xfrm>
          <a:custGeom>
            <a:avLst/>
            <a:gdLst/>
            <a:ahLst/>
            <a:cxnLst/>
            <a:rect l="l" t="t" r="r" b="b"/>
            <a:pathLst>
              <a:path w="979964" h="814040">
                <a:moveTo>
                  <a:pt x="979964" y="0"/>
                </a:moveTo>
                <a:lnTo>
                  <a:pt x="0" y="814040"/>
                </a:lnTo>
              </a:path>
            </a:pathLst>
          </a:custGeom>
          <a:ln w="38099">
            <a:solidFill>
              <a:srgbClr val="6094C9"/>
            </a:solidFill>
            <a:headEnd type="arrow"/>
            <a:tailEnd type="arrow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6" name="object 82"/>
          <p:cNvSpPr/>
          <p:nvPr/>
        </p:nvSpPr>
        <p:spPr>
          <a:xfrm rot="16200000" flipV="1">
            <a:off x="1732271" y="2853295"/>
            <a:ext cx="3225812" cy="2233866"/>
          </a:xfrm>
          <a:custGeom>
            <a:avLst/>
            <a:gdLst/>
            <a:ahLst/>
            <a:cxnLst/>
            <a:rect l="l" t="t" r="r" b="b"/>
            <a:pathLst>
              <a:path w="979964" h="814040">
                <a:moveTo>
                  <a:pt x="979964" y="0"/>
                </a:moveTo>
                <a:lnTo>
                  <a:pt x="0" y="814040"/>
                </a:lnTo>
              </a:path>
            </a:pathLst>
          </a:custGeom>
          <a:ln w="38099">
            <a:solidFill>
              <a:srgbClr val="6094C9"/>
            </a:solidFill>
            <a:headEnd type="arrow"/>
            <a:tailEnd type="arrow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7" name="object 82"/>
          <p:cNvSpPr/>
          <p:nvPr/>
        </p:nvSpPr>
        <p:spPr>
          <a:xfrm rot="10800000" flipV="1">
            <a:off x="3075728" y="4274476"/>
            <a:ext cx="2430059" cy="1755656"/>
          </a:xfrm>
          <a:custGeom>
            <a:avLst/>
            <a:gdLst/>
            <a:ahLst/>
            <a:cxnLst/>
            <a:rect l="l" t="t" r="r" b="b"/>
            <a:pathLst>
              <a:path w="979964" h="814040">
                <a:moveTo>
                  <a:pt x="979964" y="0"/>
                </a:moveTo>
                <a:lnTo>
                  <a:pt x="0" y="814040"/>
                </a:lnTo>
              </a:path>
            </a:pathLst>
          </a:custGeom>
          <a:ln w="38099">
            <a:solidFill>
              <a:srgbClr val="6094C9"/>
            </a:solidFill>
            <a:headEnd type="arrow"/>
            <a:tailEnd type="arrow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5" name="object 13"/>
          <p:cNvSpPr txBox="1"/>
          <p:nvPr/>
        </p:nvSpPr>
        <p:spPr>
          <a:xfrm>
            <a:off x="604886" y="999752"/>
            <a:ext cx="8234313" cy="861774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>
              <a:lnSpc>
                <a:spcPts val="3400"/>
              </a:lnSpc>
              <a:spcBef>
                <a:spcPts val="170"/>
              </a:spcBef>
            </a:pPr>
            <a:r>
              <a:rPr lang="en-US" sz="4200" spc="0" baseline="1706" dirty="0" smtClean="0">
                <a:solidFill>
                  <a:srgbClr val="7F7E7E"/>
                </a:solidFill>
                <a:latin typeface="+mj-lt"/>
                <a:cs typeface="Calibri"/>
              </a:rPr>
              <a:t>Distance between two clusters is the </a:t>
            </a:r>
            <a:r>
              <a:rPr lang="en-US" sz="4200" baseline="1706" dirty="0">
                <a:solidFill>
                  <a:srgbClr val="7F7E7E"/>
                </a:solidFill>
                <a:cs typeface="Calibri"/>
              </a:rPr>
              <a:t>maximum </a:t>
            </a:r>
            <a:r>
              <a:rPr lang="en-US" sz="4200" spc="0" baseline="1706" dirty="0" smtClean="0">
                <a:solidFill>
                  <a:srgbClr val="7F7E7E"/>
                </a:solidFill>
                <a:latin typeface="+mj-lt"/>
                <a:cs typeface="Calibri"/>
              </a:rPr>
              <a:t>pairwise distance</a:t>
            </a:r>
            <a:endParaRPr sz="4200" dirty="0">
              <a:solidFill>
                <a:srgbClr val="7F7E7E"/>
              </a:solidFill>
              <a:latin typeface="+mj-lt"/>
              <a:cs typeface="Calibri"/>
            </a:endParaRPr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8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9" name="object 3"/>
          <p:cNvSpPr txBox="1"/>
          <p:nvPr/>
        </p:nvSpPr>
        <p:spPr>
          <a:xfrm>
            <a:off x="604887" y="533891"/>
            <a:ext cx="8234312" cy="3810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3000"/>
              </a:lnSpc>
              <a:spcBef>
                <a:spcPts val="150"/>
              </a:spcBef>
            </a:pPr>
            <a:r>
              <a:rPr lang="en-US" sz="4200" baseline="1950" dirty="0" smtClean="0">
                <a:solidFill>
                  <a:srgbClr val="4E81BC"/>
                </a:solidFill>
                <a:latin typeface="+mj-lt"/>
                <a:cs typeface="Calibri"/>
              </a:rPr>
              <a:t>linkage </a:t>
            </a:r>
            <a:r>
              <a:rPr lang="en-US" sz="4200" baseline="1950" dirty="0">
                <a:solidFill>
                  <a:srgbClr val="4E81BC"/>
                </a:solidFill>
                <a:latin typeface="+mj-lt"/>
                <a:cs typeface="Calibri"/>
              </a:rPr>
              <a:t>= </a:t>
            </a:r>
            <a:r>
              <a:rPr lang="en-US" sz="4200" baseline="1950" dirty="0" smtClean="0">
                <a:solidFill>
                  <a:srgbClr val="4E81BC"/>
                </a:solidFill>
                <a:latin typeface="+mj-lt"/>
                <a:cs typeface="Calibri"/>
              </a:rPr>
              <a:t>“complete”</a:t>
            </a:r>
            <a:endParaRPr sz="2800" dirty="0">
              <a:latin typeface="+mj-lt"/>
              <a:cs typeface="Calibri"/>
            </a:endParaRPr>
          </a:p>
        </p:txBody>
      </p:sp>
      <p:sp>
        <p:nvSpPr>
          <p:cNvPr id="101" name="object 2"/>
          <p:cNvSpPr txBox="1"/>
          <p:nvPr/>
        </p:nvSpPr>
        <p:spPr>
          <a:xfrm>
            <a:off x="1673165" y="2308963"/>
            <a:ext cx="6303362" cy="405467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102" name="object 2"/>
          <p:cNvSpPr txBox="1"/>
          <p:nvPr/>
        </p:nvSpPr>
        <p:spPr>
          <a:xfrm>
            <a:off x="1673165" y="2308963"/>
            <a:ext cx="6303362" cy="405467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103" name="object 82"/>
          <p:cNvSpPr/>
          <p:nvPr/>
        </p:nvSpPr>
        <p:spPr>
          <a:xfrm>
            <a:off x="3691847" y="5875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4" name="object 84"/>
          <p:cNvSpPr/>
          <p:nvPr/>
        </p:nvSpPr>
        <p:spPr>
          <a:xfrm>
            <a:off x="4677222" y="590921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5" name="object 86"/>
          <p:cNvSpPr/>
          <p:nvPr/>
        </p:nvSpPr>
        <p:spPr>
          <a:xfrm>
            <a:off x="5529026" y="589026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6" name="object 74"/>
          <p:cNvSpPr/>
          <p:nvPr/>
        </p:nvSpPr>
        <p:spPr>
          <a:xfrm>
            <a:off x="1945944" y="558313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7" name="object 72"/>
          <p:cNvSpPr/>
          <p:nvPr/>
        </p:nvSpPr>
        <p:spPr>
          <a:xfrm>
            <a:off x="5236841" y="2905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40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80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8" name="object 70"/>
          <p:cNvSpPr/>
          <p:nvPr/>
        </p:nvSpPr>
        <p:spPr>
          <a:xfrm>
            <a:off x="4837588" y="252356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9" name="object 68"/>
          <p:cNvSpPr/>
          <p:nvPr/>
        </p:nvSpPr>
        <p:spPr>
          <a:xfrm>
            <a:off x="4425503" y="211104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0" name="object 66"/>
          <p:cNvSpPr/>
          <p:nvPr/>
        </p:nvSpPr>
        <p:spPr>
          <a:xfrm>
            <a:off x="6149478" y="380010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094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1" name="object 63"/>
          <p:cNvSpPr/>
          <p:nvPr/>
        </p:nvSpPr>
        <p:spPr>
          <a:xfrm>
            <a:off x="5158317" y="54094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6"/>
                </a:lnTo>
                <a:lnTo>
                  <a:pt x="1583" y="198179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6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2"/>
                </a:lnTo>
                <a:lnTo>
                  <a:pt x="49876" y="299561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6"/>
                </a:lnTo>
                <a:lnTo>
                  <a:pt x="196530" y="342926"/>
                </a:lnTo>
                <a:lnTo>
                  <a:pt x="209650" y="339004"/>
                </a:lnTo>
                <a:lnTo>
                  <a:pt x="222295" y="333936"/>
                </a:lnTo>
                <a:lnTo>
                  <a:pt x="234413" y="327778"/>
                </a:lnTo>
                <a:lnTo>
                  <a:pt x="245953" y="320583"/>
                </a:lnTo>
                <a:lnTo>
                  <a:pt x="256864" y="312409"/>
                </a:lnTo>
                <a:lnTo>
                  <a:pt x="267095" y="303311"/>
                </a:lnTo>
                <a:lnTo>
                  <a:pt x="276595" y="293343"/>
                </a:lnTo>
                <a:lnTo>
                  <a:pt x="285312" y="282562"/>
                </a:lnTo>
                <a:lnTo>
                  <a:pt x="293195" y="271023"/>
                </a:lnTo>
                <a:lnTo>
                  <a:pt x="300193" y="258781"/>
                </a:lnTo>
                <a:lnTo>
                  <a:pt x="306255" y="245892"/>
                </a:lnTo>
                <a:lnTo>
                  <a:pt x="311330" y="232411"/>
                </a:lnTo>
                <a:lnTo>
                  <a:pt x="315366" y="218394"/>
                </a:lnTo>
                <a:lnTo>
                  <a:pt x="318312" y="203896"/>
                </a:lnTo>
                <a:lnTo>
                  <a:pt x="320117" y="188973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9" y="93485"/>
                </a:lnTo>
                <a:lnTo>
                  <a:pt x="296006" y="80986"/>
                </a:lnTo>
                <a:lnTo>
                  <a:pt x="288459" y="69169"/>
                </a:lnTo>
                <a:lnTo>
                  <a:pt x="280058" y="58089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4"/>
                </a:lnTo>
                <a:lnTo>
                  <a:pt x="86318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2" name="object 62"/>
          <p:cNvSpPr/>
          <p:nvPr/>
        </p:nvSpPr>
        <p:spPr>
          <a:xfrm>
            <a:off x="3604437" y="388180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3" name="object 60"/>
          <p:cNvSpPr/>
          <p:nvPr/>
        </p:nvSpPr>
        <p:spPr>
          <a:xfrm>
            <a:off x="2728738" y="495895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4" name="object 58"/>
          <p:cNvSpPr/>
          <p:nvPr/>
        </p:nvSpPr>
        <p:spPr>
          <a:xfrm>
            <a:off x="6790937" y="243336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5" name="object 56"/>
          <p:cNvSpPr/>
          <p:nvPr/>
        </p:nvSpPr>
        <p:spPr>
          <a:xfrm>
            <a:off x="5830796" y="23498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6" name="object 54"/>
          <p:cNvSpPr/>
          <p:nvPr/>
        </p:nvSpPr>
        <p:spPr>
          <a:xfrm>
            <a:off x="6630572" y="314183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7" name="object 52"/>
          <p:cNvSpPr/>
          <p:nvPr/>
        </p:nvSpPr>
        <p:spPr>
          <a:xfrm>
            <a:off x="3973599" y="450879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8" name="object 50"/>
          <p:cNvSpPr/>
          <p:nvPr/>
        </p:nvSpPr>
        <p:spPr>
          <a:xfrm>
            <a:off x="3718772" y="50002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9" name="object 48"/>
          <p:cNvSpPr/>
          <p:nvPr/>
        </p:nvSpPr>
        <p:spPr>
          <a:xfrm>
            <a:off x="2408007" y="44379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0" name="object 42"/>
          <p:cNvSpPr/>
          <p:nvPr/>
        </p:nvSpPr>
        <p:spPr>
          <a:xfrm>
            <a:off x="5025578" y="369976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1" name="object 44"/>
          <p:cNvSpPr/>
          <p:nvPr/>
        </p:nvSpPr>
        <p:spPr>
          <a:xfrm>
            <a:off x="4837588" y="296815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2" name="object 46"/>
          <p:cNvSpPr/>
          <p:nvPr/>
        </p:nvSpPr>
        <p:spPr>
          <a:xfrm>
            <a:off x="4698983" y="33524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3" name="object 40"/>
          <p:cNvSpPr/>
          <p:nvPr/>
        </p:nvSpPr>
        <p:spPr>
          <a:xfrm>
            <a:off x="4490595" y="5309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4" name="object 38"/>
          <p:cNvSpPr/>
          <p:nvPr/>
        </p:nvSpPr>
        <p:spPr>
          <a:xfrm>
            <a:off x="6309840" y="26070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5" name="object 36"/>
          <p:cNvSpPr/>
          <p:nvPr/>
        </p:nvSpPr>
        <p:spPr>
          <a:xfrm>
            <a:off x="6662640" y="379011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6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7"/>
                </a:lnTo>
                <a:lnTo>
                  <a:pt x="310251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094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6" name="object 34"/>
          <p:cNvSpPr/>
          <p:nvPr/>
        </p:nvSpPr>
        <p:spPr>
          <a:xfrm>
            <a:off x="4315829" y="28709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7" name="object 32"/>
          <p:cNvSpPr/>
          <p:nvPr/>
        </p:nvSpPr>
        <p:spPr>
          <a:xfrm>
            <a:off x="6470207" y="198120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8" name="object 30"/>
          <p:cNvSpPr/>
          <p:nvPr/>
        </p:nvSpPr>
        <p:spPr>
          <a:xfrm>
            <a:off x="5479047" y="355789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9" name="object 28"/>
          <p:cNvSpPr/>
          <p:nvPr/>
        </p:nvSpPr>
        <p:spPr>
          <a:xfrm>
            <a:off x="4155464" y="571658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0" name="object 26"/>
          <p:cNvSpPr/>
          <p:nvPr/>
        </p:nvSpPr>
        <p:spPr>
          <a:xfrm>
            <a:off x="4859348" y="49095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1" name="object 24"/>
          <p:cNvSpPr/>
          <p:nvPr/>
        </p:nvSpPr>
        <p:spPr>
          <a:xfrm>
            <a:off x="2806145" y="390525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2" name="object 22"/>
          <p:cNvSpPr/>
          <p:nvPr/>
        </p:nvSpPr>
        <p:spPr>
          <a:xfrm>
            <a:off x="2530320" y="55944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3" name="object 20"/>
          <p:cNvSpPr/>
          <p:nvPr/>
        </p:nvSpPr>
        <p:spPr>
          <a:xfrm>
            <a:off x="3126876" y="443922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4" name="object 18"/>
          <p:cNvSpPr/>
          <p:nvPr/>
        </p:nvSpPr>
        <p:spPr>
          <a:xfrm>
            <a:off x="5991162" y="307897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5" name="object 6"/>
          <p:cNvSpPr txBox="1"/>
          <p:nvPr/>
        </p:nvSpPr>
        <p:spPr>
          <a:xfrm>
            <a:off x="609600" y="4147206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grpSp>
        <p:nvGrpSpPr>
          <p:cNvPr id="136" name="Group 135"/>
          <p:cNvGrpSpPr/>
          <p:nvPr/>
        </p:nvGrpSpPr>
        <p:grpSpPr>
          <a:xfrm>
            <a:off x="1660913" y="2276856"/>
            <a:ext cx="6303362" cy="4054670"/>
            <a:chOff x="2343901" y="1923700"/>
            <a:chExt cx="6303362" cy="4054670"/>
          </a:xfrm>
        </p:grpSpPr>
        <p:sp>
          <p:nvSpPr>
            <p:cNvPr id="137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138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  <p:sp>
        <p:nvSpPr>
          <p:cNvPr id="139" name="object 82"/>
          <p:cNvSpPr/>
          <p:nvPr/>
        </p:nvSpPr>
        <p:spPr>
          <a:xfrm flipV="1">
            <a:off x="4772975" y="2349886"/>
            <a:ext cx="1932625" cy="1450220"/>
          </a:xfrm>
          <a:custGeom>
            <a:avLst/>
            <a:gdLst/>
            <a:ahLst/>
            <a:cxnLst/>
            <a:rect l="l" t="t" r="r" b="b"/>
            <a:pathLst>
              <a:path w="979964" h="814040">
                <a:moveTo>
                  <a:pt x="979964" y="0"/>
                </a:moveTo>
                <a:lnTo>
                  <a:pt x="0" y="814040"/>
                </a:lnTo>
              </a:path>
            </a:pathLst>
          </a:custGeom>
          <a:ln w="38099">
            <a:solidFill>
              <a:srgbClr val="6094C9"/>
            </a:solidFill>
            <a:headEnd type="arrow"/>
            <a:tailEnd type="arrow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0" name="object 82"/>
          <p:cNvSpPr/>
          <p:nvPr/>
        </p:nvSpPr>
        <p:spPr>
          <a:xfrm rot="16200000" flipV="1">
            <a:off x="1732271" y="2853295"/>
            <a:ext cx="3225812" cy="2233866"/>
          </a:xfrm>
          <a:custGeom>
            <a:avLst/>
            <a:gdLst/>
            <a:ahLst/>
            <a:cxnLst/>
            <a:rect l="l" t="t" r="r" b="b"/>
            <a:pathLst>
              <a:path w="979964" h="814040">
                <a:moveTo>
                  <a:pt x="979964" y="0"/>
                </a:moveTo>
                <a:lnTo>
                  <a:pt x="0" y="814040"/>
                </a:lnTo>
              </a:path>
            </a:pathLst>
          </a:custGeom>
          <a:ln w="38099">
            <a:solidFill>
              <a:srgbClr val="6094C9"/>
            </a:solidFill>
            <a:headEnd type="arrow"/>
            <a:tailEnd type="arrow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1" name="object 82"/>
          <p:cNvSpPr/>
          <p:nvPr/>
        </p:nvSpPr>
        <p:spPr>
          <a:xfrm rot="10800000" flipV="1">
            <a:off x="3075728" y="4274476"/>
            <a:ext cx="2430059" cy="1755656"/>
          </a:xfrm>
          <a:custGeom>
            <a:avLst/>
            <a:gdLst/>
            <a:ahLst/>
            <a:cxnLst/>
            <a:rect l="l" t="t" r="r" b="b"/>
            <a:pathLst>
              <a:path w="979964" h="814040">
                <a:moveTo>
                  <a:pt x="979964" y="0"/>
                </a:moveTo>
                <a:lnTo>
                  <a:pt x="0" y="814040"/>
                </a:lnTo>
              </a:path>
            </a:pathLst>
          </a:custGeom>
          <a:ln w="38099">
            <a:solidFill>
              <a:srgbClr val="6094C9"/>
            </a:solidFill>
            <a:headEnd type="arrow"/>
            <a:tailEnd type="arrow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2" name="object 82"/>
          <p:cNvSpPr/>
          <p:nvPr/>
        </p:nvSpPr>
        <p:spPr>
          <a:xfrm rot="16200000" flipV="1">
            <a:off x="3434104" y="2783237"/>
            <a:ext cx="3573857" cy="2572351"/>
          </a:xfrm>
          <a:custGeom>
            <a:avLst/>
            <a:gdLst/>
            <a:ahLst/>
            <a:cxnLst/>
            <a:rect l="l" t="t" r="r" b="b"/>
            <a:pathLst>
              <a:path w="979964" h="814040">
                <a:moveTo>
                  <a:pt x="979964" y="0"/>
                </a:moveTo>
                <a:lnTo>
                  <a:pt x="0" y="814040"/>
                </a:lnTo>
              </a:path>
            </a:pathLst>
          </a:custGeom>
          <a:ln w="38099">
            <a:solidFill>
              <a:srgbClr val="6094C9"/>
            </a:solidFill>
            <a:headEnd type="arrow"/>
            <a:tailEnd type="arrow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6" name="object 13"/>
          <p:cNvSpPr txBox="1"/>
          <p:nvPr/>
        </p:nvSpPr>
        <p:spPr>
          <a:xfrm>
            <a:off x="604886" y="999752"/>
            <a:ext cx="8234313" cy="861774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>
              <a:lnSpc>
                <a:spcPts val="3400"/>
              </a:lnSpc>
              <a:spcBef>
                <a:spcPts val="170"/>
              </a:spcBef>
            </a:pPr>
            <a:r>
              <a:rPr lang="en-US" sz="4200" spc="0" baseline="1706" dirty="0" smtClean="0">
                <a:solidFill>
                  <a:srgbClr val="7F7E7E"/>
                </a:solidFill>
                <a:latin typeface="+mj-lt"/>
                <a:cs typeface="Calibri"/>
              </a:rPr>
              <a:t>Distance between two clusters is the </a:t>
            </a:r>
            <a:r>
              <a:rPr lang="en-US" sz="4200" baseline="1706" dirty="0">
                <a:solidFill>
                  <a:srgbClr val="7F7E7E"/>
                </a:solidFill>
                <a:cs typeface="Calibri"/>
              </a:rPr>
              <a:t>maximum </a:t>
            </a:r>
            <a:r>
              <a:rPr lang="en-US" sz="4200" spc="0" baseline="1706" dirty="0" smtClean="0">
                <a:solidFill>
                  <a:srgbClr val="7F7E7E"/>
                </a:solidFill>
                <a:latin typeface="+mj-lt"/>
                <a:cs typeface="Calibri"/>
              </a:rPr>
              <a:t>pairwise distance</a:t>
            </a:r>
            <a:endParaRPr sz="4200" dirty="0">
              <a:solidFill>
                <a:srgbClr val="7F7E7E"/>
              </a:solidFill>
              <a:latin typeface="+mj-lt"/>
              <a:cs typeface="Calibri"/>
            </a:endParaRPr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8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" name="object 3"/>
          <p:cNvSpPr txBox="1"/>
          <p:nvPr/>
        </p:nvSpPr>
        <p:spPr>
          <a:xfrm>
            <a:off x="604887" y="533891"/>
            <a:ext cx="8234312" cy="3810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3000"/>
              </a:lnSpc>
              <a:spcBef>
                <a:spcPts val="150"/>
              </a:spcBef>
            </a:pPr>
            <a:r>
              <a:rPr lang="en-US" sz="4200" baseline="1950" dirty="0" smtClean="0">
                <a:solidFill>
                  <a:srgbClr val="4E81BC"/>
                </a:solidFill>
                <a:latin typeface="+mj-lt"/>
                <a:cs typeface="Calibri"/>
              </a:rPr>
              <a:t>linkage </a:t>
            </a:r>
            <a:r>
              <a:rPr lang="en-US" sz="4200" baseline="1950" dirty="0">
                <a:solidFill>
                  <a:srgbClr val="4E81BC"/>
                </a:solidFill>
                <a:latin typeface="+mj-lt"/>
                <a:cs typeface="Calibri"/>
              </a:rPr>
              <a:t>= </a:t>
            </a:r>
            <a:r>
              <a:rPr lang="en-US" sz="4200" baseline="1950" dirty="0" smtClean="0">
                <a:solidFill>
                  <a:srgbClr val="4E81BC"/>
                </a:solidFill>
                <a:latin typeface="+mj-lt"/>
                <a:cs typeface="Calibri"/>
              </a:rPr>
              <a:t>“complete”</a:t>
            </a:r>
            <a:endParaRPr sz="2800" dirty="0">
              <a:latin typeface="+mj-lt"/>
              <a:cs typeface="Calibri"/>
            </a:endParaRPr>
          </a:p>
        </p:txBody>
      </p:sp>
      <p:sp>
        <p:nvSpPr>
          <p:cNvPr id="105" name="object 2"/>
          <p:cNvSpPr txBox="1"/>
          <p:nvPr/>
        </p:nvSpPr>
        <p:spPr>
          <a:xfrm>
            <a:off x="1673165" y="2308963"/>
            <a:ext cx="6303362" cy="405467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106" name="object 2"/>
          <p:cNvSpPr txBox="1"/>
          <p:nvPr/>
        </p:nvSpPr>
        <p:spPr>
          <a:xfrm>
            <a:off x="1673165" y="2308963"/>
            <a:ext cx="6303362" cy="405467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107" name="object 82"/>
          <p:cNvSpPr/>
          <p:nvPr/>
        </p:nvSpPr>
        <p:spPr>
          <a:xfrm>
            <a:off x="3691847" y="5875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8" name="object 84"/>
          <p:cNvSpPr/>
          <p:nvPr/>
        </p:nvSpPr>
        <p:spPr>
          <a:xfrm>
            <a:off x="4677222" y="590921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9" name="object 86"/>
          <p:cNvSpPr/>
          <p:nvPr/>
        </p:nvSpPr>
        <p:spPr>
          <a:xfrm>
            <a:off x="5529026" y="589026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0" name="object 74"/>
          <p:cNvSpPr/>
          <p:nvPr/>
        </p:nvSpPr>
        <p:spPr>
          <a:xfrm>
            <a:off x="1945944" y="558313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1" name="object 72"/>
          <p:cNvSpPr/>
          <p:nvPr/>
        </p:nvSpPr>
        <p:spPr>
          <a:xfrm>
            <a:off x="5236841" y="2905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40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80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2" name="object 70"/>
          <p:cNvSpPr/>
          <p:nvPr/>
        </p:nvSpPr>
        <p:spPr>
          <a:xfrm>
            <a:off x="4837588" y="252356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3" name="object 68"/>
          <p:cNvSpPr/>
          <p:nvPr/>
        </p:nvSpPr>
        <p:spPr>
          <a:xfrm>
            <a:off x="4425503" y="211104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4" name="object 66"/>
          <p:cNvSpPr/>
          <p:nvPr/>
        </p:nvSpPr>
        <p:spPr>
          <a:xfrm>
            <a:off x="6149478" y="380010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094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5" name="object 63"/>
          <p:cNvSpPr/>
          <p:nvPr/>
        </p:nvSpPr>
        <p:spPr>
          <a:xfrm>
            <a:off x="5158317" y="54094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6"/>
                </a:lnTo>
                <a:lnTo>
                  <a:pt x="1583" y="198179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6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2"/>
                </a:lnTo>
                <a:lnTo>
                  <a:pt x="49876" y="299561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6"/>
                </a:lnTo>
                <a:lnTo>
                  <a:pt x="196530" y="342926"/>
                </a:lnTo>
                <a:lnTo>
                  <a:pt x="209650" y="339004"/>
                </a:lnTo>
                <a:lnTo>
                  <a:pt x="222295" y="333936"/>
                </a:lnTo>
                <a:lnTo>
                  <a:pt x="234413" y="327778"/>
                </a:lnTo>
                <a:lnTo>
                  <a:pt x="245953" y="320583"/>
                </a:lnTo>
                <a:lnTo>
                  <a:pt x="256864" y="312409"/>
                </a:lnTo>
                <a:lnTo>
                  <a:pt x="267095" y="303311"/>
                </a:lnTo>
                <a:lnTo>
                  <a:pt x="276595" y="293343"/>
                </a:lnTo>
                <a:lnTo>
                  <a:pt x="285312" y="282562"/>
                </a:lnTo>
                <a:lnTo>
                  <a:pt x="293195" y="271023"/>
                </a:lnTo>
                <a:lnTo>
                  <a:pt x="300193" y="258781"/>
                </a:lnTo>
                <a:lnTo>
                  <a:pt x="306255" y="245892"/>
                </a:lnTo>
                <a:lnTo>
                  <a:pt x="311330" y="232411"/>
                </a:lnTo>
                <a:lnTo>
                  <a:pt x="315366" y="218394"/>
                </a:lnTo>
                <a:lnTo>
                  <a:pt x="318312" y="203896"/>
                </a:lnTo>
                <a:lnTo>
                  <a:pt x="320117" y="188973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9" y="93485"/>
                </a:lnTo>
                <a:lnTo>
                  <a:pt x="296006" y="80986"/>
                </a:lnTo>
                <a:lnTo>
                  <a:pt x="288459" y="69169"/>
                </a:lnTo>
                <a:lnTo>
                  <a:pt x="280058" y="58089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4"/>
                </a:lnTo>
                <a:lnTo>
                  <a:pt x="86318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6" name="object 62"/>
          <p:cNvSpPr/>
          <p:nvPr/>
        </p:nvSpPr>
        <p:spPr>
          <a:xfrm>
            <a:off x="3604437" y="388180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7" name="object 60"/>
          <p:cNvSpPr/>
          <p:nvPr/>
        </p:nvSpPr>
        <p:spPr>
          <a:xfrm>
            <a:off x="2728738" y="495895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8" name="object 58"/>
          <p:cNvSpPr/>
          <p:nvPr/>
        </p:nvSpPr>
        <p:spPr>
          <a:xfrm>
            <a:off x="6790937" y="243336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9" name="object 56"/>
          <p:cNvSpPr/>
          <p:nvPr/>
        </p:nvSpPr>
        <p:spPr>
          <a:xfrm>
            <a:off x="5830796" y="23498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0" name="object 54"/>
          <p:cNvSpPr/>
          <p:nvPr/>
        </p:nvSpPr>
        <p:spPr>
          <a:xfrm>
            <a:off x="6630572" y="314183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1" name="object 52"/>
          <p:cNvSpPr/>
          <p:nvPr/>
        </p:nvSpPr>
        <p:spPr>
          <a:xfrm>
            <a:off x="3973599" y="450879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2" name="object 50"/>
          <p:cNvSpPr/>
          <p:nvPr/>
        </p:nvSpPr>
        <p:spPr>
          <a:xfrm>
            <a:off x="3718772" y="50002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3" name="object 48"/>
          <p:cNvSpPr/>
          <p:nvPr/>
        </p:nvSpPr>
        <p:spPr>
          <a:xfrm>
            <a:off x="2408007" y="44379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4" name="object 42"/>
          <p:cNvSpPr/>
          <p:nvPr/>
        </p:nvSpPr>
        <p:spPr>
          <a:xfrm>
            <a:off x="5025578" y="369976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5" name="object 44"/>
          <p:cNvSpPr/>
          <p:nvPr/>
        </p:nvSpPr>
        <p:spPr>
          <a:xfrm>
            <a:off x="4837588" y="296815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6" name="object 46"/>
          <p:cNvSpPr/>
          <p:nvPr/>
        </p:nvSpPr>
        <p:spPr>
          <a:xfrm>
            <a:off x="4698983" y="33524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7" name="object 40"/>
          <p:cNvSpPr/>
          <p:nvPr/>
        </p:nvSpPr>
        <p:spPr>
          <a:xfrm>
            <a:off x="4490595" y="5309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8" name="object 38"/>
          <p:cNvSpPr/>
          <p:nvPr/>
        </p:nvSpPr>
        <p:spPr>
          <a:xfrm>
            <a:off x="6309840" y="26070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9" name="object 36"/>
          <p:cNvSpPr/>
          <p:nvPr/>
        </p:nvSpPr>
        <p:spPr>
          <a:xfrm>
            <a:off x="6662640" y="379011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6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7"/>
                </a:lnTo>
                <a:lnTo>
                  <a:pt x="310251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094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0" name="object 34"/>
          <p:cNvSpPr/>
          <p:nvPr/>
        </p:nvSpPr>
        <p:spPr>
          <a:xfrm>
            <a:off x="4315829" y="28709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1" name="object 32"/>
          <p:cNvSpPr/>
          <p:nvPr/>
        </p:nvSpPr>
        <p:spPr>
          <a:xfrm>
            <a:off x="6470207" y="198120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2" name="object 30"/>
          <p:cNvSpPr/>
          <p:nvPr/>
        </p:nvSpPr>
        <p:spPr>
          <a:xfrm>
            <a:off x="5479047" y="355789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3" name="object 28"/>
          <p:cNvSpPr/>
          <p:nvPr/>
        </p:nvSpPr>
        <p:spPr>
          <a:xfrm>
            <a:off x="4155464" y="571658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4" name="object 26"/>
          <p:cNvSpPr/>
          <p:nvPr/>
        </p:nvSpPr>
        <p:spPr>
          <a:xfrm>
            <a:off x="4859348" y="49095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5" name="object 24"/>
          <p:cNvSpPr/>
          <p:nvPr/>
        </p:nvSpPr>
        <p:spPr>
          <a:xfrm>
            <a:off x="2806145" y="390525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6" name="object 22"/>
          <p:cNvSpPr/>
          <p:nvPr/>
        </p:nvSpPr>
        <p:spPr>
          <a:xfrm>
            <a:off x="2530320" y="55944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7" name="object 20"/>
          <p:cNvSpPr/>
          <p:nvPr/>
        </p:nvSpPr>
        <p:spPr>
          <a:xfrm>
            <a:off x="3126876" y="443922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8" name="object 18"/>
          <p:cNvSpPr/>
          <p:nvPr/>
        </p:nvSpPr>
        <p:spPr>
          <a:xfrm>
            <a:off x="5991162" y="307897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9" name="object 6"/>
          <p:cNvSpPr txBox="1"/>
          <p:nvPr/>
        </p:nvSpPr>
        <p:spPr>
          <a:xfrm>
            <a:off x="609600" y="4147206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grpSp>
        <p:nvGrpSpPr>
          <p:cNvPr id="140" name="Group 139"/>
          <p:cNvGrpSpPr/>
          <p:nvPr/>
        </p:nvGrpSpPr>
        <p:grpSpPr>
          <a:xfrm>
            <a:off x="1660913" y="2276856"/>
            <a:ext cx="6303362" cy="4054670"/>
            <a:chOff x="2343901" y="1923700"/>
            <a:chExt cx="6303362" cy="4054670"/>
          </a:xfrm>
        </p:grpSpPr>
        <p:sp>
          <p:nvSpPr>
            <p:cNvPr id="141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142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  <p:sp>
        <p:nvSpPr>
          <p:cNvPr id="143" name="object 82"/>
          <p:cNvSpPr/>
          <p:nvPr/>
        </p:nvSpPr>
        <p:spPr>
          <a:xfrm flipV="1">
            <a:off x="4772975" y="2349886"/>
            <a:ext cx="1932625" cy="1450220"/>
          </a:xfrm>
          <a:custGeom>
            <a:avLst/>
            <a:gdLst/>
            <a:ahLst/>
            <a:cxnLst/>
            <a:rect l="l" t="t" r="r" b="b"/>
            <a:pathLst>
              <a:path w="979964" h="814040">
                <a:moveTo>
                  <a:pt x="979964" y="0"/>
                </a:moveTo>
                <a:lnTo>
                  <a:pt x="0" y="814040"/>
                </a:lnTo>
              </a:path>
            </a:pathLst>
          </a:custGeom>
          <a:ln w="38099">
            <a:solidFill>
              <a:srgbClr val="6094C9"/>
            </a:solidFill>
            <a:headEnd type="arrow"/>
            <a:tailEnd type="arrow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4" name="object 82"/>
          <p:cNvSpPr/>
          <p:nvPr/>
        </p:nvSpPr>
        <p:spPr>
          <a:xfrm rot="16200000" flipV="1">
            <a:off x="1732271" y="2853295"/>
            <a:ext cx="3225812" cy="2233866"/>
          </a:xfrm>
          <a:custGeom>
            <a:avLst/>
            <a:gdLst/>
            <a:ahLst/>
            <a:cxnLst/>
            <a:rect l="l" t="t" r="r" b="b"/>
            <a:pathLst>
              <a:path w="979964" h="814040">
                <a:moveTo>
                  <a:pt x="979964" y="0"/>
                </a:moveTo>
                <a:lnTo>
                  <a:pt x="0" y="814040"/>
                </a:lnTo>
              </a:path>
            </a:pathLst>
          </a:custGeom>
          <a:ln w="38099">
            <a:solidFill>
              <a:srgbClr val="6094C9"/>
            </a:solidFill>
            <a:headEnd type="arrow"/>
            <a:tailEnd type="arrow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5" name="object 82"/>
          <p:cNvSpPr/>
          <p:nvPr/>
        </p:nvSpPr>
        <p:spPr>
          <a:xfrm rot="10800000" flipV="1">
            <a:off x="3075728" y="4274476"/>
            <a:ext cx="2430059" cy="1755656"/>
          </a:xfrm>
          <a:custGeom>
            <a:avLst/>
            <a:gdLst/>
            <a:ahLst/>
            <a:cxnLst/>
            <a:rect l="l" t="t" r="r" b="b"/>
            <a:pathLst>
              <a:path w="979964" h="814040">
                <a:moveTo>
                  <a:pt x="979964" y="0"/>
                </a:moveTo>
                <a:lnTo>
                  <a:pt x="0" y="814040"/>
                </a:lnTo>
              </a:path>
            </a:pathLst>
          </a:custGeom>
          <a:ln w="38099">
            <a:solidFill>
              <a:srgbClr val="6094C9"/>
            </a:solidFill>
            <a:headEnd type="arrow"/>
            <a:tailEnd type="arrow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6" name="object 82"/>
          <p:cNvSpPr/>
          <p:nvPr/>
        </p:nvSpPr>
        <p:spPr>
          <a:xfrm rot="16200000" flipV="1">
            <a:off x="3434104" y="2783237"/>
            <a:ext cx="3573857" cy="2572351"/>
          </a:xfrm>
          <a:custGeom>
            <a:avLst/>
            <a:gdLst/>
            <a:ahLst/>
            <a:cxnLst/>
            <a:rect l="l" t="t" r="r" b="b"/>
            <a:pathLst>
              <a:path w="979964" h="814040">
                <a:moveTo>
                  <a:pt x="979964" y="0"/>
                </a:moveTo>
                <a:lnTo>
                  <a:pt x="0" y="814040"/>
                </a:lnTo>
              </a:path>
            </a:pathLst>
          </a:custGeom>
          <a:ln w="38099">
            <a:solidFill>
              <a:srgbClr val="6094C9"/>
            </a:solidFill>
            <a:headEnd type="arrow"/>
            <a:tailEnd type="arrow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7" name="object 82"/>
          <p:cNvSpPr/>
          <p:nvPr/>
        </p:nvSpPr>
        <p:spPr>
          <a:xfrm rot="16200000">
            <a:off x="2992116" y="4068267"/>
            <a:ext cx="3429617" cy="169885"/>
          </a:xfrm>
          <a:custGeom>
            <a:avLst/>
            <a:gdLst/>
            <a:ahLst/>
            <a:cxnLst/>
            <a:rect l="l" t="t" r="r" b="b"/>
            <a:pathLst>
              <a:path w="979964" h="814040">
                <a:moveTo>
                  <a:pt x="979964" y="0"/>
                </a:moveTo>
                <a:lnTo>
                  <a:pt x="0" y="814040"/>
                </a:lnTo>
              </a:path>
            </a:pathLst>
          </a:custGeom>
          <a:ln w="38099">
            <a:solidFill>
              <a:srgbClr val="6094C9"/>
            </a:solidFill>
            <a:headEnd type="arrow"/>
            <a:tailEnd type="arrow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7" name="object 13"/>
          <p:cNvSpPr txBox="1"/>
          <p:nvPr/>
        </p:nvSpPr>
        <p:spPr>
          <a:xfrm>
            <a:off x="604886" y="999752"/>
            <a:ext cx="8234313" cy="861774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>
              <a:lnSpc>
                <a:spcPts val="3400"/>
              </a:lnSpc>
              <a:spcBef>
                <a:spcPts val="170"/>
              </a:spcBef>
            </a:pPr>
            <a:r>
              <a:rPr lang="en-US" sz="4200" spc="0" baseline="1706" dirty="0" smtClean="0">
                <a:solidFill>
                  <a:srgbClr val="7F7E7E"/>
                </a:solidFill>
                <a:latin typeface="+mj-lt"/>
                <a:cs typeface="Calibri"/>
              </a:rPr>
              <a:t>Distance between two clusters is the </a:t>
            </a:r>
            <a:r>
              <a:rPr lang="en-US" sz="4200" baseline="1706" dirty="0">
                <a:solidFill>
                  <a:srgbClr val="7F7E7E"/>
                </a:solidFill>
                <a:cs typeface="Calibri"/>
              </a:rPr>
              <a:t>maximum </a:t>
            </a:r>
            <a:r>
              <a:rPr lang="en-US" sz="4200" spc="0" baseline="1706" dirty="0" smtClean="0">
                <a:solidFill>
                  <a:srgbClr val="7F7E7E"/>
                </a:solidFill>
                <a:latin typeface="+mj-lt"/>
                <a:cs typeface="Calibri"/>
              </a:rPr>
              <a:t>pairwise distance</a:t>
            </a:r>
            <a:endParaRPr sz="4200" dirty="0">
              <a:solidFill>
                <a:srgbClr val="7F7E7E"/>
              </a:solidFill>
              <a:latin typeface="+mj-lt"/>
              <a:cs typeface="Calibri"/>
            </a:endParaRPr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8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" name="object 3"/>
          <p:cNvSpPr txBox="1"/>
          <p:nvPr/>
        </p:nvSpPr>
        <p:spPr>
          <a:xfrm>
            <a:off x="604887" y="533891"/>
            <a:ext cx="8234312" cy="3810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3000"/>
              </a:lnSpc>
              <a:spcBef>
                <a:spcPts val="150"/>
              </a:spcBef>
            </a:pPr>
            <a:r>
              <a:rPr lang="en-US" sz="4200" baseline="1950" dirty="0" smtClean="0">
                <a:solidFill>
                  <a:srgbClr val="4E81BC"/>
                </a:solidFill>
                <a:latin typeface="+mj-lt"/>
                <a:cs typeface="Calibri"/>
              </a:rPr>
              <a:t>linkage </a:t>
            </a:r>
            <a:r>
              <a:rPr lang="en-US" sz="4200" baseline="1950" dirty="0">
                <a:solidFill>
                  <a:srgbClr val="4E81BC"/>
                </a:solidFill>
                <a:latin typeface="+mj-lt"/>
                <a:cs typeface="Calibri"/>
              </a:rPr>
              <a:t>= </a:t>
            </a:r>
            <a:r>
              <a:rPr lang="en-US" sz="4200" baseline="1950" dirty="0" smtClean="0">
                <a:solidFill>
                  <a:srgbClr val="4E81BC"/>
                </a:solidFill>
                <a:latin typeface="+mj-lt"/>
                <a:cs typeface="Calibri"/>
              </a:rPr>
              <a:t>“complete”</a:t>
            </a:r>
            <a:endParaRPr sz="2800" dirty="0">
              <a:latin typeface="+mj-lt"/>
              <a:cs typeface="Calibri"/>
            </a:endParaRPr>
          </a:p>
        </p:txBody>
      </p:sp>
      <p:sp>
        <p:nvSpPr>
          <p:cNvPr id="106" name="object 13"/>
          <p:cNvSpPr txBox="1"/>
          <p:nvPr/>
        </p:nvSpPr>
        <p:spPr>
          <a:xfrm>
            <a:off x="604886" y="999752"/>
            <a:ext cx="8234313" cy="428322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>
              <a:lnSpc>
                <a:spcPts val="3000"/>
              </a:lnSpc>
              <a:spcBef>
                <a:spcPts val="150"/>
              </a:spcBef>
            </a:pPr>
            <a:r>
              <a:rPr lang="en-US" sz="4200" baseline="1950" dirty="0">
                <a:solidFill>
                  <a:srgbClr val="F69545"/>
                </a:solidFill>
                <a:latin typeface="+mj-lt"/>
                <a:cs typeface="Calibri"/>
              </a:rPr>
              <a:t>Fast</a:t>
            </a:r>
            <a:r>
              <a:rPr lang="en-US" sz="4200" baseline="1950" dirty="0" smtClean="0">
                <a:solidFill>
                  <a:srgbClr val="F69545"/>
                </a:solidFill>
                <a:latin typeface="+mj-lt"/>
                <a:cs typeface="Calibri"/>
              </a:rPr>
              <a:t>. No chains. Sensitive</a:t>
            </a:r>
            <a:r>
              <a:rPr lang="en-US" sz="4200" dirty="0">
                <a:solidFill>
                  <a:srgbClr val="F69545"/>
                </a:solidFill>
                <a:latin typeface="+mj-lt"/>
                <a:cs typeface="Calibri"/>
              </a:rPr>
              <a:t> </a:t>
            </a:r>
            <a:r>
              <a:rPr lang="en-US" sz="4200" baseline="1950" dirty="0" smtClean="0">
                <a:solidFill>
                  <a:srgbClr val="F69545"/>
                </a:solidFill>
                <a:latin typeface="+mj-lt"/>
                <a:cs typeface="Calibri"/>
              </a:rPr>
              <a:t>to outliers</a:t>
            </a:r>
            <a:r>
              <a:rPr lang="en-US" sz="4200" baseline="1950" dirty="0">
                <a:solidFill>
                  <a:srgbClr val="F69545"/>
                </a:solidFill>
                <a:latin typeface="+mj-lt"/>
                <a:cs typeface="Calibri"/>
              </a:rPr>
              <a:t>.</a:t>
            </a:r>
            <a:endParaRPr lang="en-US" sz="2800" dirty="0">
              <a:latin typeface="+mj-lt"/>
              <a:cs typeface="Calibri"/>
            </a:endParaRPr>
          </a:p>
        </p:txBody>
      </p:sp>
      <p:sp>
        <p:nvSpPr>
          <p:cNvPr id="107" name="object 2"/>
          <p:cNvSpPr txBox="1"/>
          <p:nvPr/>
        </p:nvSpPr>
        <p:spPr>
          <a:xfrm>
            <a:off x="1673165" y="2308963"/>
            <a:ext cx="6303362" cy="405467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108" name="object 2"/>
          <p:cNvSpPr txBox="1"/>
          <p:nvPr/>
        </p:nvSpPr>
        <p:spPr>
          <a:xfrm>
            <a:off x="1673165" y="2308963"/>
            <a:ext cx="6303362" cy="405467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109" name="object 82"/>
          <p:cNvSpPr/>
          <p:nvPr/>
        </p:nvSpPr>
        <p:spPr>
          <a:xfrm>
            <a:off x="3691847" y="5875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0" name="object 84"/>
          <p:cNvSpPr/>
          <p:nvPr/>
        </p:nvSpPr>
        <p:spPr>
          <a:xfrm>
            <a:off x="4677222" y="590921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1" name="object 86"/>
          <p:cNvSpPr/>
          <p:nvPr/>
        </p:nvSpPr>
        <p:spPr>
          <a:xfrm>
            <a:off x="5529026" y="589026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2" name="object 74"/>
          <p:cNvSpPr/>
          <p:nvPr/>
        </p:nvSpPr>
        <p:spPr>
          <a:xfrm>
            <a:off x="1945944" y="558313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3" name="object 72"/>
          <p:cNvSpPr/>
          <p:nvPr/>
        </p:nvSpPr>
        <p:spPr>
          <a:xfrm>
            <a:off x="5236841" y="2905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40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80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4" name="object 70"/>
          <p:cNvSpPr/>
          <p:nvPr/>
        </p:nvSpPr>
        <p:spPr>
          <a:xfrm>
            <a:off x="4837588" y="252356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5" name="object 68"/>
          <p:cNvSpPr/>
          <p:nvPr/>
        </p:nvSpPr>
        <p:spPr>
          <a:xfrm>
            <a:off x="4425503" y="211104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6" name="object 66"/>
          <p:cNvSpPr/>
          <p:nvPr/>
        </p:nvSpPr>
        <p:spPr>
          <a:xfrm>
            <a:off x="6149478" y="380010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094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7" name="object 63"/>
          <p:cNvSpPr/>
          <p:nvPr/>
        </p:nvSpPr>
        <p:spPr>
          <a:xfrm>
            <a:off x="5158317" y="54094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6"/>
                </a:lnTo>
                <a:lnTo>
                  <a:pt x="1583" y="198179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6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2"/>
                </a:lnTo>
                <a:lnTo>
                  <a:pt x="49876" y="299561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6"/>
                </a:lnTo>
                <a:lnTo>
                  <a:pt x="196530" y="342926"/>
                </a:lnTo>
                <a:lnTo>
                  <a:pt x="209650" y="339004"/>
                </a:lnTo>
                <a:lnTo>
                  <a:pt x="222295" y="333936"/>
                </a:lnTo>
                <a:lnTo>
                  <a:pt x="234413" y="327778"/>
                </a:lnTo>
                <a:lnTo>
                  <a:pt x="245953" y="320583"/>
                </a:lnTo>
                <a:lnTo>
                  <a:pt x="256864" y="312409"/>
                </a:lnTo>
                <a:lnTo>
                  <a:pt x="267095" y="303311"/>
                </a:lnTo>
                <a:lnTo>
                  <a:pt x="276595" y="293343"/>
                </a:lnTo>
                <a:lnTo>
                  <a:pt x="285312" y="282562"/>
                </a:lnTo>
                <a:lnTo>
                  <a:pt x="293195" y="271023"/>
                </a:lnTo>
                <a:lnTo>
                  <a:pt x="300193" y="258781"/>
                </a:lnTo>
                <a:lnTo>
                  <a:pt x="306255" y="245892"/>
                </a:lnTo>
                <a:lnTo>
                  <a:pt x="311330" y="232411"/>
                </a:lnTo>
                <a:lnTo>
                  <a:pt x="315366" y="218394"/>
                </a:lnTo>
                <a:lnTo>
                  <a:pt x="318312" y="203896"/>
                </a:lnTo>
                <a:lnTo>
                  <a:pt x="320117" y="188973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9" y="93485"/>
                </a:lnTo>
                <a:lnTo>
                  <a:pt x="296006" y="80986"/>
                </a:lnTo>
                <a:lnTo>
                  <a:pt x="288459" y="69169"/>
                </a:lnTo>
                <a:lnTo>
                  <a:pt x="280058" y="58089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4"/>
                </a:lnTo>
                <a:lnTo>
                  <a:pt x="86318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8" name="object 62"/>
          <p:cNvSpPr/>
          <p:nvPr/>
        </p:nvSpPr>
        <p:spPr>
          <a:xfrm>
            <a:off x="3604437" y="388180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9" name="object 60"/>
          <p:cNvSpPr/>
          <p:nvPr/>
        </p:nvSpPr>
        <p:spPr>
          <a:xfrm>
            <a:off x="2728738" y="495895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0" name="object 58"/>
          <p:cNvSpPr/>
          <p:nvPr/>
        </p:nvSpPr>
        <p:spPr>
          <a:xfrm>
            <a:off x="6790937" y="243336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1" name="object 56"/>
          <p:cNvSpPr/>
          <p:nvPr/>
        </p:nvSpPr>
        <p:spPr>
          <a:xfrm>
            <a:off x="5830796" y="23498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2" name="object 54"/>
          <p:cNvSpPr/>
          <p:nvPr/>
        </p:nvSpPr>
        <p:spPr>
          <a:xfrm>
            <a:off x="6630572" y="314183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3" name="object 52"/>
          <p:cNvSpPr/>
          <p:nvPr/>
        </p:nvSpPr>
        <p:spPr>
          <a:xfrm>
            <a:off x="3973599" y="450879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4" name="object 50"/>
          <p:cNvSpPr/>
          <p:nvPr/>
        </p:nvSpPr>
        <p:spPr>
          <a:xfrm>
            <a:off x="3718772" y="50002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5" name="object 48"/>
          <p:cNvSpPr/>
          <p:nvPr/>
        </p:nvSpPr>
        <p:spPr>
          <a:xfrm>
            <a:off x="2408007" y="44379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6" name="object 42"/>
          <p:cNvSpPr/>
          <p:nvPr/>
        </p:nvSpPr>
        <p:spPr>
          <a:xfrm>
            <a:off x="5025578" y="369976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7" name="object 44"/>
          <p:cNvSpPr/>
          <p:nvPr/>
        </p:nvSpPr>
        <p:spPr>
          <a:xfrm>
            <a:off x="4837588" y="296815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8" name="object 46"/>
          <p:cNvSpPr/>
          <p:nvPr/>
        </p:nvSpPr>
        <p:spPr>
          <a:xfrm>
            <a:off x="4698983" y="33524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9" name="object 40"/>
          <p:cNvSpPr/>
          <p:nvPr/>
        </p:nvSpPr>
        <p:spPr>
          <a:xfrm>
            <a:off x="4490595" y="5309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0" name="object 38"/>
          <p:cNvSpPr/>
          <p:nvPr/>
        </p:nvSpPr>
        <p:spPr>
          <a:xfrm>
            <a:off x="6309840" y="26070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1" name="object 36"/>
          <p:cNvSpPr/>
          <p:nvPr/>
        </p:nvSpPr>
        <p:spPr>
          <a:xfrm>
            <a:off x="6662640" y="379011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6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7"/>
                </a:lnTo>
                <a:lnTo>
                  <a:pt x="310251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094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2" name="object 34"/>
          <p:cNvSpPr/>
          <p:nvPr/>
        </p:nvSpPr>
        <p:spPr>
          <a:xfrm>
            <a:off x="4315829" y="28709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3" name="object 32"/>
          <p:cNvSpPr/>
          <p:nvPr/>
        </p:nvSpPr>
        <p:spPr>
          <a:xfrm>
            <a:off x="6470207" y="198120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4" name="object 30"/>
          <p:cNvSpPr/>
          <p:nvPr/>
        </p:nvSpPr>
        <p:spPr>
          <a:xfrm>
            <a:off x="5479047" y="355789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5" name="object 28"/>
          <p:cNvSpPr/>
          <p:nvPr/>
        </p:nvSpPr>
        <p:spPr>
          <a:xfrm>
            <a:off x="4155464" y="571658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6" name="object 26"/>
          <p:cNvSpPr/>
          <p:nvPr/>
        </p:nvSpPr>
        <p:spPr>
          <a:xfrm>
            <a:off x="4859348" y="49095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7" name="object 24"/>
          <p:cNvSpPr/>
          <p:nvPr/>
        </p:nvSpPr>
        <p:spPr>
          <a:xfrm>
            <a:off x="2806145" y="390525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8" name="object 22"/>
          <p:cNvSpPr/>
          <p:nvPr/>
        </p:nvSpPr>
        <p:spPr>
          <a:xfrm>
            <a:off x="2530320" y="55944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9" name="object 20"/>
          <p:cNvSpPr/>
          <p:nvPr/>
        </p:nvSpPr>
        <p:spPr>
          <a:xfrm>
            <a:off x="3126876" y="443922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0" name="object 18"/>
          <p:cNvSpPr/>
          <p:nvPr/>
        </p:nvSpPr>
        <p:spPr>
          <a:xfrm>
            <a:off x="5991162" y="307897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1" name="object 6"/>
          <p:cNvSpPr txBox="1"/>
          <p:nvPr/>
        </p:nvSpPr>
        <p:spPr>
          <a:xfrm>
            <a:off x="609600" y="4147206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grpSp>
        <p:nvGrpSpPr>
          <p:cNvPr id="142" name="Group 141"/>
          <p:cNvGrpSpPr/>
          <p:nvPr/>
        </p:nvGrpSpPr>
        <p:grpSpPr>
          <a:xfrm>
            <a:off x="1660913" y="2276856"/>
            <a:ext cx="6303362" cy="4054670"/>
            <a:chOff x="2343901" y="1923700"/>
            <a:chExt cx="6303362" cy="4054670"/>
          </a:xfrm>
        </p:grpSpPr>
        <p:sp>
          <p:nvSpPr>
            <p:cNvPr id="143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144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  <p:sp>
        <p:nvSpPr>
          <p:cNvPr id="145" name="object 82"/>
          <p:cNvSpPr/>
          <p:nvPr/>
        </p:nvSpPr>
        <p:spPr>
          <a:xfrm flipV="1">
            <a:off x="4772975" y="2349886"/>
            <a:ext cx="1932625" cy="1450220"/>
          </a:xfrm>
          <a:custGeom>
            <a:avLst/>
            <a:gdLst/>
            <a:ahLst/>
            <a:cxnLst/>
            <a:rect l="l" t="t" r="r" b="b"/>
            <a:pathLst>
              <a:path w="979964" h="814040">
                <a:moveTo>
                  <a:pt x="979964" y="0"/>
                </a:moveTo>
                <a:lnTo>
                  <a:pt x="0" y="814040"/>
                </a:lnTo>
              </a:path>
            </a:pathLst>
          </a:custGeom>
          <a:ln w="38099">
            <a:solidFill>
              <a:srgbClr val="6094C9"/>
            </a:solidFill>
            <a:headEnd type="arrow"/>
            <a:tailEnd type="arrow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6" name="object 82"/>
          <p:cNvSpPr/>
          <p:nvPr/>
        </p:nvSpPr>
        <p:spPr>
          <a:xfrm rot="16200000" flipV="1">
            <a:off x="1732271" y="2853295"/>
            <a:ext cx="3225812" cy="2233866"/>
          </a:xfrm>
          <a:custGeom>
            <a:avLst/>
            <a:gdLst/>
            <a:ahLst/>
            <a:cxnLst/>
            <a:rect l="l" t="t" r="r" b="b"/>
            <a:pathLst>
              <a:path w="979964" h="814040">
                <a:moveTo>
                  <a:pt x="979964" y="0"/>
                </a:moveTo>
                <a:lnTo>
                  <a:pt x="0" y="814040"/>
                </a:lnTo>
              </a:path>
            </a:pathLst>
          </a:custGeom>
          <a:ln w="38099">
            <a:solidFill>
              <a:srgbClr val="6094C9"/>
            </a:solidFill>
            <a:headEnd type="arrow"/>
            <a:tailEnd type="arrow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7" name="object 82"/>
          <p:cNvSpPr/>
          <p:nvPr/>
        </p:nvSpPr>
        <p:spPr>
          <a:xfrm rot="10800000" flipV="1">
            <a:off x="3075728" y="4274476"/>
            <a:ext cx="2430059" cy="1755656"/>
          </a:xfrm>
          <a:custGeom>
            <a:avLst/>
            <a:gdLst/>
            <a:ahLst/>
            <a:cxnLst/>
            <a:rect l="l" t="t" r="r" b="b"/>
            <a:pathLst>
              <a:path w="979964" h="814040">
                <a:moveTo>
                  <a:pt x="979964" y="0"/>
                </a:moveTo>
                <a:lnTo>
                  <a:pt x="0" y="814040"/>
                </a:lnTo>
              </a:path>
            </a:pathLst>
          </a:custGeom>
          <a:ln w="38099">
            <a:solidFill>
              <a:srgbClr val="6094C9"/>
            </a:solidFill>
            <a:headEnd type="arrow"/>
            <a:tailEnd type="arrow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8" name="object 82"/>
          <p:cNvSpPr/>
          <p:nvPr/>
        </p:nvSpPr>
        <p:spPr>
          <a:xfrm rot="16200000" flipV="1">
            <a:off x="3434104" y="2783237"/>
            <a:ext cx="3573857" cy="2572351"/>
          </a:xfrm>
          <a:custGeom>
            <a:avLst/>
            <a:gdLst/>
            <a:ahLst/>
            <a:cxnLst/>
            <a:rect l="l" t="t" r="r" b="b"/>
            <a:pathLst>
              <a:path w="979964" h="814040">
                <a:moveTo>
                  <a:pt x="979964" y="0"/>
                </a:moveTo>
                <a:lnTo>
                  <a:pt x="0" y="814040"/>
                </a:lnTo>
              </a:path>
            </a:pathLst>
          </a:custGeom>
          <a:ln w="38099">
            <a:solidFill>
              <a:srgbClr val="6094C9"/>
            </a:solidFill>
            <a:headEnd type="arrow"/>
            <a:tailEnd type="arrow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9" name="object 82"/>
          <p:cNvSpPr/>
          <p:nvPr/>
        </p:nvSpPr>
        <p:spPr>
          <a:xfrm rot="16200000">
            <a:off x="2992116" y="4068267"/>
            <a:ext cx="3429617" cy="169885"/>
          </a:xfrm>
          <a:custGeom>
            <a:avLst/>
            <a:gdLst/>
            <a:ahLst/>
            <a:cxnLst/>
            <a:rect l="l" t="t" r="r" b="b"/>
            <a:pathLst>
              <a:path w="979964" h="814040">
                <a:moveTo>
                  <a:pt x="979964" y="0"/>
                </a:moveTo>
                <a:lnTo>
                  <a:pt x="0" y="814040"/>
                </a:lnTo>
              </a:path>
            </a:pathLst>
          </a:custGeom>
          <a:ln w="38099">
            <a:solidFill>
              <a:srgbClr val="6094C9"/>
            </a:solidFill>
            <a:headEnd type="arrow"/>
            <a:tailEnd type="arrow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50" name="object 82"/>
          <p:cNvSpPr/>
          <p:nvPr/>
        </p:nvSpPr>
        <p:spPr>
          <a:xfrm rot="16200000" flipV="1">
            <a:off x="2745622" y="1821168"/>
            <a:ext cx="3244205" cy="4278965"/>
          </a:xfrm>
          <a:custGeom>
            <a:avLst/>
            <a:gdLst/>
            <a:ahLst/>
            <a:cxnLst/>
            <a:rect l="l" t="t" r="r" b="b"/>
            <a:pathLst>
              <a:path w="979964" h="814040">
                <a:moveTo>
                  <a:pt x="979964" y="0"/>
                </a:moveTo>
                <a:lnTo>
                  <a:pt x="0" y="814040"/>
                </a:lnTo>
              </a:path>
            </a:pathLst>
          </a:custGeom>
          <a:ln w="38099">
            <a:solidFill>
              <a:srgbClr val="6094C9"/>
            </a:solidFill>
            <a:headEnd type="arrow"/>
            <a:tailEnd type="arrow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8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3" name="object 3"/>
          <p:cNvSpPr txBox="1"/>
          <p:nvPr/>
        </p:nvSpPr>
        <p:spPr>
          <a:xfrm>
            <a:off x="604887" y="533891"/>
            <a:ext cx="8234312" cy="3810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3000"/>
              </a:lnSpc>
              <a:spcBef>
                <a:spcPts val="150"/>
              </a:spcBef>
            </a:pPr>
            <a:r>
              <a:rPr lang="en-US" sz="4200" baseline="1950" dirty="0" smtClean="0">
                <a:solidFill>
                  <a:srgbClr val="4E81BC"/>
                </a:solidFill>
                <a:latin typeface="+mj-lt"/>
                <a:cs typeface="Calibri"/>
              </a:rPr>
              <a:t>linkage </a:t>
            </a:r>
            <a:r>
              <a:rPr lang="en-US" sz="4200" baseline="1950" dirty="0">
                <a:solidFill>
                  <a:srgbClr val="4E81BC"/>
                </a:solidFill>
                <a:latin typeface="+mj-lt"/>
                <a:cs typeface="Calibri"/>
              </a:rPr>
              <a:t>= </a:t>
            </a:r>
            <a:r>
              <a:rPr lang="en-US" sz="4200" baseline="1950" dirty="0" smtClean="0">
                <a:solidFill>
                  <a:srgbClr val="4E81BC"/>
                </a:solidFill>
                <a:latin typeface="+mj-lt"/>
                <a:cs typeface="Calibri"/>
              </a:rPr>
              <a:t>“average”</a:t>
            </a:r>
            <a:endParaRPr sz="2800" dirty="0">
              <a:latin typeface="+mj-lt"/>
              <a:cs typeface="Calibri"/>
            </a:endParaRPr>
          </a:p>
        </p:txBody>
      </p:sp>
      <p:sp>
        <p:nvSpPr>
          <p:cNvPr id="84" name="object 13"/>
          <p:cNvSpPr txBox="1"/>
          <p:nvPr/>
        </p:nvSpPr>
        <p:spPr>
          <a:xfrm>
            <a:off x="604886" y="999752"/>
            <a:ext cx="8234313" cy="905248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>
              <a:lnSpc>
                <a:spcPts val="3400"/>
              </a:lnSpc>
              <a:spcBef>
                <a:spcPts val="170"/>
              </a:spcBef>
            </a:pPr>
            <a:r>
              <a:rPr lang="en-US" sz="4200" spc="0" baseline="1706" dirty="0" smtClean="0">
                <a:solidFill>
                  <a:srgbClr val="7F7E7E"/>
                </a:solidFill>
                <a:latin typeface="+mj-lt"/>
                <a:cs typeface="Calibri"/>
              </a:rPr>
              <a:t>Distance between two cluster is average of all pairwise distance</a:t>
            </a:r>
            <a:endParaRPr sz="4200" dirty="0">
              <a:solidFill>
                <a:srgbClr val="7F7E7E"/>
              </a:solidFill>
              <a:latin typeface="+mj-lt"/>
              <a:cs typeface="Calibri"/>
            </a:endParaRPr>
          </a:p>
        </p:txBody>
      </p:sp>
      <p:sp>
        <p:nvSpPr>
          <p:cNvPr id="85" name="object 2"/>
          <p:cNvSpPr txBox="1"/>
          <p:nvPr/>
        </p:nvSpPr>
        <p:spPr>
          <a:xfrm>
            <a:off x="1673165" y="2308963"/>
            <a:ext cx="6303362" cy="405467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86" name="object 2"/>
          <p:cNvSpPr txBox="1"/>
          <p:nvPr/>
        </p:nvSpPr>
        <p:spPr>
          <a:xfrm>
            <a:off x="1673165" y="2308963"/>
            <a:ext cx="6303362" cy="405467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87" name="object 82"/>
          <p:cNvSpPr/>
          <p:nvPr/>
        </p:nvSpPr>
        <p:spPr>
          <a:xfrm>
            <a:off x="3691847" y="5875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8" name="object 84"/>
          <p:cNvSpPr/>
          <p:nvPr/>
        </p:nvSpPr>
        <p:spPr>
          <a:xfrm>
            <a:off x="4677222" y="590921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9" name="object 86"/>
          <p:cNvSpPr/>
          <p:nvPr/>
        </p:nvSpPr>
        <p:spPr>
          <a:xfrm>
            <a:off x="5529026" y="589026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0" name="object 74"/>
          <p:cNvSpPr/>
          <p:nvPr/>
        </p:nvSpPr>
        <p:spPr>
          <a:xfrm>
            <a:off x="1945944" y="558313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1" name="object 72"/>
          <p:cNvSpPr/>
          <p:nvPr/>
        </p:nvSpPr>
        <p:spPr>
          <a:xfrm>
            <a:off x="5236841" y="2905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40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80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2" name="object 70"/>
          <p:cNvSpPr/>
          <p:nvPr/>
        </p:nvSpPr>
        <p:spPr>
          <a:xfrm>
            <a:off x="4837588" y="252356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3" name="object 68"/>
          <p:cNvSpPr/>
          <p:nvPr/>
        </p:nvSpPr>
        <p:spPr>
          <a:xfrm>
            <a:off x="4425503" y="211104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4" name="object 66"/>
          <p:cNvSpPr/>
          <p:nvPr/>
        </p:nvSpPr>
        <p:spPr>
          <a:xfrm>
            <a:off x="6149478" y="380010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094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5" name="object 63"/>
          <p:cNvSpPr/>
          <p:nvPr/>
        </p:nvSpPr>
        <p:spPr>
          <a:xfrm>
            <a:off x="5158317" y="54094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6"/>
                </a:lnTo>
                <a:lnTo>
                  <a:pt x="1583" y="198179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6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2"/>
                </a:lnTo>
                <a:lnTo>
                  <a:pt x="49876" y="299561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6"/>
                </a:lnTo>
                <a:lnTo>
                  <a:pt x="196530" y="342926"/>
                </a:lnTo>
                <a:lnTo>
                  <a:pt x="209650" y="339004"/>
                </a:lnTo>
                <a:lnTo>
                  <a:pt x="222295" y="333936"/>
                </a:lnTo>
                <a:lnTo>
                  <a:pt x="234413" y="327778"/>
                </a:lnTo>
                <a:lnTo>
                  <a:pt x="245953" y="320583"/>
                </a:lnTo>
                <a:lnTo>
                  <a:pt x="256864" y="312409"/>
                </a:lnTo>
                <a:lnTo>
                  <a:pt x="267095" y="303311"/>
                </a:lnTo>
                <a:lnTo>
                  <a:pt x="276595" y="293343"/>
                </a:lnTo>
                <a:lnTo>
                  <a:pt x="285312" y="282562"/>
                </a:lnTo>
                <a:lnTo>
                  <a:pt x="293195" y="271023"/>
                </a:lnTo>
                <a:lnTo>
                  <a:pt x="300193" y="258781"/>
                </a:lnTo>
                <a:lnTo>
                  <a:pt x="306255" y="245892"/>
                </a:lnTo>
                <a:lnTo>
                  <a:pt x="311330" y="232411"/>
                </a:lnTo>
                <a:lnTo>
                  <a:pt x="315366" y="218394"/>
                </a:lnTo>
                <a:lnTo>
                  <a:pt x="318312" y="203896"/>
                </a:lnTo>
                <a:lnTo>
                  <a:pt x="320117" y="188973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9" y="93485"/>
                </a:lnTo>
                <a:lnTo>
                  <a:pt x="296006" y="80986"/>
                </a:lnTo>
                <a:lnTo>
                  <a:pt x="288459" y="69169"/>
                </a:lnTo>
                <a:lnTo>
                  <a:pt x="280058" y="58089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4"/>
                </a:lnTo>
                <a:lnTo>
                  <a:pt x="86318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6" name="object 62"/>
          <p:cNvSpPr/>
          <p:nvPr/>
        </p:nvSpPr>
        <p:spPr>
          <a:xfrm>
            <a:off x="3604437" y="388180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7" name="object 60"/>
          <p:cNvSpPr/>
          <p:nvPr/>
        </p:nvSpPr>
        <p:spPr>
          <a:xfrm>
            <a:off x="2728738" y="495895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8" name="object 58"/>
          <p:cNvSpPr/>
          <p:nvPr/>
        </p:nvSpPr>
        <p:spPr>
          <a:xfrm>
            <a:off x="6790937" y="243336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9" name="object 56"/>
          <p:cNvSpPr/>
          <p:nvPr/>
        </p:nvSpPr>
        <p:spPr>
          <a:xfrm>
            <a:off x="5830796" y="23498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0" name="object 54"/>
          <p:cNvSpPr/>
          <p:nvPr/>
        </p:nvSpPr>
        <p:spPr>
          <a:xfrm>
            <a:off x="6630572" y="314183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1" name="object 52"/>
          <p:cNvSpPr/>
          <p:nvPr/>
        </p:nvSpPr>
        <p:spPr>
          <a:xfrm>
            <a:off x="3973599" y="450879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2" name="object 50"/>
          <p:cNvSpPr/>
          <p:nvPr/>
        </p:nvSpPr>
        <p:spPr>
          <a:xfrm>
            <a:off x="3718772" y="50002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3" name="object 48"/>
          <p:cNvSpPr/>
          <p:nvPr/>
        </p:nvSpPr>
        <p:spPr>
          <a:xfrm>
            <a:off x="2408007" y="44379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4" name="object 42"/>
          <p:cNvSpPr/>
          <p:nvPr/>
        </p:nvSpPr>
        <p:spPr>
          <a:xfrm>
            <a:off x="5025578" y="369976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5" name="object 44"/>
          <p:cNvSpPr/>
          <p:nvPr/>
        </p:nvSpPr>
        <p:spPr>
          <a:xfrm>
            <a:off x="4837588" y="296815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6" name="object 46"/>
          <p:cNvSpPr/>
          <p:nvPr/>
        </p:nvSpPr>
        <p:spPr>
          <a:xfrm>
            <a:off x="4698983" y="33524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7" name="object 40"/>
          <p:cNvSpPr/>
          <p:nvPr/>
        </p:nvSpPr>
        <p:spPr>
          <a:xfrm>
            <a:off x="4490595" y="5309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8" name="object 38"/>
          <p:cNvSpPr/>
          <p:nvPr/>
        </p:nvSpPr>
        <p:spPr>
          <a:xfrm>
            <a:off x="6309840" y="26070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9" name="object 36"/>
          <p:cNvSpPr/>
          <p:nvPr/>
        </p:nvSpPr>
        <p:spPr>
          <a:xfrm>
            <a:off x="6662640" y="379011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6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7"/>
                </a:lnTo>
                <a:lnTo>
                  <a:pt x="310251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094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0" name="object 34"/>
          <p:cNvSpPr/>
          <p:nvPr/>
        </p:nvSpPr>
        <p:spPr>
          <a:xfrm>
            <a:off x="4315829" y="28709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1" name="object 32"/>
          <p:cNvSpPr/>
          <p:nvPr/>
        </p:nvSpPr>
        <p:spPr>
          <a:xfrm>
            <a:off x="6470207" y="198120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2" name="object 30"/>
          <p:cNvSpPr/>
          <p:nvPr/>
        </p:nvSpPr>
        <p:spPr>
          <a:xfrm>
            <a:off x="5479047" y="355789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3" name="object 28"/>
          <p:cNvSpPr/>
          <p:nvPr/>
        </p:nvSpPr>
        <p:spPr>
          <a:xfrm>
            <a:off x="4155464" y="571658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4" name="object 26"/>
          <p:cNvSpPr/>
          <p:nvPr/>
        </p:nvSpPr>
        <p:spPr>
          <a:xfrm>
            <a:off x="4859348" y="49095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5" name="object 24"/>
          <p:cNvSpPr/>
          <p:nvPr/>
        </p:nvSpPr>
        <p:spPr>
          <a:xfrm>
            <a:off x="2806145" y="390525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6" name="object 22"/>
          <p:cNvSpPr/>
          <p:nvPr/>
        </p:nvSpPr>
        <p:spPr>
          <a:xfrm>
            <a:off x="2530320" y="55944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7" name="object 20"/>
          <p:cNvSpPr/>
          <p:nvPr/>
        </p:nvSpPr>
        <p:spPr>
          <a:xfrm>
            <a:off x="3126876" y="443922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8" name="object 18"/>
          <p:cNvSpPr/>
          <p:nvPr/>
        </p:nvSpPr>
        <p:spPr>
          <a:xfrm>
            <a:off x="5991162" y="307897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9" name="object 6"/>
          <p:cNvSpPr txBox="1"/>
          <p:nvPr/>
        </p:nvSpPr>
        <p:spPr>
          <a:xfrm>
            <a:off x="609600" y="4147206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grpSp>
        <p:nvGrpSpPr>
          <p:cNvPr id="120" name="Group 119"/>
          <p:cNvGrpSpPr/>
          <p:nvPr/>
        </p:nvGrpSpPr>
        <p:grpSpPr>
          <a:xfrm>
            <a:off x="1660913" y="2276856"/>
            <a:ext cx="6303362" cy="4054670"/>
            <a:chOff x="2343901" y="1923700"/>
            <a:chExt cx="6303362" cy="4054670"/>
          </a:xfrm>
        </p:grpSpPr>
        <p:sp>
          <p:nvSpPr>
            <p:cNvPr id="121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122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8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" name="object 3"/>
          <p:cNvSpPr txBox="1"/>
          <p:nvPr/>
        </p:nvSpPr>
        <p:spPr>
          <a:xfrm>
            <a:off x="604887" y="533891"/>
            <a:ext cx="8234312" cy="3810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3000"/>
              </a:lnSpc>
              <a:spcBef>
                <a:spcPts val="150"/>
              </a:spcBef>
            </a:pPr>
            <a:r>
              <a:rPr lang="en-US" sz="4200" baseline="1950" dirty="0" smtClean="0">
                <a:solidFill>
                  <a:srgbClr val="4E81BC"/>
                </a:solidFill>
                <a:latin typeface="+mj-lt"/>
                <a:cs typeface="Calibri"/>
              </a:rPr>
              <a:t>linkage </a:t>
            </a:r>
            <a:r>
              <a:rPr lang="en-US" sz="4200" baseline="1950" dirty="0">
                <a:solidFill>
                  <a:srgbClr val="4E81BC"/>
                </a:solidFill>
                <a:latin typeface="+mj-lt"/>
                <a:cs typeface="Calibri"/>
              </a:rPr>
              <a:t>= </a:t>
            </a:r>
            <a:r>
              <a:rPr lang="en-US" sz="4200" baseline="1950" dirty="0" smtClean="0">
                <a:solidFill>
                  <a:srgbClr val="4E81BC"/>
                </a:solidFill>
                <a:latin typeface="+mj-lt"/>
                <a:cs typeface="Calibri"/>
              </a:rPr>
              <a:t>“average”</a:t>
            </a:r>
            <a:endParaRPr sz="2800" dirty="0">
              <a:latin typeface="+mj-lt"/>
              <a:cs typeface="Calibri"/>
            </a:endParaRPr>
          </a:p>
        </p:txBody>
      </p:sp>
      <p:sp>
        <p:nvSpPr>
          <p:cNvPr id="88" name="object 13"/>
          <p:cNvSpPr txBox="1"/>
          <p:nvPr/>
        </p:nvSpPr>
        <p:spPr>
          <a:xfrm>
            <a:off x="604886" y="999752"/>
            <a:ext cx="8234313" cy="905248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>
              <a:lnSpc>
                <a:spcPts val="3400"/>
              </a:lnSpc>
              <a:spcBef>
                <a:spcPts val="170"/>
              </a:spcBef>
            </a:pPr>
            <a:r>
              <a:rPr lang="en-US" sz="4200" spc="0" baseline="1706" dirty="0" smtClean="0">
                <a:solidFill>
                  <a:srgbClr val="7F7E7E"/>
                </a:solidFill>
                <a:latin typeface="+mj-lt"/>
                <a:cs typeface="Calibri"/>
              </a:rPr>
              <a:t>Distance between two cluster is average of all pairwise distance</a:t>
            </a:r>
            <a:endParaRPr sz="4200" dirty="0">
              <a:solidFill>
                <a:srgbClr val="7F7E7E"/>
              </a:solidFill>
              <a:latin typeface="+mj-lt"/>
              <a:cs typeface="Calibri"/>
            </a:endParaRPr>
          </a:p>
        </p:txBody>
      </p:sp>
      <p:sp>
        <p:nvSpPr>
          <p:cNvPr id="90" name="object 82"/>
          <p:cNvSpPr/>
          <p:nvPr/>
        </p:nvSpPr>
        <p:spPr>
          <a:xfrm>
            <a:off x="3691847" y="5875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1" name="object 84"/>
          <p:cNvSpPr/>
          <p:nvPr/>
        </p:nvSpPr>
        <p:spPr>
          <a:xfrm>
            <a:off x="4677222" y="590921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2" name="object 86"/>
          <p:cNvSpPr/>
          <p:nvPr/>
        </p:nvSpPr>
        <p:spPr>
          <a:xfrm>
            <a:off x="5529026" y="589026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3" name="object 74"/>
          <p:cNvSpPr/>
          <p:nvPr/>
        </p:nvSpPr>
        <p:spPr>
          <a:xfrm>
            <a:off x="1945944" y="558313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4" name="object 72"/>
          <p:cNvSpPr/>
          <p:nvPr/>
        </p:nvSpPr>
        <p:spPr>
          <a:xfrm>
            <a:off x="5236841" y="2905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40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80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5" name="object 70"/>
          <p:cNvSpPr/>
          <p:nvPr/>
        </p:nvSpPr>
        <p:spPr>
          <a:xfrm>
            <a:off x="4837588" y="252356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6" name="object 68"/>
          <p:cNvSpPr/>
          <p:nvPr/>
        </p:nvSpPr>
        <p:spPr>
          <a:xfrm>
            <a:off x="4425503" y="211104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7" name="object 66"/>
          <p:cNvSpPr/>
          <p:nvPr/>
        </p:nvSpPr>
        <p:spPr>
          <a:xfrm>
            <a:off x="6149478" y="380010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094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8" name="object 63"/>
          <p:cNvSpPr/>
          <p:nvPr/>
        </p:nvSpPr>
        <p:spPr>
          <a:xfrm>
            <a:off x="5158317" y="54094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6"/>
                </a:lnTo>
                <a:lnTo>
                  <a:pt x="1583" y="198179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6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2"/>
                </a:lnTo>
                <a:lnTo>
                  <a:pt x="49876" y="299561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6"/>
                </a:lnTo>
                <a:lnTo>
                  <a:pt x="196530" y="342926"/>
                </a:lnTo>
                <a:lnTo>
                  <a:pt x="209650" y="339004"/>
                </a:lnTo>
                <a:lnTo>
                  <a:pt x="222295" y="333936"/>
                </a:lnTo>
                <a:lnTo>
                  <a:pt x="234413" y="327778"/>
                </a:lnTo>
                <a:lnTo>
                  <a:pt x="245953" y="320583"/>
                </a:lnTo>
                <a:lnTo>
                  <a:pt x="256864" y="312409"/>
                </a:lnTo>
                <a:lnTo>
                  <a:pt x="267095" y="303311"/>
                </a:lnTo>
                <a:lnTo>
                  <a:pt x="276595" y="293343"/>
                </a:lnTo>
                <a:lnTo>
                  <a:pt x="285312" y="282562"/>
                </a:lnTo>
                <a:lnTo>
                  <a:pt x="293195" y="271023"/>
                </a:lnTo>
                <a:lnTo>
                  <a:pt x="300193" y="258781"/>
                </a:lnTo>
                <a:lnTo>
                  <a:pt x="306255" y="245892"/>
                </a:lnTo>
                <a:lnTo>
                  <a:pt x="311330" y="232411"/>
                </a:lnTo>
                <a:lnTo>
                  <a:pt x="315366" y="218394"/>
                </a:lnTo>
                <a:lnTo>
                  <a:pt x="318312" y="203896"/>
                </a:lnTo>
                <a:lnTo>
                  <a:pt x="320117" y="188973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9" y="93485"/>
                </a:lnTo>
                <a:lnTo>
                  <a:pt x="296006" y="80986"/>
                </a:lnTo>
                <a:lnTo>
                  <a:pt x="288459" y="69169"/>
                </a:lnTo>
                <a:lnTo>
                  <a:pt x="280058" y="58089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4"/>
                </a:lnTo>
                <a:lnTo>
                  <a:pt x="86318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9" name="object 62"/>
          <p:cNvSpPr/>
          <p:nvPr/>
        </p:nvSpPr>
        <p:spPr>
          <a:xfrm>
            <a:off x="3604437" y="388180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0" name="object 60"/>
          <p:cNvSpPr/>
          <p:nvPr/>
        </p:nvSpPr>
        <p:spPr>
          <a:xfrm>
            <a:off x="2728738" y="495895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1" name="object 58"/>
          <p:cNvSpPr/>
          <p:nvPr/>
        </p:nvSpPr>
        <p:spPr>
          <a:xfrm>
            <a:off x="6790937" y="243336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2" name="object 56"/>
          <p:cNvSpPr/>
          <p:nvPr/>
        </p:nvSpPr>
        <p:spPr>
          <a:xfrm>
            <a:off x="5830796" y="23498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3" name="object 54"/>
          <p:cNvSpPr/>
          <p:nvPr/>
        </p:nvSpPr>
        <p:spPr>
          <a:xfrm>
            <a:off x="6630572" y="314183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4" name="object 52"/>
          <p:cNvSpPr/>
          <p:nvPr/>
        </p:nvSpPr>
        <p:spPr>
          <a:xfrm>
            <a:off x="3973599" y="450879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5" name="object 50"/>
          <p:cNvSpPr/>
          <p:nvPr/>
        </p:nvSpPr>
        <p:spPr>
          <a:xfrm>
            <a:off x="3718772" y="50002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6" name="object 48"/>
          <p:cNvSpPr/>
          <p:nvPr/>
        </p:nvSpPr>
        <p:spPr>
          <a:xfrm>
            <a:off x="2408007" y="44379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7" name="object 42"/>
          <p:cNvSpPr/>
          <p:nvPr/>
        </p:nvSpPr>
        <p:spPr>
          <a:xfrm>
            <a:off x="5025578" y="369976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8" name="object 44"/>
          <p:cNvSpPr/>
          <p:nvPr/>
        </p:nvSpPr>
        <p:spPr>
          <a:xfrm>
            <a:off x="4837588" y="296815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9" name="object 46"/>
          <p:cNvSpPr/>
          <p:nvPr/>
        </p:nvSpPr>
        <p:spPr>
          <a:xfrm>
            <a:off x="4698983" y="33524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0" name="object 40"/>
          <p:cNvSpPr/>
          <p:nvPr/>
        </p:nvSpPr>
        <p:spPr>
          <a:xfrm>
            <a:off x="4490595" y="5309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1" name="object 38"/>
          <p:cNvSpPr/>
          <p:nvPr/>
        </p:nvSpPr>
        <p:spPr>
          <a:xfrm>
            <a:off x="6309840" y="26070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2" name="object 36"/>
          <p:cNvSpPr/>
          <p:nvPr/>
        </p:nvSpPr>
        <p:spPr>
          <a:xfrm>
            <a:off x="6662640" y="379011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6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7"/>
                </a:lnTo>
                <a:lnTo>
                  <a:pt x="310251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094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3" name="object 34"/>
          <p:cNvSpPr/>
          <p:nvPr/>
        </p:nvSpPr>
        <p:spPr>
          <a:xfrm>
            <a:off x="4315829" y="28709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4" name="object 32"/>
          <p:cNvSpPr/>
          <p:nvPr/>
        </p:nvSpPr>
        <p:spPr>
          <a:xfrm>
            <a:off x="6470207" y="198120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5" name="object 30"/>
          <p:cNvSpPr/>
          <p:nvPr/>
        </p:nvSpPr>
        <p:spPr>
          <a:xfrm>
            <a:off x="5479047" y="355789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6" name="object 28"/>
          <p:cNvSpPr/>
          <p:nvPr/>
        </p:nvSpPr>
        <p:spPr>
          <a:xfrm>
            <a:off x="4155464" y="571658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7" name="object 26"/>
          <p:cNvSpPr/>
          <p:nvPr/>
        </p:nvSpPr>
        <p:spPr>
          <a:xfrm>
            <a:off x="4859348" y="49095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8" name="object 24"/>
          <p:cNvSpPr/>
          <p:nvPr/>
        </p:nvSpPr>
        <p:spPr>
          <a:xfrm>
            <a:off x="2806145" y="390525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9" name="object 22"/>
          <p:cNvSpPr/>
          <p:nvPr/>
        </p:nvSpPr>
        <p:spPr>
          <a:xfrm>
            <a:off x="2530320" y="55944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0" name="object 20"/>
          <p:cNvSpPr/>
          <p:nvPr/>
        </p:nvSpPr>
        <p:spPr>
          <a:xfrm>
            <a:off x="3126876" y="443922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1" name="object 18"/>
          <p:cNvSpPr/>
          <p:nvPr/>
        </p:nvSpPr>
        <p:spPr>
          <a:xfrm>
            <a:off x="5991162" y="307897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2" name="object 6"/>
          <p:cNvSpPr txBox="1"/>
          <p:nvPr/>
        </p:nvSpPr>
        <p:spPr>
          <a:xfrm>
            <a:off x="609600" y="4147206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grpSp>
        <p:nvGrpSpPr>
          <p:cNvPr id="123" name="Group 122"/>
          <p:cNvGrpSpPr/>
          <p:nvPr/>
        </p:nvGrpSpPr>
        <p:grpSpPr>
          <a:xfrm>
            <a:off x="1660913" y="2276856"/>
            <a:ext cx="6303362" cy="4054670"/>
            <a:chOff x="2343901" y="1923700"/>
            <a:chExt cx="6303362" cy="4054670"/>
          </a:xfrm>
        </p:grpSpPr>
        <p:sp>
          <p:nvSpPr>
            <p:cNvPr id="124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125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  <p:sp>
        <p:nvSpPr>
          <p:cNvPr id="89" name="object 70"/>
          <p:cNvSpPr/>
          <p:nvPr/>
        </p:nvSpPr>
        <p:spPr>
          <a:xfrm>
            <a:off x="4859348" y="2899787"/>
            <a:ext cx="1771224" cy="274480"/>
          </a:xfrm>
          <a:custGeom>
            <a:avLst/>
            <a:gdLst/>
            <a:ahLst/>
            <a:cxnLst/>
            <a:rect l="l" t="t" r="r" b="b"/>
            <a:pathLst>
              <a:path w="226787" h="185432">
                <a:moveTo>
                  <a:pt x="226787" y="0"/>
                </a:moveTo>
                <a:lnTo>
                  <a:pt x="0" y="185432"/>
                </a:lnTo>
              </a:path>
            </a:pathLst>
          </a:custGeom>
          <a:ln w="38099">
            <a:solidFill>
              <a:srgbClr val="6094C9"/>
            </a:solidFill>
            <a:headEnd type="arrow"/>
            <a:tailEnd type="arrow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8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1" name="object 3"/>
          <p:cNvSpPr txBox="1"/>
          <p:nvPr/>
        </p:nvSpPr>
        <p:spPr>
          <a:xfrm>
            <a:off x="604887" y="533891"/>
            <a:ext cx="8234312" cy="3810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3000"/>
              </a:lnSpc>
              <a:spcBef>
                <a:spcPts val="150"/>
              </a:spcBef>
            </a:pPr>
            <a:r>
              <a:rPr lang="en-US" sz="4200" baseline="1950" dirty="0" smtClean="0">
                <a:solidFill>
                  <a:srgbClr val="4E81BC"/>
                </a:solidFill>
                <a:latin typeface="+mj-lt"/>
                <a:cs typeface="Calibri"/>
              </a:rPr>
              <a:t>linkage </a:t>
            </a:r>
            <a:r>
              <a:rPr lang="en-US" sz="4200" baseline="1950" dirty="0">
                <a:solidFill>
                  <a:srgbClr val="4E81BC"/>
                </a:solidFill>
                <a:latin typeface="+mj-lt"/>
                <a:cs typeface="Calibri"/>
              </a:rPr>
              <a:t>= </a:t>
            </a:r>
            <a:r>
              <a:rPr lang="en-US" sz="4200" baseline="1950" dirty="0" smtClean="0">
                <a:solidFill>
                  <a:srgbClr val="4E81BC"/>
                </a:solidFill>
                <a:latin typeface="+mj-lt"/>
                <a:cs typeface="Calibri"/>
              </a:rPr>
              <a:t>“average”</a:t>
            </a:r>
            <a:endParaRPr sz="2800" dirty="0">
              <a:latin typeface="+mj-lt"/>
              <a:cs typeface="Calibri"/>
            </a:endParaRPr>
          </a:p>
        </p:txBody>
      </p:sp>
      <p:sp>
        <p:nvSpPr>
          <p:cNvPr id="92" name="object 13"/>
          <p:cNvSpPr txBox="1"/>
          <p:nvPr/>
        </p:nvSpPr>
        <p:spPr>
          <a:xfrm>
            <a:off x="604886" y="999752"/>
            <a:ext cx="8234313" cy="905248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>
              <a:lnSpc>
                <a:spcPts val="3400"/>
              </a:lnSpc>
              <a:spcBef>
                <a:spcPts val="170"/>
              </a:spcBef>
            </a:pPr>
            <a:r>
              <a:rPr lang="en-US" sz="4200" spc="0" baseline="1706" dirty="0" smtClean="0">
                <a:solidFill>
                  <a:srgbClr val="7F7E7E"/>
                </a:solidFill>
                <a:latin typeface="+mj-lt"/>
                <a:cs typeface="Calibri"/>
              </a:rPr>
              <a:t>Distance between two cluster is average of all pairwise distance</a:t>
            </a:r>
            <a:endParaRPr sz="4200" dirty="0">
              <a:solidFill>
                <a:srgbClr val="7F7E7E"/>
              </a:solidFill>
              <a:latin typeface="+mj-lt"/>
              <a:cs typeface="Calibri"/>
            </a:endParaRPr>
          </a:p>
        </p:txBody>
      </p:sp>
      <p:sp>
        <p:nvSpPr>
          <p:cNvPr id="93" name="object 82"/>
          <p:cNvSpPr/>
          <p:nvPr/>
        </p:nvSpPr>
        <p:spPr>
          <a:xfrm>
            <a:off x="3691847" y="5875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4" name="object 84"/>
          <p:cNvSpPr/>
          <p:nvPr/>
        </p:nvSpPr>
        <p:spPr>
          <a:xfrm>
            <a:off x="4677222" y="590921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5" name="object 86"/>
          <p:cNvSpPr/>
          <p:nvPr/>
        </p:nvSpPr>
        <p:spPr>
          <a:xfrm>
            <a:off x="5529026" y="589026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6" name="object 74"/>
          <p:cNvSpPr/>
          <p:nvPr/>
        </p:nvSpPr>
        <p:spPr>
          <a:xfrm>
            <a:off x="1945944" y="558313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7" name="object 72"/>
          <p:cNvSpPr/>
          <p:nvPr/>
        </p:nvSpPr>
        <p:spPr>
          <a:xfrm>
            <a:off x="5236841" y="2905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40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80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8" name="object 70"/>
          <p:cNvSpPr/>
          <p:nvPr/>
        </p:nvSpPr>
        <p:spPr>
          <a:xfrm>
            <a:off x="4837588" y="252356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9" name="object 68"/>
          <p:cNvSpPr/>
          <p:nvPr/>
        </p:nvSpPr>
        <p:spPr>
          <a:xfrm>
            <a:off x="4425503" y="211104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0" name="object 66"/>
          <p:cNvSpPr/>
          <p:nvPr/>
        </p:nvSpPr>
        <p:spPr>
          <a:xfrm>
            <a:off x="6149478" y="380010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094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1" name="object 63"/>
          <p:cNvSpPr/>
          <p:nvPr/>
        </p:nvSpPr>
        <p:spPr>
          <a:xfrm>
            <a:off x="5158317" y="54094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6"/>
                </a:lnTo>
                <a:lnTo>
                  <a:pt x="1583" y="198179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6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2"/>
                </a:lnTo>
                <a:lnTo>
                  <a:pt x="49876" y="299561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6"/>
                </a:lnTo>
                <a:lnTo>
                  <a:pt x="196530" y="342926"/>
                </a:lnTo>
                <a:lnTo>
                  <a:pt x="209650" y="339004"/>
                </a:lnTo>
                <a:lnTo>
                  <a:pt x="222295" y="333936"/>
                </a:lnTo>
                <a:lnTo>
                  <a:pt x="234413" y="327778"/>
                </a:lnTo>
                <a:lnTo>
                  <a:pt x="245953" y="320583"/>
                </a:lnTo>
                <a:lnTo>
                  <a:pt x="256864" y="312409"/>
                </a:lnTo>
                <a:lnTo>
                  <a:pt x="267095" y="303311"/>
                </a:lnTo>
                <a:lnTo>
                  <a:pt x="276595" y="293343"/>
                </a:lnTo>
                <a:lnTo>
                  <a:pt x="285312" y="282562"/>
                </a:lnTo>
                <a:lnTo>
                  <a:pt x="293195" y="271023"/>
                </a:lnTo>
                <a:lnTo>
                  <a:pt x="300193" y="258781"/>
                </a:lnTo>
                <a:lnTo>
                  <a:pt x="306255" y="245892"/>
                </a:lnTo>
                <a:lnTo>
                  <a:pt x="311330" y="232411"/>
                </a:lnTo>
                <a:lnTo>
                  <a:pt x="315366" y="218394"/>
                </a:lnTo>
                <a:lnTo>
                  <a:pt x="318312" y="203896"/>
                </a:lnTo>
                <a:lnTo>
                  <a:pt x="320117" y="188973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9" y="93485"/>
                </a:lnTo>
                <a:lnTo>
                  <a:pt x="296006" y="80986"/>
                </a:lnTo>
                <a:lnTo>
                  <a:pt x="288459" y="69169"/>
                </a:lnTo>
                <a:lnTo>
                  <a:pt x="280058" y="58089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4"/>
                </a:lnTo>
                <a:lnTo>
                  <a:pt x="86318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2" name="object 62"/>
          <p:cNvSpPr/>
          <p:nvPr/>
        </p:nvSpPr>
        <p:spPr>
          <a:xfrm>
            <a:off x="3604437" y="388180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3" name="object 60"/>
          <p:cNvSpPr/>
          <p:nvPr/>
        </p:nvSpPr>
        <p:spPr>
          <a:xfrm>
            <a:off x="2728738" y="495895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4" name="object 58"/>
          <p:cNvSpPr/>
          <p:nvPr/>
        </p:nvSpPr>
        <p:spPr>
          <a:xfrm>
            <a:off x="6790937" y="243336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5" name="object 56"/>
          <p:cNvSpPr/>
          <p:nvPr/>
        </p:nvSpPr>
        <p:spPr>
          <a:xfrm>
            <a:off x="5830796" y="23498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6" name="object 54"/>
          <p:cNvSpPr/>
          <p:nvPr/>
        </p:nvSpPr>
        <p:spPr>
          <a:xfrm>
            <a:off x="6630572" y="314183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7" name="object 52"/>
          <p:cNvSpPr/>
          <p:nvPr/>
        </p:nvSpPr>
        <p:spPr>
          <a:xfrm>
            <a:off x="3973599" y="450879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8" name="object 50"/>
          <p:cNvSpPr/>
          <p:nvPr/>
        </p:nvSpPr>
        <p:spPr>
          <a:xfrm>
            <a:off x="3718772" y="50002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9" name="object 48"/>
          <p:cNvSpPr/>
          <p:nvPr/>
        </p:nvSpPr>
        <p:spPr>
          <a:xfrm>
            <a:off x="2408007" y="44379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0" name="object 42"/>
          <p:cNvSpPr/>
          <p:nvPr/>
        </p:nvSpPr>
        <p:spPr>
          <a:xfrm>
            <a:off x="5025578" y="369976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1" name="object 44"/>
          <p:cNvSpPr/>
          <p:nvPr/>
        </p:nvSpPr>
        <p:spPr>
          <a:xfrm>
            <a:off x="4837588" y="296815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2" name="object 46"/>
          <p:cNvSpPr/>
          <p:nvPr/>
        </p:nvSpPr>
        <p:spPr>
          <a:xfrm>
            <a:off x="4698983" y="33524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3" name="object 40"/>
          <p:cNvSpPr/>
          <p:nvPr/>
        </p:nvSpPr>
        <p:spPr>
          <a:xfrm>
            <a:off x="4490595" y="5309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4" name="object 38"/>
          <p:cNvSpPr/>
          <p:nvPr/>
        </p:nvSpPr>
        <p:spPr>
          <a:xfrm>
            <a:off x="6309840" y="26070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5" name="object 36"/>
          <p:cNvSpPr/>
          <p:nvPr/>
        </p:nvSpPr>
        <p:spPr>
          <a:xfrm>
            <a:off x="6662640" y="379011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6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7"/>
                </a:lnTo>
                <a:lnTo>
                  <a:pt x="310251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094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6" name="object 34"/>
          <p:cNvSpPr/>
          <p:nvPr/>
        </p:nvSpPr>
        <p:spPr>
          <a:xfrm>
            <a:off x="4315829" y="28709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7" name="object 32"/>
          <p:cNvSpPr/>
          <p:nvPr/>
        </p:nvSpPr>
        <p:spPr>
          <a:xfrm>
            <a:off x="6470207" y="198120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8" name="object 30"/>
          <p:cNvSpPr/>
          <p:nvPr/>
        </p:nvSpPr>
        <p:spPr>
          <a:xfrm>
            <a:off x="5479047" y="355789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9" name="object 28"/>
          <p:cNvSpPr/>
          <p:nvPr/>
        </p:nvSpPr>
        <p:spPr>
          <a:xfrm>
            <a:off x="4155464" y="571658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0" name="object 26"/>
          <p:cNvSpPr/>
          <p:nvPr/>
        </p:nvSpPr>
        <p:spPr>
          <a:xfrm>
            <a:off x="4859348" y="49095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1" name="object 24"/>
          <p:cNvSpPr/>
          <p:nvPr/>
        </p:nvSpPr>
        <p:spPr>
          <a:xfrm>
            <a:off x="2806145" y="390525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2" name="object 22"/>
          <p:cNvSpPr/>
          <p:nvPr/>
        </p:nvSpPr>
        <p:spPr>
          <a:xfrm>
            <a:off x="2530320" y="55944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3" name="object 20"/>
          <p:cNvSpPr/>
          <p:nvPr/>
        </p:nvSpPr>
        <p:spPr>
          <a:xfrm>
            <a:off x="3126876" y="443922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4" name="object 18"/>
          <p:cNvSpPr/>
          <p:nvPr/>
        </p:nvSpPr>
        <p:spPr>
          <a:xfrm>
            <a:off x="5991162" y="307897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5" name="object 6"/>
          <p:cNvSpPr txBox="1"/>
          <p:nvPr/>
        </p:nvSpPr>
        <p:spPr>
          <a:xfrm>
            <a:off x="609600" y="4147206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grpSp>
        <p:nvGrpSpPr>
          <p:cNvPr id="126" name="Group 125"/>
          <p:cNvGrpSpPr/>
          <p:nvPr/>
        </p:nvGrpSpPr>
        <p:grpSpPr>
          <a:xfrm>
            <a:off x="1660913" y="2276856"/>
            <a:ext cx="6303362" cy="4054670"/>
            <a:chOff x="2343901" y="1923700"/>
            <a:chExt cx="6303362" cy="4054670"/>
          </a:xfrm>
        </p:grpSpPr>
        <p:sp>
          <p:nvSpPr>
            <p:cNvPr id="127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128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  <p:sp>
        <p:nvSpPr>
          <p:cNvPr id="129" name="object 70"/>
          <p:cNvSpPr/>
          <p:nvPr/>
        </p:nvSpPr>
        <p:spPr>
          <a:xfrm>
            <a:off x="4859348" y="2899787"/>
            <a:ext cx="1771224" cy="274480"/>
          </a:xfrm>
          <a:custGeom>
            <a:avLst/>
            <a:gdLst/>
            <a:ahLst/>
            <a:cxnLst/>
            <a:rect l="l" t="t" r="r" b="b"/>
            <a:pathLst>
              <a:path w="226787" h="185432">
                <a:moveTo>
                  <a:pt x="226787" y="0"/>
                </a:moveTo>
                <a:lnTo>
                  <a:pt x="0" y="185432"/>
                </a:lnTo>
              </a:path>
            </a:pathLst>
          </a:custGeom>
          <a:ln w="38099">
            <a:solidFill>
              <a:srgbClr val="6094C9"/>
            </a:solidFill>
            <a:headEnd type="arrow"/>
            <a:tailEnd type="arrow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0" name="object 70"/>
          <p:cNvSpPr/>
          <p:nvPr/>
        </p:nvSpPr>
        <p:spPr>
          <a:xfrm>
            <a:off x="3126875" y="3174267"/>
            <a:ext cx="1762493" cy="1616623"/>
          </a:xfrm>
          <a:custGeom>
            <a:avLst/>
            <a:gdLst/>
            <a:ahLst/>
            <a:cxnLst/>
            <a:rect l="l" t="t" r="r" b="b"/>
            <a:pathLst>
              <a:path w="226787" h="185432">
                <a:moveTo>
                  <a:pt x="226787" y="0"/>
                </a:moveTo>
                <a:lnTo>
                  <a:pt x="0" y="185432"/>
                </a:lnTo>
              </a:path>
            </a:pathLst>
          </a:custGeom>
          <a:ln w="38099">
            <a:solidFill>
              <a:srgbClr val="6094C9"/>
            </a:solidFill>
            <a:headEnd type="arrow"/>
            <a:tailEnd type="arrow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8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5" name="object 3"/>
          <p:cNvSpPr txBox="1"/>
          <p:nvPr/>
        </p:nvSpPr>
        <p:spPr>
          <a:xfrm>
            <a:off x="604887" y="533891"/>
            <a:ext cx="8234312" cy="3810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3000"/>
              </a:lnSpc>
              <a:spcBef>
                <a:spcPts val="150"/>
              </a:spcBef>
            </a:pPr>
            <a:r>
              <a:rPr lang="en-US" sz="4200" baseline="1950" dirty="0" smtClean="0">
                <a:solidFill>
                  <a:srgbClr val="4E81BC"/>
                </a:solidFill>
                <a:latin typeface="+mj-lt"/>
                <a:cs typeface="Calibri"/>
              </a:rPr>
              <a:t>linkage </a:t>
            </a:r>
            <a:r>
              <a:rPr lang="en-US" sz="4200" baseline="1950" dirty="0">
                <a:solidFill>
                  <a:srgbClr val="4E81BC"/>
                </a:solidFill>
                <a:latin typeface="+mj-lt"/>
                <a:cs typeface="Calibri"/>
              </a:rPr>
              <a:t>= </a:t>
            </a:r>
            <a:r>
              <a:rPr lang="en-US" sz="4200" baseline="1950" dirty="0" smtClean="0">
                <a:solidFill>
                  <a:srgbClr val="4E81BC"/>
                </a:solidFill>
                <a:latin typeface="+mj-lt"/>
                <a:cs typeface="Calibri"/>
              </a:rPr>
              <a:t>“average”</a:t>
            </a:r>
            <a:endParaRPr sz="2800" dirty="0">
              <a:latin typeface="+mj-lt"/>
              <a:cs typeface="Calibri"/>
            </a:endParaRPr>
          </a:p>
        </p:txBody>
      </p:sp>
      <p:sp>
        <p:nvSpPr>
          <p:cNvPr id="96" name="object 13"/>
          <p:cNvSpPr txBox="1"/>
          <p:nvPr/>
        </p:nvSpPr>
        <p:spPr>
          <a:xfrm>
            <a:off x="604886" y="999752"/>
            <a:ext cx="8234313" cy="905248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>
              <a:lnSpc>
                <a:spcPts val="3400"/>
              </a:lnSpc>
              <a:spcBef>
                <a:spcPts val="170"/>
              </a:spcBef>
            </a:pPr>
            <a:r>
              <a:rPr lang="en-US" sz="4200" spc="0" baseline="1706" dirty="0" smtClean="0">
                <a:solidFill>
                  <a:srgbClr val="7F7E7E"/>
                </a:solidFill>
                <a:latin typeface="+mj-lt"/>
                <a:cs typeface="Calibri"/>
              </a:rPr>
              <a:t>Distance between two cluster is average of all pairwise distance</a:t>
            </a:r>
            <a:endParaRPr sz="4200" dirty="0">
              <a:solidFill>
                <a:srgbClr val="7F7E7E"/>
              </a:solidFill>
              <a:latin typeface="+mj-lt"/>
              <a:cs typeface="Calibri"/>
            </a:endParaRPr>
          </a:p>
        </p:txBody>
      </p:sp>
      <p:sp>
        <p:nvSpPr>
          <p:cNvPr id="97" name="object 82"/>
          <p:cNvSpPr/>
          <p:nvPr/>
        </p:nvSpPr>
        <p:spPr>
          <a:xfrm>
            <a:off x="3691847" y="5875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8" name="object 84"/>
          <p:cNvSpPr/>
          <p:nvPr/>
        </p:nvSpPr>
        <p:spPr>
          <a:xfrm>
            <a:off x="4677222" y="590921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9" name="object 86"/>
          <p:cNvSpPr/>
          <p:nvPr/>
        </p:nvSpPr>
        <p:spPr>
          <a:xfrm>
            <a:off x="5529026" y="589026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0" name="object 74"/>
          <p:cNvSpPr/>
          <p:nvPr/>
        </p:nvSpPr>
        <p:spPr>
          <a:xfrm>
            <a:off x="1945944" y="558313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1" name="object 72"/>
          <p:cNvSpPr/>
          <p:nvPr/>
        </p:nvSpPr>
        <p:spPr>
          <a:xfrm>
            <a:off x="5236841" y="2905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40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80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2" name="object 70"/>
          <p:cNvSpPr/>
          <p:nvPr/>
        </p:nvSpPr>
        <p:spPr>
          <a:xfrm>
            <a:off x="4837588" y="252356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3" name="object 68"/>
          <p:cNvSpPr/>
          <p:nvPr/>
        </p:nvSpPr>
        <p:spPr>
          <a:xfrm>
            <a:off x="4425503" y="211104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4" name="object 66"/>
          <p:cNvSpPr/>
          <p:nvPr/>
        </p:nvSpPr>
        <p:spPr>
          <a:xfrm>
            <a:off x="6149478" y="380010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094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5" name="object 63"/>
          <p:cNvSpPr/>
          <p:nvPr/>
        </p:nvSpPr>
        <p:spPr>
          <a:xfrm>
            <a:off x="5158317" y="54094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6"/>
                </a:lnTo>
                <a:lnTo>
                  <a:pt x="1583" y="198179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6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2"/>
                </a:lnTo>
                <a:lnTo>
                  <a:pt x="49876" y="299561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6"/>
                </a:lnTo>
                <a:lnTo>
                  <a:pt x="196530" y="342926"/>
                </a:lnTo>
                <a:lnTo>
                  <a:pt x="209650" y="339004"/>
                </a:lnTo>
                <a:lnTo>
                  <a:pt x="222295" y="333936"/>
                </a:lnTo>
                <a:lnTo>
                  <a:pt x="234413" y="327778"/>
                </a:lnTo>
                <a:lnTo>
                  <a:pt x="245953" y="320583"/>
                </a:lnTo>
                <a:lnTo>
                  <a:pt x="256864" y="312409"/>
                </a:lnTo>
                <a:lnTo>
                  <a:pt x="267095" y="303311"/>
                </a:lnTo>
                <a:lnTo>
                  <a:pt x="276595" y="293343"/>
                </a:lnTo>
                <a:lnTo>
                  <a:pt x="285312" y="282562"/>
                </a:lnTo>
                <a:lnTo>
                  <a:pt x="293195" y="271023"/>
                </a:lnTo>
                <a:lnTo>
                  <a:pt x="300193" y="258781"/>
                </a:lnTo>
                <a:lnTo>
                  <a:pt x="306255" y="245892"/>
                </a:lnTo>
                <a:lnTo>
                  <a:pt x="311330" y="232411"/>
                </a:lnTo>
                <a:lnTo>
                  <a:pt x="315366" y="218394"/>
                </a:lnTo>
                <a:lnTo>
                  <a:pt x="318312" y="203896"/>
                </a:lnTo>
                <a:lnTo>
                  <a:pt x="320117" y="188973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9" y="93485"/>
                </a:lnTo>
                <a:lnTo>
                  <a:pt x="296006" y="80986"/>
                </a:lnTo>
                <a:lnTo>
                  <a:pt x="288459" y="69169"/>
                </a:lnTo>
                <a:lnTo>
                  <a:pt x="280058" y="58089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4"/>
                </a:lnTo>
                <a:lnTo>
                  <a:pt x="86318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6" name="object 62"/>
          <p:cNvSpPr/>
          <p:nvPr/>
        </p:nvSpPr>
        <p:spPr>
          <a:xfrm>
            <a:off x="3604437" y="388180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7" name="object 60"/>
          <p:cNvSpPr/>
          <p:nvPr/>
        </p:nvSpPr>
        <p:spPr>
          <a:xfrm>
            <a:off x="2728738" y="495895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8" name="object 58"/>
          <p:cNvSpPr/>
          <p:nvPr/>
        </p:nvSpPr>
        <p:spPr>
          <a:xfrm>
            <a:off x="6790937" y="243336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9" name="object 56"/>
          <p:cNvSpPr/>
          <p:nvPr/>
        </p:nvSpPr>
        <p:spPr>
          <a:xfrm>
            <a:off x="5830796" y="23498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0" name="object 54"/>
          <p:cNvSpPr/>
          <p:nvPr/>
        </p:nvSpPr>
        <p:spPr>
          <a:xfrm>
            <a:off x="6630572" y="314183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1" name="object 52"/>
          <p:cNvSpPr/>
          <p:nvPr/>
        </p:nvSpPr>
        <p:spPr>
          <a:xfrm>
            <a:off x="3973599" y="450879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2" name="object 50"/>
          <p:cNvSpPr/>
          <p:nvPr/>
        </p:nvSpPr>
        <p:spPr>
          <a:xfrm>
            <a:off x="3718772" y="50002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3" name="object 48"/>
          <p:cNvSpPr/>
          <p:nvPr/>
        </p:nvSpPr>
        <p:spPr>
          <a:xfrm>
            <a:off x="2408007" y="44379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4" name="object 42"/>
          <p:cNvSpPr/>
          <p:nvPr/>
        </p:nvSpPr>
        <p:spPr>
          <a:xfrm>
            <a:off x="5025578" y="369976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5" name="object 44"/>
          <p:cNvSpPr/>
          <p:nvPr/>
        </p:nvSpPr>
        <p:spPr>
          <a:xfrm>
            <a:off x="4837588" y="296815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6" name="object 46"/>
          <p:cNvSpPr/>
          <p:nvPr/>
        </p:nvSpPr>
        <p:spPr>
          <a:xfrm>
            <a:off x="4698983" y="33524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7" name="object 40"/>
          <p:cNvSpPr/>
          <p:nvPr/>
        </p:nvSpPr>
        <p:spPr>
          <a:xfrm>
            <a:off x="4490595" y="5309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8" name="object 38"/>
          <p:cNvSpPr/>
          <p:nvPr/>
        </p:nvSpPr>
        <p:spPr>
          <a:xfrm>
            <a:off x="6309840" y="26070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9" name="object 36"/>
          <p:cNvSpPr/>
          <p:nvPr/>
        </p:nvSpPr>
        <p:spPr>
          <a:xfrm>
            <a:off x="6662640" y="379011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6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7"/>
                </a:lnTo>
                <a:lnTo>
                  <a:pt x="310251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094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0" name="object 34"/>
          <p:cNvSpPr/>
          <p:nvPr/>
        </p:nvSpPr>
        <p:spPr>
          <a:xfrm>
            <a:off x="4315829" y="28709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1" name="object 32"/>
          <p:cNvSpPr/>
          <p:nvPr/>
        </p:nvSpPr>
        <p:spPr>
          <a:xfrm>
            <a:off x="6470207" y="198120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2" name="object 30"/>
          <p:cNvSpPr/>
          <p:nvPr/>
        </p:nvSpPr>
        <p:spPr>
          <a:xfrm>
            <a:off x="5479047" y="355789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3" name="object 28"/>
          <p:cNvSpPr/>
          <p:nvPr/>
        </p:nvSpPr>
        <p:spPr>
          <a:xfrm>
            <a:off x="4155464" y="571658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4" name="object 26"/>
          <p:cNvSpPr/>
          <p:nvPr/>
        </p:nvSpPr>
        <p:spPr>
          <a:xfrm>
            <a:off x="4859348" y="49095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5" name="object 24"/>
          <p:cNvSpPr/>
          <p:nvPr/>
        </p:nvSpPr>
        <p:spPr>
          <a:xfrm>
            <a:off x="2806145" y="390525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6" name="object 22"/>
          <p:cNvSpPr/>
          <p:nvPr/>
        </p:nvSpPr>
        <p:spPr>
          <a:xfrm>
            <a:off x="2530320" y="55944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7" name="object 20"/>
          <p:cNvSpPr/>
          <p:nvPr/>
        </p:nvSpPr>
        <p:spPr>
          <a:xfrm>
            <a:off x="3126876" y="443922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8" name="object 18"/>
          <p:cNvSpPr/>
          <p:nvPr/>
        </p:nvSpPr>
        <p:spPr>
          <a:xfrm>
            <a:off x="5991162" y="307897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9" name="object 6"/>
          <p:cNvSpPr txBox="1"/>
          <p:nvPr/>
        </p:nvSpPr>
        <p:spPr>
          <a:xfrm>
            <a:off x="609600" y="4147206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grpSp>
        <p:nvGrpSpPr>
          <p:cNvPr id="130" name="Group 129"/>
          <p:cNvGrpSpPr/>
          <p:nvPr/>
        </p:nvGrpSpPr>
        <p:grpSpPr>
          <a:xfrm>
            <a:off x="1660913" y="2276856"/>
            <a:ext cx="6303362" cy="4054670"/>
            <a:chOff x="2343901" y="1923700"/>
            <a:chExt cx="6303362" cy="4054670"/>
          </a:xfrm>
        </p:grpSpPr>
        <p:sp>
          <p:nvSpPr>
            <p:cNvPr id="131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132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  <p:sp>
        <p:nvSpPr>
          <p:cNvPr id="133" name="object 70"/>
          <p:cNvSpPr/>
          <p:nvPr/>
        </p:nvSpPr>
        <p:spPr>
          <a:xfrm>
            <a:off x="4859348" y="2899787"/>
            <a:ext cx="1771224" cy="274480"/>
          </a:xfrm>
          <a:custGeom>
            <a:avLst/>
            <a:gdLst/>
            <a:ahLst/>
            <a:cxnLst/>
            <a:rect l="l" t="t" r="r" b="b"/>
            <a:pathLst>
              <a:path w="226787" h="185432">
                <a:moveTo>
                  <a:pt x="226787" y="0"/>
                </a:moveTo>
                <a:lnTo>
                  <a:pt x="0" y="185432"/>
                </a:lnTo>
              </a:path>
            </a:pathLst>
          </a:custGeom>
          <a:ln w="38099">
            <a:solidFill>
              <a:srgbClr val="6094C9"/>
            </a:solidFill>
            <a:headEnd type="arrow"/>
            <a:tailEnd type="arrow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4" name="object 70"/>
          <p:cNvSpPr/>
          <p:nvPr/>
        </p:nvSpPr>
        <p:spPr>
          <a:xfrm>
            <a:off x="3126875" y="3174267"/>
            <a:ext cx="1762493" cy="1616623"/>
          </a:xfrm>
          <a:custGeom>
            <a:avLst/>
            <a:gdLst/>
            <a:ahLst/>
            <a:cxnLst/>
            <a:rect l="l" t="t" r="r" b="b"/>
            <a:pathLst>
              <a:path w="226787" h="185432">
                <a:moveTo>
                  <a:pt x="226787" y="0"/>
                </a:moveTo>
                <a:lnTo>
                  <a:pt x="0" y="185432"/>
                </a:lnTo>
              </a:path>
            </a:pathLst>
          </a:custGeom>
          <a:ln w="38099">
            <a:solidFill>
              <a:srgbClr val="6094C9"/>
            </a:solidFill>
            <a:headEnd type="arrow"/>
            <a:tailEnd type="arrow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5" name="object 70"/>
          <p:cNvSpPr/>
          <p:nvPr/>
        </p:nvSpPr>
        <p:spPr>
          <a:xfrm flipV="1">
            <a:off x="3118144" y="4798931"/>
            <a:ext cx="1719444" cy="913456"/>
          </a:xfrm>
          <a:custGeom>
            <a:avLst/>
            <a:gdLst/>
            <a:ahLst/>
            <a:cxnLst/>
            <a:rect l="l" t="t" r="r" b="b"/>
            <a:pathLst>
              <a:path w="226787" h="185432">
                <a:moveTo>
                  <a:pt x="226787" y="0"/>
                </a:moveTo>
                <a:lnTo>
                  <a:pt x="0" y="185432"/>
                </a:lnTo>
              </a:path>
            </a:pathLst>
          </a:custGeom>
          <a:ln w="38099">
            <a:solidFill>
              <a:srgbClr val="6094C9"/>
            </a:solidFill>
            <a:headEnd type="arrow"/>
            <a:tailEnd type="arrow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3" name="object 84"/>
          <p:cNvSpPr/>
          <p:nvPr/>
        </p:nvSpPr>
        <p:spPr>
          <a:xfrm>
            <a:off x="4414372" y="54871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4" name="object 86"/>
          <p:cNvSpPr/>
          <p:nvPr/>
        </p:nvSpPr>
        <p:spPr>
          <a:xfrm>
            <a:off x="5399747" y="55212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5" name="object 88"/>
          <p:cNvSpPr/>
          <p:nvPr/>
        </p:nvSpPr>
        <p:spPr>
          <a:xfrm>
            <a:off x="6251551" y="55023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6" name="object 76"/>
          <p:cNvSpPr/>
          <p:nvPr/>
        </p:nvSpPr>
        <p:spPr>
          <a:xfrm>
            <a:off x="2668469" y="519520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7" name="object 73"/>
          <p:cNvSpPr/>
          <p:nvPr/>
        </p:nvSpPr>
        <p:spPr>
          <a:xfrm>
            <a:off x="5959366" y="251737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1"/>
                </a:moveTo>
                <a:lnTo>
                  <a:pt x="232" y="183108"/>
                </a:lnTo>
                <a:lnTo>
                  <a:pt x="1583" y="198180"/>
                </a:lnTo>
                <a:lnTo>
                  <a:pt x="4094" y="212849"/>
                </a:lnTo>
                <a:lnTo>
                  <a:pt x="7715" y="227058"/>
                </a:lnTo>
                <a:lnTo>
                  <a:pt x="12395" y="240753"/>
                </a:lnTo>
                <a:lnTo>
                  <a:pt x="18082" y="253877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3"/>
                </a:lnTo>
                <a:lnTo>
                  <a:pt x="49876" y="299561"/>
                </a:lnTo>
                <a:lnTo>
                  <a:pt x="59830" y="309002"/>
                </a:lnTo>
                <a:lnTo>
                  <a:pt x="70485" y="317540"/>
                </a:lnTo>
                <a:lnTo>
                  <a:pt x="81788" y="325119"/>
                </a:lnTo>
                <a:lnTo>
                  <a:pt x="93689" y="331685"/>
                </a:lnTo>
                <a:lnTo>
                  <a:pt x="106136" y="337181"/>
                </a:lnTo>
                <a:lnTo>
                  <a:pt x="119079" y="341552"/>
                </a:lnTo>
                <a:lnTo>
                  <a:pt x="132465" y="344743"/>
                </a:lnTo>
                <a:lnTo>
                  <a:pt x="146244" y="346698"/>
                </a:lnTo>
                <a:lnTo>
                  <a:pt x="160365" y="347362"/>
                </a:lnTo>
                <a:lnTo>
                  <a:pt x="169068" y="347111"/>
                </a:lnTo>
                <a:lnTo>
                  <a:pt x="182985" y="345648"/>
                </a:lnTo>
                <a:lnTo>
                  <a:pt x="196529" y="342928"/>
                </a:lnTo>
                <a:lnTo>
                  <a:pt x="209649" y="339006"/>
                </a:lnTo>
                <a:lnTo>
                  <a:pt x="222294" y="333938"/>
                </a:lnTo>
                <a:lnTo>
                  <a:pt x="234412" y="327779"/>
                </a:lnTo>
                <a:lnTo>
                  <a:pt x="245952" y="320585"/>
                </a:lnTo>
                <a:lnTo>
                  <a:pt x="256863" y="312411"/>
                </a:lnTo>
                <a:lnTo>
                  <a:pt x="267094" y="303312"/>
                </a:lnTo>
                <a:lnTo>
                  <a:pt x="276594" y="293344"/>
                </a:lnTo>
                <a:lnTo>
                  <a:pt x="285311" y="282563"/>
                </a:lnTo>
                <a:lnTo>
                  <a:pt x="293194" y="271024"/>
                </a:lnTo>
                <a:lnTo>
                  <a:pt x="300192" y="258782"/>
                </a:lnTo>
                <a:lnTo>
                  <a:pt x="306254" y="245893"/>
                </a:lnTo>
                <a:lnTo>
                  <a:pt x="311328" y="232412"/>
                </a:lnTo>
                <a:lnTo>
                  <a:pt x="315364" y="218395"/>
                </a:lnTo>
                <a:lnTo>
                  <a:pt x="318311" y="203897"/>
                </a:lnTo>
                <a:lnTo>
                  <a:pt x="320116" y="188974"/>
                </a:lnTo>
                <a:lnTo>
                  <a:pt x="320729" y="173681"/>
                </a:lnTo>
                <a:lnTo>
                  <a:pt x="320497" y="164255"/>
                </a:lnTo>
                <a:lnTo>
                  <a:pt x="319146" y="149182"/>
                </a:lnTo>
                <a:lnTo>
                  <a:pt x="316635" y="134513"/>
                </a:lnTo>
                <a:lnTo>
                  <a:pt x="313014" y="120304"/>
                </a:lnTo>
                <a:lnTo>
                  <a:pt x="308334" y="106609"/>
                </a:lnTo>
                <a:lnTo>
                  <a:pt x="302648" y="93485"/>
                </a:lnTo>
                <a:lnTo>
                  <a:pt x="296005" y="80986"/>
                </a:lnTo>
                <a:lnTo>
                  <a:pt x="288458" y="69169"/>
                </a:lnTo>
                <a:lnTo>
                  <a:pt x="280057" y="58089"/>
                </a:lnTo>
                <a:lnTo>
                  <a:pt x="270854" y="47800"/>
                </a:lnTo>
                <a:lnTo>
                  <a:pt x="260899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1" y="251"/>
                </a:lnTo>
                <a:lnTo>
                  <a:pt x="137744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5" y="13424"/>
                </a:lnTo>
                <a:lnTo>
                  <a:pt x="86317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50"/>
                </a:lnTo>
                <a:lnTo>
                  <a:pt x="44135" y="54017"/>
                </a:lnTo>
                <a:lnTo>
                  <a:pt x="35418" y="64798"/>
                </a:lnTo>
                <a:lnTo>
                  <a:pt x="27535" y="76338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9"/>
                </a:lnTo>
                <a:lnTo>
                  <a:pt x="5364" y="128966"/>
                </a:lnTo>
                <a:lnTo>
                  <a:pt x="2418" y="143464"/>
                </a:lnTo>
                <a:lnTo>
                  <a:pt x="613" y="158388"/>
                </a:lnTo>
                <a:lnTo>
                  <a:pt x="0" y="173681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8" name="object 72"/>
          <p:cNvSpPr/>
          <p:nvPr/>
        </p:nvSpPr>
        <p:spPr>
          <a:xfrm>
            <a:off x="5560113" y="213564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9" name="object 70"/>
          <p:cNvSpPr/>
          <p:nvPr/>
        </p:nvSpPr>
        <p:spPr>
          <a:xfrm>
            <a:off x="5148028" y="1723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0" name="object 68"/>
          <p:cNvSpPr/>
          <p:nvPr/>
        </p:nvSpPr>
        <p:spPr>
          <a:xfrm>
            <a:off x="6872003" y="34121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1" name="object 66"/>
          <p:cNvSpPr/>
          <p:nvPr/>
        </p:nvSpPr>
        <p:spPr>
          <a:xfrm>
            <a:off x="5880841" y="502152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2" name="object 62"/>
          <p:cNvSpPr/>
          <p:nvPr/>
        </p:nvSpPr>
        <p:spPr>
          <a:xfrm>
            <a:off x="4326962" y="34938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4" name="object 58"/>
          <p:cNvSpPr/>
          <p:nvPr/>
        </p:nvSpPr>
        <p:spPr>
          <a:xfrm>
            <a:off x="7513462" y="204543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5" name="object 56"/>
          <p:cNvSpPr/>
          <p:nvPr/>
        </p:nvSpPr>
        <p:spPr>
          <a:xfrm>
            <a:off x="6553321" y="196196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6" name="object 54"/>
          <p:cNvSpPr/>
          <p:nvPr/>
        </p:nvSpPr>
        <p:spPr>
          <a:xfrm>
            <a:off x="7353097" y="275391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7" name="object 52"/>
          <p:cNvSpPr/>
          <p:nvPr/>
        </p:nvSpPr>
        <p:spPr>
          <a:xfrm>
            <a:off x="4696124" y="412086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8" name="object 50"/>
          <p:cNvSpPr/>
          <p:nvPr/>
        </p:nvSpPr>
        <p:spPr>
          <a:xfrm>
            <a:off x="4441297" y="46123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9" name="object 48"/>
          <p:cNvSpPr/>
          <p:nvPr/>
        </p:nvSpPr>
        <p:spPr>
          <a:xfrm>
            <a:off x="3130532" y="40499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0" name="object 42"/>
          <p:cNvSpPr/>
          <p:nvPr/>
        </p:nvSpPr>
        <p:spPr>
          <a:xfrm>
            <a:off x="5748103" y="33118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1" name="object 44"/>
          <p:cNvSpPr/>
          <p:nvPr/>
        </p:nvSpPr>
        <p:spPr>
          <a:xfrm>
            <a:off x="5560113" y="25802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2" name="object 46"/>
          <p:cNvSpPr/>
          <p:nvPr/>
        </p:nvSpPr>
        <p:spPr>
          <a:xfrm>
            <a:off x="5421508" y="296447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3" name="object 40"/>
          <p:cNvSpPr/>
          <p:nvPr/>
        </p:nvSpPr>
        <p:spPr>
          <a:xfrm>
            <a:off x="5213120" y="49216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4" name="object 38"/>
          <p:cNvSpPr/>
          <p:nvPr/>
        </p:nvSpPr>
        <p:spPr>
          <a:xfrm>
            <a:off x="7032365" y="221911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5" name="object 36"/>
          <p:cNvSpPr/>
          <p:nvPr/>
        </p:nvSpPr>
        <p:spPr>
          <a:xfrm>
            <a:off x="7385165" y="340218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6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7"/>
                </a:lnTo>
                <a:lnTo>
                  <a:pt x="310251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6" name="object 34"/>
          <p:cNvSpPr/>
          <p:nvPr/>
        </p:nvSpPr>
        <p:spPr>
          <a:xfrm>
            <a:off x="5038354" y="24830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7" name="object 32"/>
          <p:cNvSpPr/>
          <p:nvPr/>
        </p:nvSpPr>
        <p:spPr>
          <a:xfrm>
            <a:off x="7192732" y="159327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8" name="object 28"/>
          <p:cNvSpPr/>
          <p:nvPr/>
        </p:nvSpPr>
        <p:spPr>
          <a:xfrm>
            <a:off x="6201572" y="316997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9" name="object 26"/>
          <p:cNvSpPr/>
          <p:nvPr/>
        </p:nvSpPr>
        <p:spPr>
          <a:xfrm>
            <a:off x="4877989" y="532865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0" name="object 24"/>
          <p:cNvSpPr/>
          <p:nvPr/>
        </p:nvSpPr>
        <p:spPr>
          <a:xfrm>
            <a:off x="5581873" y="4521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1" name="object 22"/>
          <p:cNvSpPr/>
          <p:nvPr/>
        </p:nvSpPr>
        <p:spPr>
          <a:xfrm>
            <a:off x="3528670" y="35173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2" name="object 20"/>
          <p:cNvSpPr/>
          <p:nvPr/>
        </p:nvSpPr>
        <p:spPr>
          <a:xfrm>
            <a:off x="3252845" y="520650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3" name="object 18"/>
          <p:cNvSpPr/>
          <p:nvPr/>
        </p:nvSpPr>
        <p:spPr>
          <a:xfrm>
            <a:off x="3849401" y="4051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4" name="object 16"/>
          <p:cNvSpPr/>
          <p:nvPr/>
        </p:nvSpPr>
        <p:spPr>
          <a:xfrm>
            <a:off x="6713687" y="269105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4" name="object 74"/>
          <p:cNvSpPr/>
          <p:nvPr/>
        </p:nvSpPr>
        <p:spPr>
          <a:xfrm>
            <a:off x="6255631" y="2582755"/>
            <a:ext cx="394167" cy="381727"/>
          </a:xfrm>
          <a:custGeom>
            <a:avLst/>
            <a:gdLst/>
            <a:ahLst/>
            <a:cxnLst/>
            <a:rect l="l" t="t" r="r" b="b"/>
            <a:pathLst>
              <a:path w="394167" h="381727">
                <a:moveTo>
                  <a:pt x="0" y="0"/>
                </a:moveTo>
                <a:lnTo>
                  <a:pt x="394167" y="0"/>
                </a:lnTo>
                <a:lnTo>
                  <a:pt x="394167" y="381727"/>
                </a:lnTo>
                <a:lnTo>
                  <a:pt x="0" y="381727"/>
                </a:lnTo>
                <a:lnTo>
                  <a:pt x="0" y="0"/>
                </a:lnTo>
                <a:close/>
              </a:path>
            </a:pathLst>
          </a:custGeom>
          <a:solidFill>
            <a:srgbClr val="59BAD1"/>
          </a:solidFill>
          <a:ln w="57150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0" name="object 50"/>
          <p:cNvSpPr/>
          <p:nvPr/>
        </p:nvSpPr>
        <p:spPr>
          <a:xfrm>
            <a:off x="4367860" y="4662811"/>
            <a:ext cx="394167" cy="381727"/>
          </a:xfrm>
          <a:custGeom>
            <a:avLst/>
            <a:gdLst/>
            <a:ahLst/>
            <a:cxnLst/>
            <a:rect l="l" t="t" r="r" b="b"/>
            <a:pathLst>
              <a:path w="394167" h="381727">
                <a:moveTo>
                  <a:pt x="0" y="0"/>
                </a:moveTo>
                <a:lnTo>
                  <a:pt x="394167" y="0"/>
                </a:lnTo>
                <a:lnTo>
                  <a:pt x="394167" y="381727"/>
                </a:lnTo>
                <a:lnTo>
                  <a:pt x="0" y="381727"/>
                </a:lnTo>
                <a:lnTo>
                  <a:pt x="0" y="0"/>
                </a:lnTo>
                <a:close/>
              </a:path>
            </a:pathLst>
          </a:custGeom>
          <a:solidFill>
            <a:srgbClr val="AAC56C"/>
          </a:solidFill>
          <a:ln w="57150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" name="object 6"/>
          <p:cNvSpPr txBox="1"/>
          <p:nvPr/>
        </p:nvSpPr>
        <p:spPr>
          <a:xfrm>
            <a:off x="1332125" y="3759280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sp>
        <p:nvSpPr>
          <p:cNvPr id="5" name="object 5"/>
          <p:cNvSpPr txBox="1"/>
          <p:nvPr/>
        </p:nvSpPr>
        <p:spPr>
          <a:xfrm>
            <a:off x="5426815" y="6116930"/>
            <a:ext cx="542241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Age</a:t>
            </a:r>
            <a:endParaRPr sz="2400">
              <a:cs typeface="Calibri"/>
            </a:endParaRPr>
          </a:p>
        </p:txBody>
      </p:sp>
      <p:sp>
        <p:nvSpPr>
          <p:cNvPr id="4" name="object 4"/>
          <p:cNvSpPr txBox="1"/>
          <p:nvPr/>
        </p:nvSpPr>
        <p:spPr>
          <a:xfrm>
            <a:off x="2343901" y="1923700"/>
            <a:ext cx="6303362" cy="405467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3" name="object 3"/>
          <p:cNvSpPr txBox="1"/>
          <p:nvPr/>
        </p:nvSpPr>
        <p:spPr>
          <a:xfrm>
            <a:off x="4367860" y="4662811"/>
            <a:ext cx="394167" cy="38172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2" name="object 2"/>
          <p:cNvSpPr txBox="1"/>
          <p:nvPr/>
        </p:nvSpPr>
        <p:spPr>
          <a:xfrm>
            <a:off x="6255631" y="2582755"/>
            <a:ext cx="394167" cy="38172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grpSp>
        <p:nvGrpSpPr>
          <p:cNvPr id="89" name="Group 88"/>
          <p:cNvGrpSpPr/>
          <p:nvPr/>
        </p:nvGrpSpPr>
        <p:grpSpPr>
          <a:xfrm>
            <a:off x="2383438" y="1888930"/>
            <a:ext cx="6303362" cy="4054670"/>
            <a:chOff x="2343901" y="1923700"/>
            <a:chExt cx="6303362" cy="4054670"/>
          </a:xfrm>
        </p:grpSpPr>
        <p:sp>
          <p:nvSpPr>
            <p:cNvPr id="90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91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  <p:sp>
        <p:nvSpPr>
          <p:cNvPr id="125" name="object 60"/>
          <p:cNvSpPr/>
          <p:nvPr/>
        </p:nvSpPr>
        <p:spPr>
          <a:xfrm>
            <a:off x="3451263" y="457102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2" name="object 14"/>
          <p:cNvSpPr txBox="1"/>
          <p:nvPr/>
        </p:nvSpPr>
        <p:spPr>
          <a:xfrm>
            <a:off x="2101916" y="369650"/>
            <a:ext cx="6584884" cy="4318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3400"/>
              </a:lnSpc>
              <a:spcBef>
                <a:spcPts val="170"/>
              </a:spcBef>
            </a:pPr>
            <a:r>
              <a:rPr sz="4800" baseline="1706" dirty="0" smtClean="0">
                <a:solidFill>
                  <a:srgbClr val="4E81BC"/>
                </a:solidFill>
                <a:latin typeface="+mj-lt"/>
                <a:cs typeface="Calibri"/>
              </a:rPr>
              <a:t>K­‐Means </a:t>
            </a:r>
            <a:r>
              <a:rPr sz="4800" spc="0" baseline="1706" dirty="0" smtClean="0">
                <a:solidFill>
                  <a:srgbClr val="F69545"/>
                </a:solidFill>
                <a:latin typeface="+mj-lt"/>
                <a:cs typeface="Calibri"/>
              </a:rPr>
              <a:t>K=2</a:t>
            </a:r>
            <a:endParaRPr sz="3200" dirty="0">
              <a:latin typeface="+mj-lt"/>
              <a:cs typeface="Calibri"/>
            </a:endParaRPr>
          </a:p>
        </p:txBody>
      </p:sp>
      <p:sp>
        <p:nvSpPr>
          <p:cNvPr id="53" name="object 13"/>
          <p:cNvSpPr txBox="1"/>
          <p:nvPr/>
        </p:nvSpPr>
        <p:spPr>
          <a:xfrm>
            <a:off x="2101916" y="852250"/>
            <a:ext cx="6661084" cy="4318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3400"/>
              </a:lnSpc>
              <a:spcBef>
                <a:spcPts val="170"/>
              </a:spcBef>
            </a:pPr>
            <a:r>
              <a:rPr sz="4800" spc="0" baseline="1706" dirty="0" smtClean="0">
                <a:solidFill>
                  <a:srgbClr val="7F7E7E"/>
                </a:solidFill>
                <a:latin typeface="+mj-lt"/>
                <a:cs typeface="Calibri"/>
              </a:rPr>
              <a:t>Move</a:t>
            </a:r>
            <a:r>
              <a:rPr lang="en-US" sz="4800" spc="0" baseline="1706" dirty="0" smtClean="0">
                <a:solidFill>
                  <a:srgbClr val="7F7E7E"/>
                </a:solidFill>
                <a:latin typeface="+mj-lt"/>
                <a:cs typeface="Calibri"/>
              </a:rPr>
              <a:t> each center to the cluster’s </a:t>
            </a:r>
            <a:r>
              <a:rPr lang="en-US" sz="4800" baseline="1706" dirty="0" smtClean="0">
                <a:solidFill>
                  <a:srgbClr val="7F7E7E"/>
                </a:solidFill>
                <a:latin typeface="+mj-lt"/>
                <a:cs typeface="Calibri"/>
              </a:rPr>
              <a:t>mean</a:t>
            </a:r>
            <a:endParaRPr sz="3200" dirty="0">
              <a:latin typeface="+mj-lt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632526448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9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9" name="object 3"/>
          <p:cNvSpPr txBox="1"/>
          <p:nvPr/>
        </p:nvSpPr>
        <p:spPr>
          <a:xfrm>
            <a:off x="604887" y="533891"/>
            <a:ext cx="8234312" cy="3810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3000"/>
              </a:lnSpc>
              <a:spcBef>
                <a:spcPts val="150"/>
              </a:spcBef>
            </a:pPr>
            <a:r>
              <a:rPr lang="en-US" sz="4200" baseline="1950" dirty="0" smtClean="0">
                <a:solidFill>
                  <a:srgbClr val="4E81BC"/>
                </a:solidFill>
                <a:latin typeface="+mj-lt"/>
                <a:cs typeface="Calibri"/>
              </a:rPr>
              <a:t>linkage </a:t>
            </a:r>
            <a:r>
              <a:rPr lang="en-US" sz="4200" baseline="1950" dirty="0">
                <a:solidFill>
                  <a:srgbClr val="4E81BC"/>
                </a:solidFill>
                <a:latin typeface="+mj-lt"/>
                <a:cs typeface="Calibri"/>
              </a:rPr>
              <a:t>= </a:t>
            </a:r>
            <a:r>
              <a:rPr lang="en-US" sz="4200" baseline="1950" dirty="0" smtClean="0">
                <a:solidFill>
                  <a:srgbClr val="4E81BC"/>
                </a:solidFill>
                <a:latin typeface="+mj-lt"/>
                <a:cs typeface="Calibri"/>
              </a:rPr>
              <a:t>“average”</a:t>
            </a:r>
            <a:endParaRPr sz="2800" dirty="0">
              <a:latin typeface="+mj-lt"/>
              <a:cs typeface="Calibri"/>
            </a:endParaRPr>
          </a:p>
        </p:txBody>
      </p:sp>
      <p:sp>
        <p:nvSpPr>
          <p:cNvPr id="100" name="object 13"/>
          <p:cNvSpPr txBox="1"/>
          <p:nvPr/>
        </p:nvSpPr>
        <p:spPr>
          <a:xfrm>
            <a:off x="604886" y="999752"/>
            <a:ext cx="8234313" cy="905248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>
              <a:lnSpc>
                <a:spcPts val="3400"/>
              </a:lnSpc>
              <a:spcBef>
                <a:spcPts val="170"/>
              </a:spcBef>
            </a:pPr>
            <a:r>
              <a:rPr lang="en-US" sz="4200" spc="0" baseline="1706" dirty="0" smtClean="0">
                <a:solidFill>
                  <a:srgbClr val="7F7E7E"/>
                </a:solidFill>
                <a:latin typeface="+mj-lt"/>
                <a:cs typeface="Calibri"/>
              </a:rPr>
              <a:t>Distance between two cluster is average of all pairwise distance</a:t>
            </a:r>
            <a:endParaRPr sz="4200" dirty="0">
              <a:solidFill>
                <a:srgbClr val="7F7E7E"/>
              </a:solidFill>
              <a:latin typeface="+mj-lt"/>
              <a:cs typeface="Calibri"/>
            </a:endParaRPr>
          </a:p>
        </p:txBody>
      </p:sp>
      <p:sp>
        <p:nvSpPr>
          <p:cNvPr id="101" name="object 82"/>
          <p:cNvSpPr/>
          <p:nvPr/>
        </p:nvSpPr>
        <p:spPr>
          <a:xfrm>
            <a:off x="3691847" y="5875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2" name="object 84"/>
          <p:cNvSpPr/>
          <p:nvPr/>
        </p:nvSpPr>
        <p:spPr>
          <a:xfrm>
            <a:off x="4677222" y="590921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3" name="object 86"/>
          <p:cNvSpPr/>
          <p:nvPr/>
        </p:nvSpPr>
        <p:spPr>
          <a:xfrm>
            <a:off x="5529026" y="589026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4" name="object 74"/>
          <p:cNvSpPr/>
          <p:nvPr/>
        </p:nvSpPr>
        <p:spPr>
          <a:xfrm>
            <a:off x="1945944" y="558313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5" name="object 72"/>
          <p:cNvSpPr/>
          <p:nvPr/>
        </p:nvSpPr>
        <p:spPr>
          <a:xfrm>
            <a:off x="5236841" y="2905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40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80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6" name="object 70"/>
          <p:cNvSpPr/>
          <p:nvPr/>
        </p:nvSpPr>
        <p:spPr>
          <a:xfrm>
            <a:off x="4837588" y="252356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7" name="object 68"/>
          <p:cNvSpPr/>
          <p:nvPr/>
        </p:nvSpPr>
        <p:spPr>
          <a:xfrm>
            <a:off x="4425503" y="211104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8" name="object 66"/>
          <p:cNvSpPr/>
          <p:nvPr/>
        </p:nvSpPr>
        <p:spPr>
          <a:xfrm>
            <a:off x="6149478" y="380010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094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9" name="object 63"/>
          <p:cNvSpPr/>
          <p:nvPr/>
        </p:nvSpPr>
        <p:spPr>
          <a:xfrm>
            <a:off x="5158317" y="54094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6"/>
                </a:lnTo>
                <a:lnTo>
                  <a:pt x="1583" y="198179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6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2"/>
                </a:lnTo>
                <a:lnTo>
                  <a:pt x="49876" y="299561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6"/>
                </a:lnTo>
                <a:lnTo>
                  <a:pt x="196530" y="342926"/>
                </a:lnTo>
                <a:lnTo>
                  <a:pt x="209650" y="339004"/>
                </a:lnTo>
                <a:lnTo>
                  <a:pt x="222295" y="333936"/>
                </a:lnTo>
                <a:lnTo>
                  <a:pt x="234413" y="327778"/>
                </a:lnTo>
                <a:lnTo>
                  <a:pt x="245953" y="320583"/>
                </a:lnTo>
                <a:lnTo>
                  <a:pt x="256864" y="312409"/>
                </a:lnTo>
                <a:lnTo>
                  <a:pt x="267095" y="303311"/>
                </a:lnTo>
                <a:lnTo>
                  <a:pt x="276595" y="293343"/>
                </a:lnTo>
                <a:lnTo>
                  <a:pt x="285312" y="282562"/>
                </a:lnTo>
                <a:lnTo>
                  <a:pt x="293195" y="271023"/>
                </a:lnTo>
                <a:lnTo>
                  <a:pt x="300193" y="258781"/>
                </a:lnTo>
                <a:lnTo>
                  <a:pt x="306255" y="245892"/>
                </a:lnTo>
                <a:lnTo>
                  <a:pt x="311330" y="232411"/>
                </a:lnTo>
                <a:lnTo>
                  <a:pt x="315366" y="218394"/>
                </a:lnTo>
                <a:lnTo>
                  <a:pt x="318312" y="203896"/>
                </a:lnTo>
                <a:lnTo>
                  <a:pt x="320117" y="188973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9" y="93485"/>
                </a:lnTo>
                <a:lnTo>
                  <a:pt x="296006" y="80986"/>
                </a:lnTo>
                <a:lnTo>
                  <a:pt x="288459" y="69169"/>
                </a:lnTo>
                <a:lnTo>
                  <a:pt x="280058" y="58089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4"/>
                </a:lnTo>
                <a:lnTo>
                  <a:pt x="86318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0" name="object 62"/>
          <p:cNvSpPr/>
          <p:nvPr/>
        </p:nvSpPr>
        <p:spPr>
          <a:xfrm>
            <a:off x="3604437" y="388180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1" name="object 60"/>
          <p:cNvSpPr/>
          <p:nvPr/>
        </p:nvSpPr>
        <p:spPr>
          <a:xfrm>
            <a:off x="2728738" y="495895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2" name="object 58"/>
          <p:cNvSpPr/>
          <p:nvPr/>
        </p:nvSpPr>
        <p:spPr>
          <a:xfrm>
            <a:off x="6790937" y="243336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3" name="object 56"/>
          <p:cNvSpPr/>
          <p:nvPr/>
        </p:nvSpPr>
        <p:spPr>
          <a:xfrm>
            <a:off x="5830796" y="23498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4" name="object 54"/>
          <p:cNvSpPr/>
          <p:nvPr/>
        </p:nvSpPr>
        <p:spPr>
          <a:xfrm>
            <a:off x="6630572" y="314183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5" name="object 52"/>
          <p:cNvSpPr/>
          <p:nvPr/>
        </p:nvSpPr>
        <p:spPr>
          <a:xfrm>
            <a:off x="3973599" y="450879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6" name="object 50"/>
          <p:cNvSpPr/>
          <p:nvPr/>
        </p:nvSpPr>
        <p:spPr>
          <a:xfrm>
            <a:off x="3718772" y="50002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7" name="object 48"/>
          <p:cNvSpPr/>
          <p:nvPr/>
        </p:nvSpPr>
        <p:spPr>
          <a:xfrm>
            <a:off x="2408007" y="44379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8" name="object 42"/>
          <p:cNvSpPr/>
          <p:nvPr/>
        </p:nvSpPr>
        <p:spPr>
          <a:xfrm>
            <a:off x="5025578" y="369976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9" name="object 44"/>
          <p:cNvSpPr/>
          <p:nvPr/>
        </p:nvSpPr>
        <p:spPr>
          <a:xfrm>
            <a:off x="4837588" y="296815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0" name="object 46"/>
          <p:cNvSpPr/>
          <p:nvPr/>
        </p:nvSpPr>
        <p:spPr>
          <a:xfrm>
            <a:off x="4698983" y="33524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1" name="object 40"/>
          <p:cNvSpPr/>
          <p:nvPr/>
        </p:nvSpPr>
        <p:spPr>
          <a:xfrm>
            <a:off x="4490595" y="5309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2" name="object 38"/>
          <p:cNvSpPr/>
          <p:nvPr/>
        </p:nvSpPr>
        <p:spPr>
          <a:xfrm>
            <a:off x="6309840" y="26070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3" name="object 36"/>
          <p:cNvSpPr/>
          <p:nvPr/>
        </p:nvSpPr>
        <p:spPr>
          <a:xfrm>
            <a:off x="6662640" y="379011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6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7"/>
                </a:lnTo>
                <a:lnTo>
                  <a:pt x="310251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094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4" name="object 34"/>
          <p:cNvSpPr/>
          <p:nvPr/>
        </p:nvSpPr>
        <p:spPr>
          <a:xfrm>
            <a:off x="4315829" y="28709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5" name="object 32"/>
          <p:cNvSpPr/>
          <p:nvPr/>
        </p:nvSpPr>
        <p:spPr>
          <a:xfrm>
            <a:off x="6470207" y="198120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6" name="object 30"/>
          <p:cNvSpPr/>
          <p:nvPr/>
        </p:nvSpPr>
        <p:spPr>
          <a:xfrm>
            <a:off x="5479047" y="355789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7" name="object 28"/>
          <p:cNvSpPr/>
          <p:nvPr/>
        </p:nvSpPr>
        <p:spPr>
          <a:xfrm>
            <a:off x="4155464" y="571658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8" name="object 26"/>
          <p:cNvSpPr/>
          <p:nvPr/>
        </p:nvSpPr>
        <p:spPr>
          <a:xfrm>
            <a:off x="4859348" y="49095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9" name="object 24"/>
          <p:cNvSpPr/>
          <p:nvPr/>
        </p:nvSpPr>
        <p:spPr>
          <a:xfrm>
            <a:off x="2806145" y="390525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0" name="object 22"/>
          <p:cNvSpPr/>
          <p:nvPr/>
        </p:nvSpPr>
        <p:spPr>
          <a:xfrm>
            <a:off x="2530320" y="55944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1" name="object 20"/>
          <p:cNvSpPr/>
          <p:nvPr/>
        </p:nvSpPr>
        <p:spPr>
          <a:xfrm>
            <a:off x="3126876" y="443922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2" name="object 18"/>
          <p:cNvSpPr/>
          <p:nvPr/>
        </p:nvSpPr>
        <p:spPr>
          <a:xfrm>
            <a:off x="5991162" y="307897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3" name="object 6"/>
          <p:cNvSpPr txBox="1"/>
          <p:nvPr/>
        </p:nvSpPr>
        <p:spPr>
          <a:xfrm>
            <a:off x="609600" y="4147206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grpSp>
        <p:nvGrpSpPr>
          <p:cNvPr id="134" name="Group 133"/>
          <p:cNvGrpSpPr/>
          <p:nvPr/>
        </p:nvGrpSpPr>
        <p:grpSpPr>
          <a:xfrm>
            <a:off x="1660913" y="2276856"/>
            <a:ext cx="6303362" cy="4054670"/>
            <a:chOff x="2343901" y="1923700"/>
            <a:chExt cx="6303362" cy="4054670"/>
          </a:xfrm>
        </p:grpSpPr>
        <p:sp>
          <p:nvSpPr>
            <p:cNvPr id="135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136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  <p:sp>
        <p:nvSpPr>
          <p:cNvPr id="137" name="object 70"/>
          <p:cNvSpPr/>
          <p:nvPr/>
        </p:nvSpPr>
        <p:spPr>
          <a:xfrm>
            <a:off x="4859348" y="2899787"/>
            <a:ext cx="1771224" cy="274480"/>
          </a:xfrm>
          <a:custGeom>
            <a:avLst/>
            <a:gdLst/>
            <a:ahLst/>
            <a:cxnLst/>
            <a:rect l="l" t="t" r="r" b="b"/>
            <a:pathLst>
              <a:path w="226787" h="185432">
                <a:moveTo>
                  <a:pt x="226787" y="0"/>
                </a:moveTo>
                <a:lnTo>
                  <a:pt x="0" y="185432"/>
                </a:lnTo>
              </a:path>
            </a:pathLst>
          </a:custGeom>
          <a:ln w="38099">
            <a:solidFill>
              <a:srgbClr val="6094C9"/>
            </a:solidFill>
            <a:headEnd type="arrow"/>
            <a:tailEnd type="arrow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8" name="object 70"/>
          <p:cNvSpPr/>
          <p:nvPr/>
        </p:nvSpPr>
        <p:spPr>
          <a:xfrm>
            <a:off x="3126875" y="3174267"/>
            <a:ext cx="1762493" cy="1616623"/>
          </a:xfrm>
          <a:custGeom>
            <a:avLst/>
            <a:gdLst/>
            <a:ahLst/>
            <a:cxnLst/>
            <a:rect l="l" t="t" r="r" b="b"/>
            <a:pathLst>
              <a:path w="226787" h="185432">
                <a:moveTo>
                  <a:pt x="226787" y="0"/>
                </a:moveTo>
                <a:lnTo>
                  <a:pt x="0" y="185432"/>
                </a:lnTo>
              </a:path>
            </a:pathLst>
          </a:custGeom>
          <a:ln w="38099">
            <a:solidFill>
              <a:srgbClr val="6094C9"/>
            </a:solidFill>
            <a:headEnd type="arrow"/>
            <a:tailEnd type="arrow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9" name="object 70"/>
          <p:cNvSpPr/>
          <p:nvPr/>
        </p:nvSpPr>
        <p:spPr>
          <a:xfrm flipV="1">
            <a:off x="3118144" y="4798931"/>
            <a:ext cx="1719444" cy="913456"/>
          </a:xfrm>
          <a:custGeom>
            <a:avLst/>
            <a:gdLst/>
            <a:ahLst/>
            <a:cxnLst/>
            <a:rect l="l" t="t" r="r" b="b"/>
            <a:pathLst>
              <a:path w="226787" h="185432">
                <a:moveTo>
                  <a:pt x="226787" y="0"/>
                </a:moveTo>
                <a:lnTo>
                  <a:pt x="0" y="185432"/>
                </a:lnTo>
              </a:path>
            </a:pathLst>
          </a:custGeom>
          <a:ln w="38099">
            <a:solidFill>
              <a:srgbClr val="6094C9"/>
            </a:solidFill>
            <a:headEnd type="arrow"/>
            <a:tailEnd type="arrow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1" name="object 70"/>
          <p:cNvSpPr/>
          <p:nvPr/>
        </p:nvSpPr>
        <p:spPr>
          <a:xfrm>
            <a:off x="4846799" y="3048000"/>
            <a:ext cx="1757201" cy="2664387"/>
          </a:xfrm>
          <a:custGeom>
            <a:avLst/>
            <a:gdLst/>
            <a:ahLst/>
            <a:cxnLst/>
            <a:rect l="l" t="t" r="r" b="b"/>
            <a:pathLst>
              <a:path w="226787" h="185432">
                <a:moveTo>
                  <a:pt x="226787" y="0"/>
                </a:moveTo>
                <a:lnTo>
                  <a:pt x="0" y="185432"/>
                </a:lnTo>
              </a:path>
            </a:pathLst>
          </a:custGeom>
          <a:ln w="38099">
            <a:solidFill>
              <a:srgbClr val="6094C9"/>
            </a:solidFill>
            <a:headEnd type="arrow"/>
            <a:tailEnd type="arrow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9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" name="object 3"/>
          <p:cNvSpPr txBox="1"/>
          <p:nvPr/>
        </p:nvSpPr>
        <p:spPr>
          <a:xfrm>
            <a:off x="604887" y="533891"/>
            <a:ext cx="8234312" cy="381000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>
              <a:lnSpc>
                <a:spcPts val="3000"/>
              </a:lnSpc>
              <a:spcBef>
                <a:spcPts val="150"/>
              </a:spcBef>
            </a:pPr>
            <a:r>
              <a:rPr lang="en-US" sz="4200" baseline="1950" dirty="0" smtClean="0">
                <a:solidFill>
                  <a:srgbClr val="4E81BC"/>
                </a:solidFill>
                <a:latin typeface="+mj-lt"/>
                <a:cs typeface="Calibri"/>
              </a:rPr>
              <a:t>linkage </a:t>
            </a:r>
            <a:r>
              <a:rPr lang="en-US" sz="4200" baseline="1950" dirty="0">
                <a:solidFill>
                  <a:srgbClr val="4E81BC"/>
                </a:solidFill>
                <a:latin typeface="+mj-lt"/>
                <a:cs typeface="Calibri"/>
              </a:rPr>
              <a:t>= </a:t>
            </a:r>
            <a:r>
              <a:rPr lang="en-US" sz="4200" baseline="1950" dirty="0" smtClean="0">
                <a:solidFill>
                  <a:srgbClr val="4E81BC"/>
                </a:solidFill>
                <a:latin typeface="+mj-lt"/>
                <a:cs typeface="Calibri"/>
              </a:rPr>
              <a:t>“average”</a:t>
            </a:r>
            <a:endParaRPr sz="2800" dirty="0">
              <a:latin typeface="+mj-lt"/>
              <a:cs typeface="Calibri"/>
            </a:endParaRPr>
          </a:p>
        </p:txBody>
      </p:sp>
      <p:sp>
        <p:nvSpPr>
          <p:cNvPr id="104" name="object 13"/>
          <p:cNvSpPr txBox="1"/>
          <p:nvPr/>
        </p:nvSpPr>
        <p:spPr>
          <a:xfrm>
            <a:off x="604886" y="999752"/>
            <a:ext cx="8234313" cy="905248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>
              <a:lnSpc>
                <a:spcPts val="3400"/>
              </a:lnSpc>
              <a:spcBef>
                <a:spcPts val="170"/>
              </a:spcBef>
            </a:pPr>
            <a:r>
              <a:rPr lang="en-US" sz="4200" spc="0" baseline="1706" dirty="0" smtClean="0">
                <a:solidFill>
                  <a:srgbClr val="7F7E7E"/>
                </a:solidFill>
                <a:latin typeface="+mj-lt"/>
                <a:cs typeface="Calibri"/>
              </a:rPr>
              <a:t>Distance between two cluster is average of all pairwise distance</a:t>
            </a:r>
            <a:endParaRPr sz="4200" dirty="0">
              <a:solidFill>
                <a:srgbClr val="7F7E7E"/>
              </a:solidFill>
              <a:latin typeface="+mj-lt"/>
              <a:cs typeface="Calibri"/>
            </a:endParaRPr>
          </a:p>
        </p:txBody>
      </p:sp>
      <p:sp>
        <p:nvSpPr>
          <p:cNvPr id="105" name="object 82"/>
          <p:cNvSpPr/>
          <p:nvPr/>
        </p:nvSpPr>
        <p:spPr>
          <a:xfrm>
            <a:off x="3691847" y="5875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6" name="object 84"/>
          <p:cNvSpPr/>
          <p:nvPr/>
        </p:nvSpPr>
        <p:spPr>
          <a:xfrm>
            <a:off x="4677222" y="590921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7" name="object 86"/>
          <p:cNvSpPr/>
          <p:nvPr/>
        </p:nvSpPr>
        <p:spPr>
          <a:xfrm>
            <a:off x="5529026" y="589026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8" name="object 74"/>
          <p:cNvSpPr/>
          <p:nvPr/>
        </p:nvSpPr>
        <p:spPr>
          <a:xfrm>
            <a:off x="1945944" y="558313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9" name="object 72"/>
          <p:cNvSpPr/>
          <p:nvPr/>
        </p:nvSpPr>
        <p:spPr>
          <a:xfrm>
            <a:off x="5236841" y="2905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40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80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0" name="object 70"/>
          <p:cNvSpPr/>
          <p:nvPr/>
        </p:nvSpPr>
        <p:spPr>
          <a:xfrm>
            <a:off x="4837588" y="252356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1" name="object 68"/>
          <p:cNvSpPr/>
          <p:nvPr/>
        </p:nvSpPr>
        <p:spPr>
          <a:xfrm>
            <a:off x="4425503" y="211104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2" name="object 66"/>
          <p:cNvSpPr/>
          <p:nvPr/>
        </p:nvSpPr>
        <p:spPr>
          <a:xfrm>
            <a:off x="6149478" y="380010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094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3" name="object 63"/>
          <p:cNvSpPr/>
          <p:nvPr/>
        </p:nvSpPr>
        <p:spPr>
          <a:xfrm>
            <a:off x="5158317" y="54094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6"/>
                </a:lnTo>
                <a:lnTo>
                  <a:pt x="1583" y="198179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6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2"/>
                </a:lnTo>
                <a:lnTo>
                  <a:pt x="49876" y="299561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6"/>
                </a:lnTo>
                <a:lnTo>
                  <a:pt x="196530" y="342926"/>
                </a:lnTo>
                <a:lnTo>
                  <a:pt x="209650" y="339004"/>
                </a:lnTo>
                <a:lnTo>
                  <a:pt x="222295" y="333936"/>
                </a:lnTo>
                <a:lnTo>
                  <a:pt x="234413" y="327778"/>
                </a:lnTo>
                <a:lnTo>
                  <a:pt x="245953" y="320583"/>
                </a:lnTo>
                <a:lnTo>
                  <a:pt x="256864" y="312409"/>
                </a:lnTo>
                <a:lnTo>
                  <a:pt x="267095" y="303311"/>
                </a:lnTo>
                <a:lnTo>
                  <a:pt x="276595" y="293343"/>
                </a:lnTo>
                <a:lnTo>
                  <a:pt x="285312" y="282562"/>
                </a:lnTo>
                <a:lnTo>
                  <a:pt x="293195" y="271023"/>
                </a:lnTo>
                <a:lnTo>
                  <a:pt x="300193" y="258781"/>
                </a:lnTo>
                <a:lnTo>
                  <a:pt x="306255" y="245892"/>
                </a:lnTo>
                <a:lnTo>
                  <a:pt x="311330" y="232411"/>
                </a:lnTo>
                <a:lnTo>
                  <a:pt x="315366" y="218394"/>
                </a:lnTo>
                <a:lnTo>
                  <a:pt x="318312" y="203896"/>
                </a:lnTo>
                <a:lnTo>
                  <a:pt x="320117" y="188973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9" y="93485"/>
                </a:lnTo>
                <a:lnTo>
                  <a:pt x="296006" y="80986"/>
                </a:lnTo>
                <a:lnTo>
                  <a:pt x="288459" y="69169"/>
                </a:lnTo>
                <a:lnTo>
                  <a:pt x="280058" y="58089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4"/>
                </a:lnTo>
                <a:lnTo>
                  <a:pt x="86318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4" name="object 62"/>
          <p:cNvSpPr/>
          <p:nvPr/>
        </p:nvSpPr>
        <p:spPr>
          <a:xfrm>
            <a:off x="3604437" y="388180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5" name="object 60"/>
          <p:cNvSpPr/>
          <p:nvPr/>
        </p:nvSpPr>
        <p:spPr>
          <a:xfrm>
            <a:off x="2728738" y="495895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6" name="object 58"/>
          <p:cNvSpPr/>
          <p:nvPr/>
        </p:nvSpPr>
        <p:spPr>
          <a:xfrm>
            <a:off x="6790937" y="243336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7" name="object 56"/>
          <p:cNvSpPr/>
          <p:nvPr/>
        </p:nvSpPr>
        <p:spPr>
          <a:xfrm>
            <a:off x="5830796" y="23498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8" name="object 54"/>
          <p:cNvSpPr/>
          <p:nvPr/>
        </p:nvSpPr>
        <p:spPr>
          <a:xfrm>
            <a:off x="6630572" y="314183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9" name="object 52"/>
          <p:cNvSpPr/>
          <p:nvPr/>
        </p:nvSpPr>
        <p:spPr>
          <a:xfrm>
            <a:off x="3973599" y="450879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0" name="object 50"/>
          <p:cNvSpPr/>
          <p:nvPr/>
        </p:nvSpPr>
        <p:spPr>
          <a:xfrm>
            <a:off x="3718772" y="50002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1" name="object 48"/>
          <p:cNvSpPr/>
          <p:nvPr/>
        </p:nvSpPr>
        <p:spPr>
          <a:xfrm>
            <a:off x="2408007" y="44379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2" name="object 42"/>
          <p:cNvSpPr/>
          <p:nvPr/>
        </p:nvSpPr>
        <p:spPr>
          <a:xfrm>
            <a:off x="5025578" y="369976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3" name="object 44"/>
          <p:cNvSpPr/>
          <p:nvPr/>
        </p:nvSpPr>
        <p:spPr>
          <a:xfrm>
            <a:off x="4837588" y="296815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4" name="object 46"/>
          <p:cNvSpPr/>
          <p:nvPr/>
        </p:nvSpPr>
        <p:spPr>
          <a:xfrm>
            <a:off x="4698983" y="33524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5" name="object 40"/>
          <p:cNvSpPr/>
          <p:nvPr/>
        </p:nvSpPr>
        <p:spPr>
          <a:xfrm>
            <a:off x="4490595" y="5309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6" name="object 38"/>
          <p:cNvSpPr/>
          <p:nvPr/>
        </p:nvSpPr>
        <p:spPr>
          <a:xfrm>
            <a:off x="6309840" y="26070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7" name="object 36"/>
          <p:cNvSpPr/>
          <p:nvPr/>
        </p:nvSpPr>
        <p:spPr>
          <a:xfrm>
            <a:off x="6662640" y="379011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6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7"/>
                </a:lnTo>
                <a:lnTo>
                  <a:pt x="310251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094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8" name="object 34"/>
          <p:cNvSpPr/>
          <p:nvPr/>
        </p:nvSpPr>
        <p:spPr>
          <a:xfrm>
            <a:off x="4315829" y="28709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9" name="object 32"/>
          <p:cNvSpPr/>
          <p:nvPr/>
        </p:nvSpPr>
        <p:spPr>
          <a:xfrm>
            <a:off x="6470207" y="198120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0" name="object 30"/>
          <p:cNvSpPr/>
          <p:nvPr/>
        </p:nvSpPr>
        <p:spPr>
          <a:xfrm>
            <a:off x="5479047" y="355789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1" name="object 28"/>
          <p:cNvSpPr/>
          <p:nvPr/>
        </p:nvSpPr>
        <p:spPr>
          <a:xfrm>
            <a:off x="4155464" y="571658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2" name="object 26"/>
          <p:cNvSpPr/>
          <p:nvPr/>
        </p:nvSpPr>
        <p:spPr>
          <a:xfrm>
            <a:off x="4859348" y="49095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3" name="object 24"/>
          <p:cNvSpPr/>
          <p:nvPr/>
        </p:nvSpPr>
        <p:spPr>
          <a:xfrm>
            <a:off x="2806145" y="390525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4" name="object 22"/>
          <p:cNvSpPr/>
          <p:nvPr/>
        </p:nvSpPr>
        <p:spPr>
          <a:xfrm>
            <a:off x="2530320" y="55944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5" name="object 20"/>
          <p:cNvSpPr/>
          <p:nvPr/>
        </p:nvSpPr>
        <p:spPr>
          <a:xfrm>
            <a:off x="3126876" y="443922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6" name="object 18"/>
          <p:cNvSpPr/>
          <p:nvPr/>
        </p:nvSpPr>
        <p:spPr>
          <a:xfrm>
            <a:off x="5991162" y="307897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7" name="object 6"/>
          <p:cNvSpPr txBox="1"/>
          <p:nvPr/>
        </p:nvSpPr>
        <p:spPr>
          <a:xfrm>
            <a:off x="609600" y="4147206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grpSp>
        <p:nvGrpSpPr>
          <p:cNvPr id="138" name="Group 137"/>
          <p:cNvGrpSpPr/>
          <p:nvPr/>
        </p:nvGrpSpPr>
        <p:grpSpPr>
          <a:xfrm>
            <a:off x="1660913" y="2276856"/>
            <a:ext cx="6303362" cy="4054670"/>
            <a:chOff x="2343901" y="1923700"/>
            <a:chExt cx="6303362" cy="4054670"/>
          </a:xfrm>
        </p:grpSpPr>
        <p:sp>
          <p:nvSpPr>
            <p:cNvPr id="139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140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  <p:sp>
        <p:nvSpPr>
          <p:cNvPr id="141" name="object 70"/>
          <p:cNvSpPr/>
          <p:nvPr/>
        </p:nvSpPr>
        <p:spPr>
          <a:xfrm>
            <a:off x="4859348" y="2899787"/>
            <a:ext cx="1771224" cy="274480"/>
          </a:xfrm>
          <a:custGeom>
            <a:avLst/>
            <a:gdLst/>
            <a:ahLst/>
            <a:cxnLst/>
            <a:rect l="l" t="t" r="r" b="b"/>
            <a:pathLst>
              <a:path w="226787" h="185432">
                <a:moveTo>
                  <a:pt x="226787" y="0"/>
                </a:moveTo>
                <a:lnTo>
                  <a:pt x="0" y="185432"/>
                </a:lnTo>
              </a:path>
            </a:pathLst>
          </a:custGeom>
          <a:ln w="38099">
            <a:solidFill>
              <a:srgbClr val="6094C9"/>
            </a:solidFill>
            <a:headEnd type="arrow"/>
            <a:tailEnd type="arrow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2" name="object 70"/>
          <p:cNvSpPr/>
          <p:nvPr/>
        </p:nvSpPr>
        <p:spPr>
          <a:xfrm>
            <a:off x="3126875" y="3174267"/>
            <a:ext cx="1762493" cy="1616623"/>
          </a:xfrm>
          <a:custGeom>
            <a:avLst/>
            <a:gdLst/>
            <a:ahLst/>
            <a:cxnLst/>
            <a:rect l="l" t="t" r="r" b="b"/>
            <a:pathLst>
              <a:path w="226787" h="185432">
                <a:moveTo>
                  <a:pt x="226787" y="0"/>
                </a:moveTo>
                <a:lnTo>
                  <a:pt x="0" y="185432"/>
                </a:lnTo>
              </a:path>
            </a:pathLst>
          </a:custGeom>
          <a:ln w="38099">
            <a:solidFill>
              <a:srgbClr val="6094C9"/>
            </a:solidFill>
            <a:headEnd type="arrow"/>
            <a:tailEnd type="arrow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3" name="object 70"/>
          <p:cNvSpPr/>
          <p:nvPr/>
        </p:nvSpPr>
        <p:spPr>
          <a:xfrm flipV="1">
            <a:off x="3118144" y="4798931"/>
            <a:ext cx="1719444" cy="913456"/>
          </a:xfrm>
          <a:custGeom>
            <a:avLst/>
            <a:gdLst/>
            <a:ahLst/>
            <a:cxnLst/>
            <a:rect l="l" t="t" r="r" b="b"/>
            <a:pathLst>
              <a:path w="226787" h="185432">
                <a:moveTo>
                  <a:pt x="226787" y="0"/>
                </a:moveTo>
                <a:lnTo>
                  <a:pt x="0" y="185432"/>
                </a:lnTo>
              </a:path>
            </a:pathLst>
          </a:custGeom>
          <a:ln w="38099">
            <a:solidFill>
              <a:srgbClr val="6094C9"/>
            </a:solidFill>
            <a:headEnd type="arrow"/>
            <a:tailEnd type="arrow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4" name="object 70"/>
          <p:cNvSpPr/>
          <p:nvPr/>
        </p:nvSpPr>
        <p:spPr>
          <a:xfrm>
            <a:off x="4846799" y="3048000"/>
            <a:ext cx="1757201" cy="2664387"/>
          </a:xfrm>
          <a:custGeom>
            <a:avLst/>
            <a:gdLst/>
            <a:ahLst/>
            <a:cxnLst/>
            <a:rect l="l" t="t" r="r" b="b"/>
            <a:pathLst>
              <a:path w="226787" h="185432">
                <a:moveTo>
                  <a:pt x="226787" y="0"/>
                </a:moveTo>
                <a:lnTo>
                  <a:pt x="0" y="185432"/>
                </a:lnTo>
              </a:path>
            </a:pathLst>
          </a:custGeom>
          <a:ln w="38099">
            <a:solidFill>
              <a:srgbClr val="6094C9"/>
            </a:solidFill>
            <a:headEnd type="arrow"/>
            <a:tailEnd type="arrow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5" name="object 70"/>
          <p:cNvSpPr/>
          <p:nvPr/>
        </p:nvSpPr>
        <p:spPr>
          <a:xfrm>
            <a:off x="4850897" y="3306736"/>
            <a:ext cx="62071" cy="2276399"/>
          </a:xfrm>
          <a:custGeom>
            <a:avLst/>
            <a:gdLst/>
            <a:ahLst/>
            <a:cxnLst/>
            <a:rect l="l" t="t" r="r" b="b"/>
            <a:pathLst>
              <a:path w="226787" h="185432">
                <a:moveTo>
                  <a:pt x="226787" y="0"/>
                </a:moveTo>
                <a:lnTo>
                  <a:pt x="0" y="185432"/>
                </a:lnTo>
              </a:path>
            </a:pathLst>
          </a:custGeom>
          <a:ln w="38099">
            <a:solidFill>
              <a:srgbClr val="6094C9"/>
            </a:solidFill>
            <a:headEnd type="arrow"/>
            <a:tailEnd type="arrow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9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6" name="object 3"/>
          <p:cNvSpPr txBox="1"/>
          <p:nvPr/>
        </p:nvSpPr>
        <p:spPr>
          <a:xfrm>
            <a:off x="604887" y="533891"/>
            <a:ext cx="8234312" cy="3810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3000"/>
              </a:lnSpc>
              <a:spcBef>
                <a:spcPts val="150"/>
              </a:spcBef>
            </a:pPr>
            <a:r>
              <a:rPr lang="en-US" sz="4200" baseline="1950" dirty="0" smtClean="0">
                <a:solidFill>
                  <a:srgbClr val="4E81BC"/>
                </a:solidFill>
                <a:latin typeface="+mj-lt"/>
                <a:cs typeface="Calibri"/>
              </a:rPr>
              <a:t>linkage </a:t>
            </a:r>
            <a:r>
              <a:rPr lang="en-US" sz="4200" baseline="1950" dirty="0">
                <a:solidFill>
                  <a:srgbClr val="4E81BC"/>
                </a:solidFill>
                <a:latin typeface="+mj-lt"/>
                <a:cs typeface="Calibri"/>
              </a:rPr>
              <a:t>= </a:t>
            </a:r>
            <a:r>
              <a:rPr lang="en-US" sz="4200" baseline="1950" dirty="0" smtClean="0">
                <a:solidFill>
                  <a:srgbClr val="4E81BC"/>
                </a:solidFill>
                <a:latin typeface="+mj-lt"/>
                <a:cs typeface="Calibri"/>
              </a:rPr>
              <a:t>“average”</a:t>
            </a:r>
            <a:endParaRPr sz="2800" dirty="0">
              <a:latin typeface="+mj-lt"/>
              <a:cs typeface="Calibri"/>
            </a:endParaRPr>
          </a:p>
        </p:txBody>
      </p:sp>
      <p:sp>
        <p:nvSpPr>
          <p:cNvPr id="108" name="object 13"/>
          <p:cNvSpPr txBox="1"/>
          <p:nvPr/>
        </p:nvSpPr>
        <p:spPr>
          <a:xfrm>
            <a:off x="604886" y="999752"/>
            <a:ext cx="8234313" cy="428322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>
              <a:lnSpc>
                <a:spcPts val="3000"/>
              </a:lnSpc>
              <a:spcBef>
                <a:spcPts val="150"/>
              </a:spcBef>
            </a:pPr>
            <a:r>
              <a:rPr lang="en-US" sz="4200" baseline="1950" dirty="0" smtClean="0">
                <a:solidFill>
                  <a:srgbClr val="F69545"/>
                </a:solidFill>
                <a:latin typeface="+mj-lt"/>
                <a:cs typeface="Calibri"/>
              </a:rPr>
              <a:t>Slower. No chains. Not</a:t>
            </a:r>
            <a:r>
              <a:rPr lang="en-US" sz="4200" dirty="0" smtClean="0">
                <a:solidFill>
                  <a:srgbClr val="F69545"/>
                </a:solidFill>
                <a:latin typeface="+mj-lt"/>
                <a:cs typeface="Calibri"/>
              </a:rPr>
              <a:t> </a:t>
            </a:r>
            <a:r>
              <a:rPr lang="en-US" sz="4200" baseline="1950" dirty="0" smtClean="0">
                <a:solidFill>
                  <a:srgbClr val="F69545"/>
                </a:solidFill>
                <a:latin typeface="+mj-lt"/>
                <a:cs typeface="Calibri"/>
              </a:rPr>
              <a:t>sensitive to outliers</a:t>
            </a:r>
            <a:r>
              <a:rPr lang="en-US" sz="4200" baseline="1950" dirty="0">
                <a:solidFill>
                  <a:srgbClr val="F69545"/>
                </a:solidFill>
                <a:latin typeface="+mj-lt"/>
                <a:cs typeface="Calibri"/>
              </a:rPr>
              <a:t>.</a:t>
            </a:r>
            <a:endParaRPr lang="en-US" sz="2800" dirty="0">
              <a:latin typeface="+mj-lt"/>
              <a:cs typeface="Calibri"/>
            </a:endParaRPr>
          </a:p>
        </p:txBody>
      </p:sp>
      <p:sp>
        <p:nvSpPr>
          <p:cNvPr id="107" name="object 82"/>
          <p:cNvSpPr/>
          <p:nvPr/>
        </p:nvSpPr>
        <p:spPr>
          <a:xfrm>
            <a:off x="3691847" y="5875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9" name="object 84"/>
          <p:cNvSpPr/>
          <p:nvPr/>
        </p:nvSpPr>
        <p:spPr>
          <a:xfrm>
            <a:off x="4677222" y="590921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0" name="object 86"/>
          <p:cNvSpPr/>
          <p:nvPr/>
        </p:nvSpPr>
        <p:spPr>
          <a:xfrm>
            <a:off x="5529026" y="589026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1" name="object 74"/>
          <p:cNvSpPr/>
          <p:nvPr/>
        </p:nvSpPr>
        <p:spPr>
          <a:xfrm>
            <a:off x="1945944" y="558313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2" name="object 72"/>
          <p:cNvSpPr/>
          <p:nvPr/>
        </p:nvSpPr>
        <p:spPr>
          <a:xfrm>
            <a:off x="5236841" y="2905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40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80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3" name="object 70"/>
          <p:cNvSpPr/>
          <p:nvPr/>
        </p:nvSpPr>
        <p:spPr>
          <a:xfrm>
            <a:off x="4837588" y="252356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4" name="object 68"/>
          <p:cNvSpPr/>
          <p:nvPr/>
        </p:nvSpPr>
        <p:spPr>
          <a:xfrm>
            <a:off x="4425503" y="211104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5" name="object 66"/>
          <p:cNvSpPr/>
          <p:nvPr/>
        </p:nvSpPr>
        <p:spPr>
          <a:xfrm>
            <a:off x="6149478" y="380010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094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6" name="object 63"/>
          <p:cNvSpPr/>
          <p:nvPr/>
        </p:nvSpPr>
        <p:spPr>
          <a:xfrm>
            <a:off x="5158317" y="54094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6"/>
                </a:lnTo>
                <a:lnTo>
                  <a:pt x="1583" y="198179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6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2"/>
                </a:lnTo>
                <a:lnTo>
                  <a:pt x="49876" y="299561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6"/>
                </a:lnTo>
                <a:lnTo>
                  <a:pt x="196530" y="342926"/>
                </a:lnTo>
                <a:lnTo>
                  <a:pt x="209650" y="339004"/>
                </a:lnTo>
                <a:lnTo>
                  <a:pt x="222295" y="333936"/>
                </a:lnTo>
                <a:lnTo>
                  <a:pt x="234413" y="327778"/>
                </a:lnTo>
                <a:lnTo>
                  <a:pt x="245953" y="320583"/>
                </a:lnTo>
                <a:lnTo>
                  <a:pt x="256864" y="312409"/>
                </a:lnTo>
                <a:lnTo>
                  <a:pt x="267095" y="303311"/>
                </a:lnTo>
                <a:lnTo>
                  <a:pt x="276595" y="293343"/>
                </a:lnTo>
                <a:lnTo>
                  <a:pt x="285312" y="282562"/>
                </a:lnTo>
                <a:lnTo>
                  <a:pt x="293195" y="271023"/>
                </a:lnTo>
                <a:lnTo>
                  <a:pt x="300193" y="258781"/>
                </a:lnTo>
                <a:lnTo>
                  <a:pt x="306255" y="245892"/>
                </a:lnTo>
                <a:lnTo>
                  <a:pt x="311330" y="232411"/>
                </a:lnTo>
                <a:lnTo>
                  <a:pt x="315366" y="218394"/>
                </a:lnTo>
                <a:lnTo>
                  <a:pt x="318312" y="203896"/>
                </a:lnTo>
                <a:lnTo>
                  <a:pt x="320117" y="188973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9" y="93485"/>
                </a:lnTo>
                <a:lnTo>
                  <a:pt x="296006" y="80986"/>
                </a:lnTo>
                <a:lnTo>
                  <a:pt x="288459" y="69169"/>
                </a:lnTo>
                <a:lnTo>
                  <a:pt x="280058" y="58089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4"/>
                </a:lnTo>
                <a:lnTo>
                  <a:pt x="86318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7" name="object 62"/>
          <p:cNvSpPr/>
          <p:nvPr/>
        </p:nvSpPr>
        <p:spPr>
          <a:xfrm>
            <a:off x="3604437" y="388180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8" name="object 60"/>
          <p:cNvSpPr/>
          <p:nvPr/>
        </p:nvSpPr>
        <p:spPr>
          <a:xfrm>
            <a:off x="2728738" y="495895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9" name="object 58"/>
          <p:cNvSpPr/>
          <p:nvPr/>
        </p:nvSpPr>
        <p:spPr>
          <a:xfrm>
            <a:off x="6790937" y="243336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0" name="object 56"/>
          <p:cNvSpPr/>
          <p:nvPr/>
        </p:nvSpPr>
        <p:spPr>
          <a:xfrm>
            <a:off x="5830796" y="23498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1" name="object 54"/>
          <p:cNvSpPr/>
          <p:nvPr/>
        </p:nvSpPr>
        <p:spPr>
          <a:xfrm>
            <a:off x="6630572" y="314183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2" name="object 52"/>
          <p:cNvSpPr/>
          <p:nvPr/>
        </p:nvSpPr>
        <p:spPr>
          <a:xfrm>
            <a:off x="3973599" y="450879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3" name="object 50"/>
          <p:cNvSpPr/>
          <p:nvPr/>
        </p:nvSpPr>
        <p:spPr>
          <a:xfrm>
            <a:off x="3718772" y="50002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4" name="object 48"/>
          <p:cNvSpPr/>
          <p:nvPr/>
        </p:nvSpPr>
        <p:spPr>
          <a:xfrm>
            <a:off x="2408007" y="44379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5" name="object 42"/>
          <p:cNvSpPr/>
          <p:nvPr/>
        </p:nvSpPr>
        <p:spPr>
          <a:xfrm>
            <a:off x="5025578" y="369976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6" name="object 44"/>
          <p:cNvSpPr/>
          <p:nvPr/>
        </p:nvSpPr>
        <p:spPr>
          <a:xfrm>
            <a:off x="4837588" y="296815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7" name="object 46"/>
          <p:cNvSpPr/>
          <p:nvPr/>
        </p:nvSpPr>
        <p:spPr>
          <a:xfrm>
            <a:off x="4698983" y="33524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8" name="object 40"/>
          <p:cNvSpPr/>
          <p:nvPr/>
        </p:nvSpPr>
        <p:spPr>
          <a:xfrm>
            <a:off x="4490595" y="5309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9" name="object 38"/>
          <p:cNvSpPr/>
          <p:nvPr/>
        </p:nvSpPr>
        <p:spPr>
          <a:xfrm>
            <a:off x="6309840" y="26070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0" name="object 36"/>
          <p:cNvSpPr/>
          <p:nvPr/>
        </p:nvSpPr>
        <p:spPr>
          <a:xfrm>
            <a:off x="6662640" y="379011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6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7"/>
                </a:lnTo>
                <a:lnTo>
                  <a:pt x="310251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094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1" name="object 34"/>
          <p:cNvSpPr/>
          <p:nvPr/>
        </p:nvSpPr>
        <p:spPr>
          <a:xfrm>
            <a:off x="4315829" y="28709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2" name="object 32"/>
          <p:cNvSpPr/>
          <p:nvPr/>
        </p:nvSpPr>
        <p:spPr>
          <a:xfrm>
            <a:off x="6470207" y="198120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3" name="object 30"/>
          <p:cNvSpPr/>
          <p:nvPr/>
        </p:nvSpPr>
        <p:spPr>
          <a:xfrm>
            <a:off x="5479047" y="355789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4" name="object 28"/>
          <p:cNvSpPr/>
          <p:nvPr/>
        </p:nvSpPr>
        <p:spPr>
          <a:xfrm>
            <a:off x="4155464" y="571658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5" name="object 26"/>
          <p:cNvSpPr/>
          <p:nvPr/>
        </p:nvSpPr>
        <p:spPr>
          <a:xfrm>
            <a:off x="4859348" y="49095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6" name="object 24"/>
          <p:cNvSpPr/>
          <p:nvPr/>
        </p:nvSpPr>
        <p:spPr>
          <a:xfrm>
            <a:off x="2806145" y="390525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7" name="object 22"/>
          <p:cNvSpPr/>
          <p:nvPr/>
        </p:nvSpPr>
        <p:spPr>
          <a:xfrm>
            <a:off x="2530320" y="55944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8" name="object 20"/>
          <p:cNvSpPr/>
          <p:nvPr/>
        </p:nvSpPr>
        <p:spPr>
          <a:xfrm>
            <a:off x="3126876" y="443922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9" name="object 18"/>
          <p:cNvSpPr/>
          <p:nvPr/>
        </p:nvSpPr>
        <p:spPr>
          <a:xfrm>
            <a:off x="5991162" y="307897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0" name="object 6"/>
          <p:cNvSpPr txBox="1"/>
          <p:nvPr/>
        </p:nvSpPr>
        <p:spPr>
          <a:xfrm>
            <a:off x="609600" y="4147206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grpSp>
        <p:nvGrpSpPr>
          <p:cNvPr id="141" name="Group 140"/>
          <p:cNvGrpSpPr/>
          <p:nvPr/>
        </p:nvGrpSpPr>
        <p:grpSpPr>
          <a:xfrm>
            <a:off x="1660913" y="2276856"/>
            <a:ext cx="6303362" cy="4054670"/>
            <a:chOff x="2343901" y="1923700"/>
            <a:chExt cx="6303362" cy="4054670"/>
          </a:xfrm>
        </p:grpSpPr>
        <p:sp>
          <p:nvSpPr>
            <p:cNvPr id="142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143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  <p:sp>
        <p:nvSpPr>
          <p:cNvPr id="144" name="object 70"/>
          <p:cNvSpPr/>
          <p:nvPr/>
        </p:nvSpPr>
        <p:spPr>
          <a:xfrm>
            <a:off x="4859348" y="2899787"/>
            <a:ext cx="1771224" cy="274480"/>
          </a:xfrm>
          <a:custGeom>
            <a:avLst/>
            <a:gdLst/>
            <a:ahLst/>
            <a:cxnLst/>
            <a:rect l="l" t="t" r="r" b="b"/>
            <a:pathLst>
              <a:path w="226787" h="185432">
                <a:moveTo>
                  <a:pt x="226787" y="0"/>
                </a:moveTo>
                <a:lnTo>
                  <a:pt x="0" y="185432"/>
                </a:lnTo>
              </a:path>
            </a:pathLst>
          </a:custGeom>
          <a:ln w="38099">
            <a:solidFill>
              <a:srgbClr val="6094C9"/>
            </a:solidFill>
            <a:headEnd type="arrow"/>
            <a:tailEnd type="arrow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5" name="object 70"/>
          <p:cNvSpPr/>
          <p:nvPr/>
        </p:nvSpPr>
        <p:spPr>
          <a:xfrm>
            <a:off x="3126875" y="3174267"/>
            <a:ext cx="1762493" cy="1616623"/>
          </a:xfrm>
          <a:custGeom>
            <a:avLst/>
            <a:gdLst/>
            <a:ahLst/>
            <a:cxnLst/>
            <a:rect l="l" t="t" r="r" b="b"/>
            <a:pathLst>
              <a:path w="226787" h="185432">
                <a:moveTo>
                  <a:pt x="226787" y="0"/>
                </a:moveTo>
                <a:lnTo>
                  <a:pt x="0" y="185432"/>
                </a:lnTo>
              </a:path>
            </a:pathLst>
          </a:custGeom>
          <a:ln w="38099">
            <a:solidFill>
              <a:srgbClr val="6094C9"/>
            </a:solidFill>
            <a:headEnd type="arrow"/>
            <a:tailEnd type="arrow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6" name="object 70"/>
          <p:cNvSpPr/>
          <p:nvPr/>
        </p:nvSpPr>
        <p:spPr>
          <a:xfrm flipV="1">
            <a:off x="3118144" y="4798931"/>
            <a:ext cx="1719444" cy="913456"/>
          </a:xfrm>
          <a:custGeom>
            <a:avLst/>
            <a:gdLst/>
            <a:ahLst/>
            <a:cxnLst/>
            <a:rect l="l" t="t" r="r" b="b"/>
            <a:pathLst>
              <a:path w="226787" h="185432">
                <a:moveTo>
                  <a:pt x="226787" y="0"/>
                </a:moveTo>
                <a:lnTo>
                  <a:pt x="0" y="185432"/>
                </a:lnTo>
              </a:path>
            </a:pathLst>
          </a:custGeom>
          <a:ln w="38099">
            <a:solidFill>
              <a:srgbClr val="6094C9"/>
            </a:solidFill>
            <a:headEnd type="arrow"/>
            <a:tailEnd type="arrow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7" name="object 70"/>
          <p:cNvSpPr/>
          <p:nvPr/>
        </p:nvSpPr>
        <p:spPr>
          <a:xfrm>
            <a:off x="4846799" y="3048000"/>
            <a:ext cx="1757201" cy="2664387"/>
          </a:xfrm>
          <a:custGeom>
            <a:avLst/>
            <a:gdLst/>
            <a:ahLst/>
            <a:cxnLst/>
            <a:rect l="l" t="t" r="r" b="b"/>
            <a:pathLst>
              <a:path w="226787" h="185432">
                <a:moveTo>
                  <a:pt x="226787" y="0"/>
                </a:moveTo>
                <a:lnTo>
                  <a:pt x="0" y="185432"/>
                </a:lnTo>
              </a:path>
            </a:pathLst>
          </a:custGeom>
          <a:ln w="38099">
            <a:solidFill>
              <a:srgbClr val="6094C9"/>
            </a:solidFill>
            <a:headEnd type="arrow"/>
            <a:tailEnd type="arrow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8" name="object 70"/>
          <p:cNvSpPr/>
          <p:nvPr/>
        </p:nvSpPr>
        <p:spPr>
          <a:xfrm>
            <a:off x="4850897" y="3306736"/>
            <a:ext cx="62071" cy="2276399"/>
          </a:xfrm>
          <a:custGeom>
            <a:avLst/>
            <a:gdLst/>
            <a:ahLst/>
            <a:cxnLst/>
            <a:rect l="l" t="t" r="r" b="b"/>
            <a:pathLst>
              <a:path w="226787" h="185432">
                <a:moveTo>
                  <a:pt x="226787" y="0"/>
                </a:moveTo>
                <a:lnTo>
                  <a:pt x="0" y="185432"/>
                </a:lnTo>
              </a:path>
            </a:pathLst>
          </a:custGeom>
          <a:ln w="38099">
            <a:solidFill>
              <a:srgbClr val="6094C9"/>
            </a:solidFill>
            <a:headEnd type="arrow"/>
            <a:tailEnd type="arrow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9" name="object 70"/>
          <p:cNvSpPr/>
          <p:nvPr/>
        </p:nvSpPr>
        <p:spPr>
          <a:xfrm>
            <a:off x="3393969" y="3048000"/>
            <a:ext cx="3076238" cy="1806046"/>
          </a:xfrm>
          <a:custGeom>
            <a:avLst/>
            <a:gdLst/>
            <a:ahLst/>
            <a:cxnLst/>
            <a:rect l="l" t="t" r="r" b="b"/>
            <a:pathLst>
              <a:path w="226787" h="185432">
                <a:moveTo>
                  <a:pt x="226787" y="0"/>
                </a:moveTo>
                <a:lnTo>
                  <a:pt x="0" y="185432"/>
                </a:lnTo>
              </a:path>
            </a:pathLst>
          </a:custGeom>
          <a:ln w="38099">
            <a:solidFill>
              <a:srgbClr val="6094C9"/>
            </a:solidFill>
            <a:headEnd type="arrow"/>
            <a:tailEnd type="arrow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9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" name="object 3"/>
          <p:cNvSpPr txBox="1"/>
          <p:nvPr/>
        </p:nvSpPr>
        <p:spPr>
          <a:xfrm>
            <a:off x="604887" y="533891"/>
            <a:ext cx="8234312" cy="3810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3000"/>
              </a:lnSpc>
              <a:spcBef>
                <a:spcPts val="150"/>
              </a:spcBef>
            </a:pPr>
            <a:r>
              <a:rPr lang="en-US" sz="4200" baseline="1950" dirty="0" smtClean="0">
                <a:solidFill>
                  <a:srgbClr val="4E81BC"/>
                </a:solidFill>
                <a:latin typeface="+mj-lt"/>
                <a:cs typeface="Calibri"/>
              </a:rPr>
              <a:t>linkage </a:t>
            </a:r>
            <a:r>
              <a:rPr lang="en-US" sz="4200" baseline="1950" dirty="0">
                <a:solidFill>
                  <a:srgbClr val="4E81BC"/>
                </a:solidFill>
                <a:latin typeface="+mj-lt"/>
                <a:cs typeface="Calibri"/>
              </a:rPr>
              <a:t>= </a:t>
            </a:r>
            <a:r>
              <a:rPr lang="en-US" sz="4200" baseline="1950" dirty="0" smtClean="0">
                <a:solidFill>
                  <a:srgbClr val="4E81BC"/>
                </a:solidFill>
                <a:latin typeface="+mj-lt"/>
                <a:cs typeface="Calibri"/>
              </a:rPr>
              <a:t>“ward”</a:t>
            </a:r>
            <a:endParaRPr sz="2800" dirty="0">
              <a:latin typeface="+mj-lt"/>
              <a:cs typeface="Calibri"/>
            </a:endParaRPr>
          </a:p>
        </p:txBody>
      </p:sp>
      <p:sp>
        <p:nvSpPr>
          <p:cNvPr id="85" name="object 13"/>
          <p:cNvSpPr txBox="1"/>
          <p:nvPr/>
        </p:nvSpPr>
        <p:spPr>
          <a:xfrm>
            <a:off x="604886" y="999752"/>
            <a:ext cx="8234313" cy="930896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>
              <a:lnSpc>
                <a:spcPts val="3400"/>
              </a:lnSpc>
              <a:spcBef>
                <a:spcPts val="170"/>
              </a:spcBef>
            </a:pPr>
            <a:r>
              <a:rPr lang="en-US" sz="4200" baseline="2925" dirty="0">
                <a:solidFill>
                  <a:srgbClr val="7F7E7E"/>
                </a:solidFill>
                <a:cs typeface="Calibri"/>
              </a:rPr>
              <a:t>Don’t </a:t>
            </a:r>
            <a:r>
              <a:rPr lang="en-US" sz="4200" baseline="2925" dirty="0" smtClean="0">
                <a:solidFill>
                  <a:srgbClr val="7F7E7E"/>
                </a:solidFill>
                <a:cs typeface="Calibri"/>
              </a:rPr>
              <a:t>merge </a:t>
            </a:r>
            <a:r>
              <a:rPr lang="en-US" sz="4200" baseline="1950" dirty="0">
                <a:solidFill>
                  <a:srgbClr val="7F7E7E"/>
                </a:solidFill>
                <a:cs typeface="Calibri"/>
              </a:rPr>
              <a:t>based on distance. Merge the two whose</a:t>
            </a:r>
            <a:endParaRPr lang="en-US" sz="2800" dirty="0">
              <a:solidFill>
                <a:srgbClr val="7F7E7E"/>
              </a:solidFill>
              <a:cs typeface="Calibri"/>
            </a:endParaRPr>
          </a:p>
          <a:p>
            <a:pPr marL="12700">
              <a:lnSpc>
                <a:spcPts val="3400"/>
              </a:lnSpc>
              <a:spcBef>
                <a:spcPts val="170"/>
              </a:spcBef>
            </a:pPr>
            <a:r>
              <a:rPr lang="en-US" sz="4200" baseline="2925" dirty="0" smtClean="0">
                <a:solidFill>
                  <a:srgbClr val="7F7E7E"/>
                </a:solidFill>
                <a:cs typeface="Calibri"/>
              </a:rPr>
              <a:t>combination will give the best score (lowest inertia).</a:t>
            </a:r>
            <a:endParaRPr sz="4200" dirty="0">
              <a:solidFill>
                <a:srgbClr val="7F7E7E"/>
              </a:solidFill>
              <a:latin typeface="+mj-lt"/>
              <a:cs typeface="Calibri"/>
            </a:endParaRPr>
          </a:p>
        </p:txBody>
      </p:sp>
      <p:sp>
        <p:nvSpPr>
          <p:cNvPr id="86" name="object 2"/>
          <p:cNvSpPr txBox="1"/>
          <p:nvPr/>
        </p:nvSpPr>
        <p:spPr>
          <a:xfrm>
            <a:off x="1673165" y="2308963"/>
            <a:ext cx="6303362" cy="405467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87" name="object 2"/>
          <p:cNvSpPr txBox="1"/>
          <p:nvPr/>
        </p:nvSpPr>
        <p:spPr>
          <a:xfrm>
            <a:off x="1673165" y="2308963"/>
            <a:ext cx="6303362" cy="405467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88" name="object 82"/>
          <p:cNvSpPr/>
          <p:nvPr/>
        </p:nvSpPr>
        <p:spPr>
          <a:xfrm>
            <a:off x="3691847" y="5875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9" name="object 84"/>
          <p:cNvSpPr/>
          <p:nvPr/>
        </p:nvSpPr>
        <p:spPr>
          <a:xfrm>
            <a:off x="4677222" y="590921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0" name="object 86"/>
          <p:cNvSpPr/>
          <p:nvPr/>
        </p:nvSpPr>
        <p:spPr>
          <a:xfrm>
            <a:off x="5529026" y="589026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1" name="object 74"/>
          <p:cNvSpPr/>
          <p:nvPr/>
        </p:nvSpPr>
        <p:spPr>
          <a:xfrm>
            <a:off x="1945944" y="558313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2" name="object 72"/>
          <p:cNvSpPr/>
          <p:nvPr/>
        </p:nvSpPr>
        <p:spPr>
          <a:xfrm>
            <a:off x="5236841" y="2905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40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80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3" name="object 70"/>
          <p:cNvSpPr/>
          <p:nvPr/>
        </p:nvSpPr>
        <p:spPr>
          <a:xfrm>
            <a:off x="4837588" y="252356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4" name="object 68"/>
          <p:cNvSpPr/>
          <p:nvPr/>
        </p:nvSpPr>
        <p:spPr>
          <a:xfrm>
            <a:off x="4425503" y="211104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5" name="object 66"/>
          <p:cNvSpPr/>
          <p:nvPr/>
        </p:nvSpPr>
        <p:spPr>
          <a:xfrm>
            <a:off x="6149478" y="380010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094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6" name="object 63"/>
          <p:cNvSpPr/>
          <p:nvPr/>
        </p:nvSpPr>
        <p:spPr>
          <a:xfrm>
            <a:off x="5158317" y="54094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6"/>
                </a:lnTo>
                <a:lnTo>
                  <a:pt x="1583" y="198179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6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2"/>
                </a:lnTo>
                <a:lnTo>
                  <a:pt x="49876" y="299561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6"/>
                </a:lnTo>
                <a:lnTo>
                  <a:pt x="196530" y="342926"/>
                </a:lnTo>
                <a:lnTo>
                  <a:pt x="209650" y="339004"/>
                </a:lnTo>
                <a:lnTo>
                  <a:pt x="222295" y="333936"/>
                </a:lnTo>
                <a:lnTo>
                  <a:pt x="234413" y="327778"/>
                </a:lnTo>
                <a:lnTo>
                  <a:pt x="245953" y="320583"/>
                </a:lnTo>
                <a:lnTo>
                  <a:pt x="256864" y="312409"/>
                </a:lnTo>
                <a:lnTo>
                  <a:pt x="267095" y="303311"/>
                </a:lnTo>
                <a:lnTo>
                  <a:pt x="276595" y="293343"/>
                </a:lnTo>
                <a:lnTo>
                  <a:pt x="285312" y="282562"/>
                </a:lnTo>
                <a:lnTo>
                  <a:pt x="293195" y="271023"/>
                </a:lnTo>
                <a:lnTo>
                  <a:pt x="300193" y="258781"/>
                </a:lnTo>
                <a:lnTo>
                  <a:pt x="306255" y="245892"/>
                </a:lnTo>
                <a:lnTo>
                  <a:pt x="311330" y="232411"/>
                </a:lnTo>
                <a:lnTo>
                  <a:pt x="315366" y="218394"/>
                </a:lnTo>
                <a:lnTo>
                  <a:pt x="318312" y="203896"/>
                </a:lnTo>
                <a:lnTo>
                  <a:pt x="320117" y="188973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9" y="93485"/>
                </a:lnTo>
                <a:lnTo>
                  <a:pt x="296006" y="80986"/>
                </a:lnTo>
                <a:lnTo>
                  <a:pt x="288459" y="69169"/>
                </a:lnTo>
                <a:lnTo>
                  <a:pt x="280058" y="58089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4"/>
                </a:lnTo>
                <a:lnTo>
                  <a:pt x="86318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7" name="object 62"/>
          <p:cNvSpPr/>
          <p:nvPr/>
        </p:nvSpPr>
        <p:spPr>
          <a:xfrm>
            <a:off x="3604437" y="388180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8" name="object 60"/>
          <p:cNvSpPr/>
          <p:nvPr/>
        </p:nvSpPr>
        <p:spPr>
          <a:xfrm>
            <a:off x="2728738" y="495895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9" name="object 58"/>
          <p:cNvSpPr/>
          <p:nvPr/>
        </p:nvSpPr>
        <p:spPr>
          <a:xfrm>
            <a:off x="6790937" y="243336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0" name="object 56"/>
          <p:cNvSpPr/>
          <p:nvPr/>
        </p:nvSpPr>
        <p:spPr>
          <a:xfrm>
            <a:off x="5830796" y="23498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1" name="object 54"/>
          <p:cNvSpPr/>
          <p:nvPr/>
        </p:nvSpPr>
        <p:spPr>
          <a:xfrm>
            <a:off x="6630572" y="314183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2" name="object 52"/>
          <p:cNvSpPr/>
          <p:nvPr/>
        </p:nvSpPr>
        <p:spPr>
          <a:xfrm>
            <a:off x="3973599" y="450879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3" name="object 50"/>
          <p:cNvSpPr/>
          <p:nvPr/>
        </p:nvSpPr>
        <p:spPr>
          <a:xfrm>
            <a:off x="3718772" y="50002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4" name="object 48"/>
          <p:cNvSpPr/>
          <p:nvPr/>
        </p:nvSpPr>
        <p:spPr>
          <a:xfrm>
            <a:off x="2408007" y="44379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5" name="object 42"/>
          <p:cNvSpPr/>
          <p:nvPr/>
        </p:nvSpPr>
        <p:spPr>
          <a:xfrm>
            <a:off x="5025578" y="369976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6" name="object 44"/>
          <p:cNvSpPr/>
          <p:nvPr/>
        </p:nvSpPr>
        <p:spPr>
          <a:xfrm>
            <a:off x="4837588" y="296815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7" name="object 46"/>
          <p:cNvSpPr/>
          <p:nvPr/>
        </p:nvSpPr>
        <p:spPr>
          <a:xfrm>
            <a:off x="4698983" y="33524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8" name="object 40"/>
          <p:cNvSpPr/>
          <p:nvPr/>
        </p:nvSpPr>
        <p:spPr>
          <a:xfrm>
            <a:off x="4490595" y="5309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9" name="object 38"/>
          <p:cNvSpPr/>
          <p:nvPr/>
        </p:nvSpPr>
        <p:spPr>
          <a:xfrm>
            <a:off x="6309840" y="26070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0" name="object 36"/>
          <p:cNvSpPr/>
          <p:nvPr/>
        </p:nvSpPr>
        <p:spPr>
          <a:xfrm>
            <a:off x="6662640" y="379011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6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7"/>
                </a:lnTo>
                <a:lnTo>
                  <a:pt x="310251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094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1" name="object 34"/>
          <p:cNvSpPr/>
          <p:nvPr/>
        </p:nvSpPr>
        <p:spPr>
          <a:xfrm>
            <a:off x="4315829" y="28709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2" name="object 32"/>
          <p:cNvSpPr/>
          <p:nvPr/>
        </p:nvSpPr>
        <p:spPr>
          <a:xfrm>
            <a:off x="6470207" y="198120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3" name="object 30"/>
          <p:cNvSpPr/>
          <p:nvPr/>
        </p:nvSpPr>
        <p:spPr>
          <a:xfrm>
            <a:off x="5479047" y="355789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4" name="object 28"/>
          <p:cNvSpPr/>
          <p:nvPr/>
        </p:nvSpPr>
        <p:spPr>
          <a:xfrm>
            <a:off x="4155464" y="571658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5" name="object 26"/>
          <p:cNvSpPr/>
          <p:nvPr/>
        </p:nvSpPr>
        <p:spPr>
          <a:xfrm>
            <a:off x="4859348" y="49095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6" name="object 24"/>
          <p:cNvSpPr/>
          <p:nvPr/>
        </p:nvSpPr>
        <p:spPr>
          <a:xfrm>
            <a:off x="2806145" y="390525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7" name="object 22"/>
          <p:cNvSpPr/>
          <p:nvPr/>
        </p:nvSpPr>
        <p:spPr>
          <a:xfrm>
            <a:off x="2530320" y="55944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8" name="object 20"/>
          <p:cNvSpPr/>
          <p:nvPr/>
        </p:nvSpPr>
        <p:spPr>
          <a:xfrm>
            <a:off x="3126876" y="443922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9" name="object 18"/>
          <p:cNvSpPr/>
          <p:nvPr/>
        </p:nvSpPr>
        <p:spPr>
          <a:xfrm>
            <a:off x="5991162" y="307897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0" name="object 6"/>
          <p:cNvSpPr txBox="1"/>
          <p:nvPr/>
        </p:nvSpPr>
        <p:spPr>
          <a:xfrm>
            <a:off x="609600" y="4147206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grpSp>
        <p:nvGrpSpPr>
          <p:cNvPr id="121" name="Group 120"/>
          <p:cNvGrpSpPr/>
          <p:nvPr/>
        </p:nvGrpSpPr>
        <p:grpSpPr>
          <a:xfrm>
            <a:off x="1660913" y="2276856"/>
            <a:ext cx="6303362" cy="4054670"/>
            <a:chOff x="2343901" y="1923700"/>
            <a:chExt cx="6303362" cy="4054670"/>
          </a:xfrm>
        </p:grpSpPr>
        <p:sp>
          <p:nvSpPr>
            <p:cNvPr id="122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123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9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 3"/>
          <p:cNvSpPr/>
          <p:nvPr/>
        </p:nvSpPr>
        <p:spPr>
          <a:xfrm>
            <a:off x="4162425" y="1857375"/>
            <a:ext cx="3533775" cy="2628900"/>
          </a:xfrm>
          <a:custGeom>
            <a:avLst/>
            <a:gdLst>
              <a:gd name="connsiteX0" fmla="*/ 76200 w 3533775"/>
              <a:gd name="connsiteY0" fmla="*/ 333375 h 2628900"/>
              <a:gd name="connsiteX1" fmla="*/ 247650 w 3533775"/>
              <a:gd name="connsiteY1" fmla="*/ 171450 h 2628900"/>
              <a:gd name="connsiteX2" fmla="*/ 581025 w 3533775"/>
              <a:gd name="connsiteY2" fmla="*/ 28575 h 2628900"/>
              <a:gd name="connsiteX3" fmla="*/ 1143000 w 3533775"/>
              <a:gd name="connsiteY3" fmla="*/ 57150 h 2628900"/>
              <a:gd name="connsiteX4" fmla="*/ 1447800 w 3533775"/>
              <a:gd name="connsiteY4" fmla="*/ 0 h 2628900"/>
              <a:gd name="connsiteX5" fmla="*/ 1885950 w 3533775"/>
              <a:gd name="connsiteY5" fmla="*/ 19050 h 2628900"/>
              <a:gd name="connsiteX6" fmla="*/ 2695575 w 3533775"/>
              <a:gd name="connsiteY6" fmla="*/ 19050 h 2628900"/>
              <a:gd name="connsiteX7" fmla="*/ 3133725 w 3533775"/>
              <a:gd name="connsiteY7" fmla="*/ 171450 h 2628900"/>
              <a:gd name="connsiteX8" fmla="*/ 3343275 w 3533775"/>
              <a:gd name="connsiteY8" fmla="*/ 571500 h 2628900"/>
              <a:gd name="connsiteX9" fmla="*/ 3457575 w 3533775"/>
              <a:gd name="connsiteY9" fmla="*/ 866775 h 2628900"/>
              <a:gd name="connsiteX10" fmla="*/ 3533775 w 3533775"/>
              <a:gd name="connsiteY10" fmla="*/ 1314450 h 2628900"/>
              <a:gd name="connsiteX11" fmla="*/ 3438525 w 3533775"/>
              <a:gd name="connsiteY11" fmla="*/ 1952625 h 2628900"/>
              <a:gd name="connsiteX12" fmla="*/ 3333750 w 3533775"/>
              <a:gd name="connsiteY12" fmla="*/ 2257425 h 2628900"/>
              <a:gd name="connsiteX13" fmla="*/ 3209925 w 3533775"/>
              <a:gd name="connsiteY13" fmla="*/ 2466975 h 2628900"/>
              <a:gd name="connsiteX14" fmla="*/ 2838450 w 3533775"/>
              <a:gd name="connsiteY14" fmla="*/ 2562225 h 2628900"/>
              <a:gd name="connsiteX15" fmla="*/ 1885950 w 3533775"/>
              <a:gd name="connsiteY15" fmla="*/ 2590800 h 2628900"/>
              <a:gd name="connsiteX16" fmla="*/ 1781175 w 3533775"/>
              <a:gd name="connsiteY16" fmla="*/ 2600325 h 2628900"/>
              <a:gd name="connsiteX17" fmla="*/ 1581150 w 3533775"/>
              <a:gd name="connsiteY17" fmla="*/ 2628900 h 2628900"/>
              <a:gd name="connsiteX18" fmla="*/ 1447800 w 3533775"/>
              <a:gd name="connsiteY18" fmla="*/ 2628900 h 2628900"/>
              <a:gd name="connsiteX19" fmla="*/ 866775 w 3533775"/>
              <a:gd name="connsiteY19" fmla="*/ 2428875 h 2628900"/>
              <a:gd name="connsiteX20" fmla="*/ 752475 w 3533775"/>
              <a:gd name="connsiteY20" fmla="*/ 2352675 h 2628900"/>
              <a:gd name="connsiteX21" fmla="*/ 466725 w 3533775"/>
              <a:gd name="connsiteY21" fmla="*/ 2124075 h 2628900"/>
              <a:gd name="connsiteX22" fmla="*/ 247650 w 3533775"/>
              <a:gd name="connsiteY22" fmla="*/ 1857375 h 2628900"/>
              <a:gd name="connsiteX23" fmla="*/ 161925 w 3533775"/>
              <a:gd name="connsiteY23" fmla="*/ 1581150 h 2628900"/>
              <a:gd name="connsiteX24" fmla="*/ 76200 w 3533775"/>
              <a:gd name="connsiteY24" fmla="*/ 1247775 h 2628900"/>
              <a:gd name="connsiteX25" fmla="*/ 0 w 3533775"/>
              <a:gd name="connsiteY25" fmla="*/ 942975 h 2628900"/>
              <a:gd name="connsiteX26" fmla="*/ 0 w 3533775"/>
              <a:gd name="connsiteY26" fmla="*/ 647700 h 2628900"/>
              <a:gd name="connsiteX27" fmla="*/ 95250 w 3533775"/>
              <a:gd name="connsiteY27" fmla="*/ 285750 h 26289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3533775" h="2628900">
                <a:moveTo>
                  <a:pt x="76200" y="333375"/>
                </a:moveTo>
                <a:lnTo>
                  <a:pt x="247650" y="171450"/>
                </a:lnTo>
                <a:lnTo>
                  <a:pt x="581025" y="28575"/>
                </a:lnTo>
                <a:lnTo>
                  <a:pt x="1143000" y="57150"/>
                </a:lnTo>
                <a:lnTo>
                  <a:pt x="1447800" y="0"/>
                </a:lnTo>
                <a:lnTo>
                  <a:pt x="1885950" y="19050"/>
                </a:lnTo>
                <a:lnTo>
                  <a:pt x="2695575" y="19050"/>
                </a:lnTo>
                <a:lnTo>
                  <a:pt x="3133725" y="171450"/>
                </a:lnTo>
                <a:lnTo>
                  <a:pt x="3343275" y="571500"/>
                </a:lnTo>
                <a:lnTo>
                  <a:pt x="3457575" y="866775"/>
                </a:lnTo>
                <a:lnTo>
                  <a:pt x="3533775" y="1314450"/>
                </a:lnTo>
                <a:lnTo>
                  <a:pt x="3438525" y="1952625"/>
                </a:lnTo>
                <a:lnTo>
                  <a:pt x="3333750" y="2257425"/>
                </a:lnTo>
                <a:lnTo>
                  <a:pt x="3209925" y="2466975"/>
                </a:lnTo>
                <a:lnTo>
                  <a:pt x="2838450" y="2562225"/>
                </a:lnTo>
                <a:lnTo>
                  <a:pt x="1885950" y="2590800"/>
                </a:lnTo>
                <a:lnTo>
                  <a:pt x="1781175" y="2600325"/>
                </a:lnTo>
                <a:lnTo>
                  <a:pt x="1581150" y="2628900"/>
                </a:lnTo>
                <a:lnTo>
                  <a:pt x="1447800" y="2628900"/>
                </a:lnTo>
                <a:lnTo>
                  <a:pt x="866775" y="2428875"/>
                </a:lnTo>
                <a:cubicBezTo>
                  <a:pt x="765709" y="2358129"/>
                  <a:pt x="806189" y="2379532"/>
                  <a:pt x="752475" y="2352675"/>
                </a:cubicBezTo>
                <a:lnTo>
                  <a:pt x="466725" y="2124075"/>
                </a:lnTo>
                <a:lnTo>
                  <a:pt x="247650" y="1857375"/>
                </a:lnTo>
                <a:lnTo>
                  <a:pt x="161925" y="1581150"/>
                </a:lnTo>
                <a:lnTo>
                  <a:pt x="76200" y="1247775"/>
                </a:lnTo>
                <a:lnTo>
                  <a:pt x="0" y="942975"/>
                </a:lnTo>
                <a:lnTo>
                  <a:pt x="0" y="647700"/>
                </a:lnTo>
                <a:lnTo>
                  <a:pt x="95250" y="285750"/>
                </a:lnTo>
              </a:path>
            </a:pathLst>
          </a:custGeom>
          <a:noFill/>
          <a:ln w="28575">
            <a:solidFill>
              <a:srgbClr val="F69545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5" name="object 3"/>
          <p:cNvSpPr txBox="1"/>
          <p:nvPr/>
        </p:nvSpPr>
        <p:spPr>
          <a:xfrm>
            <a:off x="604887" y="533891"/>
            <a:ext cx="8234312" cy="3810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3000"/>
              </a:lnSpc>
              <a:spcBef>
                <a:spcPts val="150"/>
              </a:spcBef>
            </a:pPr>
            <a:r>
              <a:rPr lang="en-US" sz="4200" baseline="1950" dirty="0" smtClean="0">
                <a:solidFill>
                  <a:srgbClr val="4E81BC"/>
                </a:solidFill>
                <a:latin typeface="+mj-lt"/>
                <a:cs typeface="Calibri"/>
              </a:rPr>
              <a:t>linkage </a:t>
            </a:r>
            <a:r>
              <a:rPr lang="en-US" sz="4200" baseline="1950" dirty="0">
                <a:solidFill>
                  <a:srgbClr val="4E81BC"/>
                </a:solidFill>
                <a:latin typeface="+mj-lt"/>
                <a:cs typeface="Calibri"/>
              </a:rPr>
              <a:t>= </a:t>
            </a:r>
            <a:r>
              <a:rPr lang="en-US" sz="4200" baseline="1950" dirty="0" smtClean="0">
                <a:solidFill>
                  <a:srgbClr val="4E81BC"/>
                </a:solidFill>
                <a:latin typeface="+mj-lt"/>
                <a:cs typeface="Calibri"/>
              </a:rPr>
              <a:t>“ward”</a:t>
            </a:r>
            <a:endParaRPr sz="2800" dirty="0">
              <a:latin typeface="+mj-lt"/>
              <a:cs typeface="Calibri"/>
            </a:endParaRPr>
          </a:p>
        </p:txBody>
      </p:sp>
      <p:sp>
        <p:nvSpPr>
          <p:cNvPr id="86" name="object 13"/>
          <p:cNvSpPr txBox="1"/>
          <p:nvPr/>
        </p:nvSpPr>
        <p:spPr>
          <a:xfrm>
            <a:off x="604886" y="999752"/>
            <a:ext cx="8234313" cy="815480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>
              <a:lnSpc>
                <a:spcPts val="3000"/>
              </a:lnSpc>
              <a:spcBef>
                <a:spcPts val="150"/>
              </a:spcBef>
            </a:pPr>
            <a:r>
              <a:rPr lang="en-US" sz="4200" baseline="1950" dirty="0">
                <a:solidFill>
                  <a:srgbClr val="7F7E7E"/>
                </a:solidFill>
                <a:cs typeface="Calibri"/>
              </a:rPr>
              <a:t>This will </a:t>
            </a:r>
            <a:r>
              <a:rPr lang="en-US" sz="4200" baseline="1950" dirty="0" smtClean="0">
                <a:solidFill>
                  <a:srgbClr val="7F7E7E"/>
                </a:solidFill>
                <a:cs typeface="Calibri"/>
              </a:rPr>
              <a:t>choose </a:t>
            </a:r>
            <a:r>
              <a:rPr lang="en-US" sz="4200" baseline="1950" dirty="0">
                <a:solidFill>
                  <a:srgbClr val="7F7E7E"/>
                </a:solidFill>
                <a:cs typeface="Calibri"/>
              </a:rPr>
              <a:t>the merge with the </a:t>
            </a:r>
            <a:r>
              <a:rPr lang="en-US" sz="4200" baseline="1950" dirty="0" smtClean="0">
                <a:solidFill>
                  <a:srgbClr val="7F7E7E"/>
                </a:solidFill>
                <a:cs typeface="Calibri"/>
              </a:rPr>
              <a:t>minimum within-cluster variance (high density clusters). </a:t>
            </a:r>
            <a:endParaRPr lang="en-US" sz="2800" dirty="0">
              <a:solidFill>
                <a:srgbClr val="7F7E7E"/>
              </a:solidFill>
              <a:cs typeface="Calibri"/>
            </a:endParaRPr>
          </a:p>
        </p:txBody>
      </p:sp>
      <p:sp>
        <p:nvSpPr>
          <p:cNvPr id="87" name="object 2"/>
          <p:cNvSpPr txBox="1"/>
          <p:nvPr/>
        </p:nvSpPr>
        <p:spPr>
          <a:xfrm>
            <a:off x="1673165" y="2308963"/>
            <a:ext cx="6303362" cy="405467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88" name="object 2"/>
          <p:cNvSpPr txBox="1"/>
          <p:nvPr/>
        </p:nvSpPr>
        <p:spPr>
          <a:xfrm>
            <a:off x="1673165" y="2308963"/>
            <a:ext cx="6303362" cy="405467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89" name="object 82"/>
          <p:cNvSpPr/>
          <p:nvPr/>
        </p:nvSpPr>
        <p:spPr>
          <a:xfrm>
            <a:off x="3691847" y="5875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0" name="object 84"/>
          <p:cNvSpPr/>
          <p:nvPr/>
        </p:nvSpPr>
        <p:spPr>
          <a:xfrm>
            <a:off x="4677222" y="590921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1" name="object 86"/>
          <p:cNvSpPr/>
          <p:nvPr/>
        </p:nvSpPr>
        <p:spPr>
          <a:xfrm>
            <a:off x="5529026" y="589026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2" name="object 74"/>
          <p:cNvSpPr/>
          <p:nvPr/>
        </p:nvSpPr>
        <p:spPr>
          <a:xfrm>
            <a:off x="1945944" y="558313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3" name="object 72"/>
          <p:cNvSpPr/>
          <p:nvPr/>
        </p:nvSpPr>
        <p:spPr>
          <a:xfrm>
            <a:off x="5236841" y="2905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40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80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4" name="object 70"/>
          <p:cNvSpPr/>
          <p:nvPr/>
        </p:nvSpPr>
        <p:spPr>
          <a:xfrm>
            <a:off x="4837588" y="252356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5" name="object 68"/>
          <p:cNvSpPr/>
          <p:nvPr/>
        </p:nvSpPr>
        <p:spPr>
          <a:xfrm>
            <a:off x="4425503" y="211104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6" name="object 66"/>
          <p:cNvSpPr/>
          <p:nvPr/>
        </p:nvSpPr>
        <p:spPr>
          <a:xfrm>
            <a:off x="6149478" y="380010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094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7" name="object 63"/>
          <p:cNvSpPr/>
          <p:nvPr/>
        </p:nvSpPr>
        <p:spPr>
          <a:xfrm>
            <a:off x="5158317" y="54094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6"/>
                </a:lnTo>
                <a:lnTo>
                  <a:pt x="1583" y="198179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6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2"/>
                </a:lnTo>
                <a:lnTo>
                  <a:pt x="49876" y="299561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6"/>
                </a:lnTo>
                <a:lnTo>
                  <a:pt x="196530" y="342926"/>
                </a:lnTo>
                <a:lnTo>
                  <a:pt x="209650" y="339004"/>
                </a:lnTo>
                <a:lnTo>
                  <a:pt x="222295" y="333936"/>
                </a:lnTo>
                <a:lnTo>
                  <a:pt x="234413" y="327778"/>
                </a:lnTo>
                <a:lnTo>
                  <a:pt x="245953" y="320583"/>
                </a:lnTo>
                <a:lnTo>
                  <a:pt x="256864" y="312409"/>
                </a:lnTo>
                <a:lnTo>
                  <a:pt x="267095" y="303311"/>
                </a:lnTo>
                <a:lnTo>
                  <a:pt x="276595" y="293343"/>
                </a:lnTo>
                <a:lnTo>
                  <a:pt x="285312" y="282562"/>
                </a:lnTo>
                <a:lnTo>
                  <a:pt x="293195" y="271023"/>
                </a:lnTo>
                <a:lnTo>
                  <a:pt x="300193" y="258781"/>
                </a:lnTo>
                <a:lnTo>
                  <a:pt x="306255" y="245892"/>
                </a:lnTo>
                <a:lnTo>
                  <a:pt x="311330" y="232411"/>
                </a:lnTo>
                <a:lnTo>
                  <a:pt x="315366" y="218394"/>
                </a:lnTo>
                <a:lnTo>
                  <a:pt x="318312" y="203896"/>
                </a:lnTo>
                <a:lnTo>
                  <a:pt x="320117" y="188973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9" y="93485"/>
                </a:lnTo>
                <a:lnTo>
                  <a:pt x="296006" y="80986"/>
                </a:lnTo>
                <a:lnTo>
                  <a:pt x="288459" y="69169"/>
                </a:lnTo>
                <a:lnTo>
                  <a:pt x="280058" y="58089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4"/>
                </a:lnTo>
                <a:lnTo>
                  <a:pt x="86318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8" name="object 62"/>
          <p:cNvSpPr/>
          <p:nvPr/>
        </p:nvSpPr>
        <p:spPr>
          <a:xfrm>
            <a:off x="3604437" y="388180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9" name="object 60"/>
          <p:cNvSpPr/>
          <p:nvPr/>
        </p:nvSpPr>
        <p:spPr>
          <a:xfrm>
            <a:off x="2728738" y="495895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0" name="object 58"/>
          <p:cNvSpPr/>
          <p:nvPr/>
        </p:nvSpPr>
        <p:spPr>
          <a:xfrm>
            <a:off x="6790937" y="243336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1" name="object 56"/>
          <p:cNvSpPr/>
          <p:nvPr/>
        </p:nvSpPr>
        <p:spPr>
          <a:xfrm>
            <a:off x="5830796" y="23498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2" name="object 54"/>
          <p:cNvSpPr/>
          <p:nvPr/>
        </p:nvSpPr>
        <p:spPr>
          <a:xfrm>
            <a:off x="6630572" y="314183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3" name="object 52"/>
          <p:cNvSpPr/>
          <p:nvPr/>
        </p:nvSpPr>
        <p:spPr>
          <a:xfrm>
            <a:off x="3973599" y="450879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4" name="object 50"/>
          <p:cNvSpPr/>
          <p:nvPr/>
        </p:nvSpPr>
        <p:spPr>
          <a:xfrm>
            <a:off x="3718772" y="50002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5" name="object 48"/>
          <p:cNvSpPr/>
          <p:nvPr/>
        </p:nvSpPr>
        <p:spPr>
          <a:xfrm>
            <a:off x="2408007" y="44379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6" name="object 42"/>
          <p:cNvSpPr/>
          <p:nvPr/>
        </p:nvSpPr>
        <p:spPr>
          <a:xfrm>
            <a:off x="5025578" y="369976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7" name="object 44"/>
          <p:cNvSpPr/>
          <p:nvPr/>
        </p:nvSpPr>
        <p:spPr>
          <a:xfrm>
            <a:off x="4837588" y="296815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8" name="object 46"/>
          <p:cNvSpPr/>
          <p:nvPr/>
        </p:nvSpPr>
        <p:spPr>
          <a:xfrm>
            <a:off x="4698983" y="33524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9" name="object 40"/>
          <p:cNvSpPr/>
          <p:nvPr/>
        </p:nvSpPr>
        <p:spPr>
          <a:xfrm>
            <a:off x="4490595" y="5309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0" name="object 38"/>
          <p:cNvSpPr/>
          <p:nvPr/>
        </p:nvSpPr>
        <p:spPr>
          <a:xfrm>
            <a:off x="6309840" y="26070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1" name="object 36"/>
          <p:cNvSpPr/>
          <p:nvPr/>
        </p:nvSpPr>
        <p:spPr>
          <a:xfrm>
            <a:off x="6662640" y="379011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6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7"/>
                </a:lnTo>
                <a:lnTo>
                  <a:pt x="310251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094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2" name="object 34"/>
          <p:cNvSpPr/>
          <p:nvPr/>
        </p:nvSpPr>
        <p:spPr>
          <a:xfrm>
            <a:off x="4315829" y="28709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3" name="object 32"/>
          <p:cNvSpPr/>
          <p:nvPr/>
        </p:nvSpPr>
        <p:spPr>
          <a:xfrm>
            <a:off x="6470207" y="198120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4" name="object 30"/>
          <p:cNvSpPr/>
          <p:nvPr/>
        </p:nvSpPr>
        <p:spPr>
          <a:xfrm>
            <a:off x="5479047" y="355789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5" name="object 28"/>
          <p:cNvSpPr/>
          <p:nvPr/>
        </p:nvSpPr>
        <p:spPr>
          <a:xfrm>
            <a:off x="4155464" y="571658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6" name="object 26"/>
          <p:cNvSpPr/>
          <p:nvPr/>
        </p:nvSpPr>
        <p:spPr>
          <a:xfrm>
            <a:off x="4859348" y="49095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7" name="object 24"/>
          <p:cNvSpPr/>
          <p:nvPr/>
        </p:nvSpPr>
        <p:spPr>
          <a:xfrm>
            <a:off x="2806145" y="390525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8" name="object 22"/>
          <p:cNvSpPr/>
          <p:nvPr/>
        </p:nvSpPr>
        <p:spPr>
          <a:xfrm>
            <a:off x="2530320" y="55944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9" name="object 20"/>
          <p:cNvSpPr/>
          <p:nvPr/>
        </p:nvSpPr>
        <p:spPr>
          <a:xfrm>
            <a:off x="3126876" y="443922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0" name="object 18"/>
          <p:cNvSpPr/>
          <p:nvPr/>
        </p:nvSpPr>
        <p:spPr>
          <a:xfrm>
            <a:off x="5991162" y="307897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1" name="object 6"/>
          <p:cNvSpPr txBox="1"/>
          <p:nvPr/>
        </p:nvSpPr>
        <p:spPr>
          <a:xfrm>
            <a:off x="609600" y="4147206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grpSp>
        <p:nvGrpSpPr>
          <p:cNvPr id="122" name="Group 121"/>
          <p:cNvGrpSpPr/>
          <p:nvPr/>
        </p:nvGrpSpPr>
        <p:grpSpPr>
          <a:xfrm>
            <a:off x="1660913" y="2276856"/>
            <a:ext cx="6303362" cy="4054670"/>
            <a:chOff x="2343901" y="1923700"/>
            <a:chExt cx="6303362" cy="4054670"/>
          </a:xfrm>
        </p:grpSpPr>
        <p:sp>
          <p:nvSpPr>
            <p:cNvPr id="123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124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9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bject 4"/>
          <p:cNvSpPr txBox="1"/>
          <p:nvPr/>
        </p:nvSpPr>
        <p:spPr>
          <a:xfrm>
            <a:off x="604886" y="2272039"/>
            <a:ext cx="8310513" cy="38099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3000"/>
              </a:lnSpc>
              <a:spcBef>
                <a:spcPts val="150"/>
              </a:spcBef>
            </a:pPr>
            <a:r>
              <a:rPr sz="4200" spc="0" baseline="1950" dirty="0" smtClean="0">
                <a:solidFill>
                  <a:srgbClr val="7F7E7E"/>
                </a:solidFill>
                <a:cs typeface="Calibri"/>
              </a:rPr>
              <a:t>or</a:t>
            </a:r>
            <a:endParaRPr sz="2800" dirty="0">
              <a:solidFill>
                <a:srgbClr val="7F7E7E"/>
              </a:solidFill>
              <a:cs typeface="Calibri"/>
            </a:endParaRPr>
          </a:p>
        </p:txBody>
      </p:sp>
      <p:sp>
        <p:nvSpPr>
          <p:cNvPr id="3" name="object 3"/>
          <p:cNvSpPr txBox="1"/>
          <p:nvPr/>
        </p:nvSpPr>
        <p:spPr>
          <a:xfrm>
            <a:off x="604887" y="3536565"/>
            <a:ext cx="8310513" cy="8001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3035"/>
              </a:lnSpc>
              <a:spcBef>
                <a:spcPts val="151"/>
              </a:spcBef>
            </a:pPr>
            <a:r>
              <a:rPr sz="4200" b="1" spc="0" baseline="2925" dirty="0" smtClean="0">
                <a:solidFill>
                  <a:srgbClr val="7F7E7E"/>
                </a:solidFill>
                <a:cs typeface="Calibri"/>
              </a:rPr>
              <a:t>fr</a:t>
            </a:r>
            <a:r>
              <a:rPr sz="4200" b="1" spc="-4" baseline="2925" dirty="0" smtClean="0">
                <a:solidFill>
                  <a:srgbClr val="7F7E7E"/>
                </a:solidFill>
                <a:cs typeface="Calibri"/>
              </a:rPr>
              <a:t>o</a:t>
            </a:r>
            <a:r>
              <a:rPr sz="4200" b="1" spc="0" baseline="2925" dirty="0" smtClean="0">
                <a:solidFill>
                  <a:srgbClr val="7F7E7E"/>
                </a:solidFill>
                <a:cs typeface="Calibri"/>
              </a:rPr>
              <a:t>m </a:t>
            </a:r>
            <a:r>
              <a:rPr sz="4200" spc="0" baseline="2925" dirty="0" smtClean="0">
                <a:solidFill>
                  <a:srgbClr val="4E81BC"/>
                </a:solidFill>
                <a:cs typeface="Calibri"/>
              </a:rPr>
              <a:t>sklearn.cluster </a:t>
            </a:r>
            <a:r>
              <a:rPr sz="4200" b="1" spc="0" baseline="2925" dirty="0" smtClean="0">
                <a:solidFill>
                  <a:srgbClr val="7F7E7E"/>
                </a:solidFill>
                <a:cs typeface="Calibri"/>
              </a:rPr>
              <a:t>impo</a:t>
            </a:r>
            <a:r>
              <a:rPr sz="4200" b="1" spc="4" baseline="2925" dirty="0" smtClean="0">
                <a:solidFill>
                  <a:srgbClr val="7F7E7E"/>
                </a:solidFill>
                <a:cs typeface="Calibri"/>
              </a:rPr>
              <a:t>r</a:t>
            </a:r>
            <a:r>
              <a:rPr sz="4200" b="1" spc="0" baseline="2925" dirty="0" smtClean="0">
                <a:solidFill>
                  <a:srgbClr val="7F7E7E"/>
                </a:solidFill>
                <a:cs typeface="Calibri"/>
              </a:rPr>
              <a:t>t </a:t>
            </a:r>
            <a:r>
              <a:rPr sz="4200" spc="0" baseline="2925" dirty="0" smtClean="0">
                <a:solidFill>
                  <a:srgbClr val="9BBA58"/>
                </a:solidFill>
                <a:cs typeface="Calibri"/>
              </a:rPr>
              <a:t>Ward</a:t>
            </a:r>
            <a:endParaRPr sz="2800" dirty="0">
              <a:cs typeface="Calibri"/>
            </a:endParaRPr>
          </a:p>
          <a:p>
            <a:pPr marL="12700" marR="53339">
              <a:lnSpc>
                <a:spcPts val="3265"/>
              </a:lnSpc>
              <a:spcBef>
                <a:spcPts val="11"/>
              </a:spcBef>
            </a:pPr>
            <a:r>
              <a:rPr sz="2800" spc="0" dirty="0" smtClean="0">
                <a:solidFill>
                  <a:srgbClr val="7F7E7E"/>
                </a:solidFill>
                <a:cs typeface="Calibri"/>
              </a:rPr>
              <a:t>Ward().ﬁt_predict(X)</a:t>
            </a:r>
            <a:endParaRPr sz="2800" dirty="0">
              <a:solidFill>
                <a:srgbClr val="7F7E7E"/>
              </a:solidFill>
              <a:cs typeface="Calibri"/>
            </a:endParaRPr>
          </a:p>
        </p:txBody>
      </p:sp>
      <p:sp>
        <p:nvSpPr>
          <p:cNvPr id="2" name="object 2"/>
          <p:cNvSpPr txBox="1"/>
          <p:nvPr/>
        </p:nvSpPr>
        <p:spPr>
          <a:xfrm>
            <a:off x="604886" y="5220191"/>
            <a:ext cx="8310513" cy="34240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3000"/>
              </a:lnSpc>
              <a:spcBef>
                <a:spcPts val="150"/>
              </a:spcBef>
            </a:pPr>
            <a:r>
              <a:rPr sz="4200" spc="0" baseline="1950" dirty="0" smtClean="0">
                <a:solidFill>
                  <a:srgbClr val="7F7E7E"/>
                </a:solidFill>
                <a:cs typeface="Calibri"/>
              </a:rPr>
              <a:t>(Same thing)</a:t>
            </a:r>
            <a:endParaRPr sz="2800" dirty="0">
              <a:solidFill>
                <a:srgbClr val="7F7E7E"/>
              </a:solidFill>
              <a:cs typeface="Calibri"/>
            </a:endParaRPr>
          </a:p>
        </p:txBody>
      </p:sp>
      <p:sp>
        <p:nvSpPr>
          <p:cNvPr id="9" name="object 3"/>
          <p:cNvSpPr txBox="1"/>
          <p:nvPr/>
        </p:nvSpPr>
        <p:spPr>
          <a:xfrm>
            <a:off x="604887" y="533891"/>
            <a:ext cx="8310513" cy="3810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3000"/>
              </a:lnSpc>
              <a:spcBef>
                <a:spcPts val="150"/>
              </a:spcBef>
            </a:pPr>
            <a:r>
              <a:rPr sz="4200" b="1" spc="0" baseline="1950" dirty="0" smtClean="0">
                <a:solidFill>
                  <a:srgbClr val="7F7E7E"/>
                </a:solidFill>
                <a:cs typeface="Calibri"/>
              </a:rPr>
              <a:t>fr</a:t>
            </a:r>
            <a:r>
              <a:rPr sz="4200" b="1" spc="-4" baseline="1950" dirty="0" smtClean="0">
                <a:solidFill>
                  <a:srgbClr val="7F7E7E"/>
                </a:solidFill>
                <a:cs typeface="Calibri"/>
              </a:rPr>
              <a:t>o</a:t>
            </a:r>
            <a:r>
              <a:rPr sz="4200" b="1" spc="0" baseline="1950" dirty="0" smtClean="0">
                <a:solidFill>
                  <a:srgbClr val="7F7E7E"/>
                </a:solidFill>
                <a:cs typeface="Calibri"/>
              </a:rPr>
              <a:t>m </a:t>
            </a:r>
            <a:r>
              <a:rPr sz="4200" spc="0" baseline="1950" dirty="0" smtClean="0">
                <a:solidFill>
                  <a:srgbClr val="4E81BC"/>
                </a:solidFill>
                <a:cs typeface="Calibri"/>
              </a:rPr>
              <a:t>sklearn.cluster </a:t>
            </a:r>
            <a:r>
              <a:rPr sz="4200" b="1" spc="0" baseline="1950" dirty="0" smtClean="0">
                <a:solidFill>
                  <a:srgbClr val="7F7E7E"/>
                </a:solidFill>
                <a:cs typeface="Calibri"/>
              </a:rPr>
              <a:t>impo</a:t>
            </a:r>
            <a:r>
              <a:rPr sz="4200" b="1" spc="4" baseline="1950" dirty="0" smtClean="0">
                <a:solidFill>
                  <a:srgbClr val="7F7E7E"/>
                </a:solidFill>
                <a:cs typeface="Calibri"/>
              </a:rPr>
              <a:t>r</a:t>
            </a:r>
            <a:r>
              <a:rPr sz="4200" b="1" spc="0" baseline="1950" dirty="0" smtClean="0">
                <a:solidFill>
                  <a:srgbClr val="7F7E7E"/>
                </a:solidFill>
                <a:cs typeface="Calibri"/>
              </a:rPr>
              <a:t>t </a:t>
            </a:r>
            <a:r>
              <a:rPr sz="4200" spc="0" baseline="1950" dirty="0" smtClean="0">
                <a:solidFill>
                  <a:srgbClr val="9BBA58"/>
                </a:solidFill>
                <a:cs typeface="Calibri"/>
              </a:rPr>
              <a:t>Agglomera</a:t>
            </a:r>
            <a:r>
              <a:rPr lang="en-US" sz="4200" spc="0" baseline="1950" dirty="0" smtClean="0">
                <a:solidFill>
                  <a:srgbClr val="9BBA58"/>
                </a:solidFill>
                <a:cs typeface="Calibri"/>
              </a:rPr>
              <a:t>ti</a:t>
            </a:r>
            <a:r>
              <a:rPr sz="4200" spc="0" baseline="1950" dirty="0" smtClean="0">
                <a:solidFill>
                  <a:srgbClr val="9BBA58"/>
                </a:solidFill>
                <a:cs typeface="Calibri"/>
              </a:rPr>
              <a:t>veClustering</a:t>
            </a:r>
            <a:endParaRPr sz="2800" dirty="0">
              <a:cs typeface="Calibri"/>
            </a:endParaRPr>
          </a:p>
        </p:txBody>
      </p:sp>
      <p:sp>
        <p:nvSpPr>
          <p:cNvPr id="10" name="object 3"/>
          <p:cNvSpPr txBox="1"/>
          <p:nvPr/>
        </p:nvSpPr>
        <p:spPr>
          <a:xfrm>
            <a:off x="604887" y="1003791"/>
            <a:ext cx="8310513" cy="430759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>
              <a:lnSpc>
                <a:spcPts val="3000"/>
              </a:lnSpc>
              <a:spcBef>
                <a:spcPts val="150"/>
              </a:spcBef>
            </a:pPr>
            <a:r>
              <a:rPr lang="en-US" sz="4200" baseline="1950" dirty="0" smtClean="0">
                <a:solidFill>
                  <a:srgbClr val="7F7E7E"/>
                </a:solidFill>
                <a:cs typeface="Calibri"/>
              </a:rPr>
              <a:t>Agglomerative Clustering(linkage=“Ward”).</a:t>
            </a:r>
            <a:r>
              <a:rPr lang="en-US" sz="4200" baseline="1950" dirty="0" err="1" smtClean="0">
                <a:solidFill>
                  <a:srgbClr val="7F7E7E"/>
                </a:solidFill>
                <a:cs typeface="Calibri"/>
              </a:rPr>
              <a:t>fit_predict</a:t>
            </a:r>
            <a:r>
              <a:rPr lang="en-US" sz="4200" baseline="1950" dirty="0" smtClean="0">
                <a:solidFill>
                  <a:srgbClr val="7F7E7E"/>
                </a:solidFill>
                <a:cs typeface="Calibri"/>
              </a:rPr>
              <a:t>(X)</a:t>
            </a:r>
            <a:endParaRPr sz="2800" dirty="0">
              <a:solidFill>
                <a:srgbClr val="7F7E7E"/>
              </a:solidFill>
              <a:cs typeface="Calibri"/>
            </a:endParaRPr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9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/>
          <p:nvPr/>
        </p:nvSpPr>
        <p:spPr>
          <a:xfrm>
            <a:off x="604887" y="2235691"/>
            <a:ext cx="6769887" cy="25146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 marR="53340">
              <a:lnSpc>
                <a:spcPts val="3035"/>
              </a:lnSpc>
              <a:spcBef>
                <a:spcPts val="151"/>
              </a:spcBef>
            </a:pPr>
            <a:r>
              <a:rPr sz="4200" spc="0" baseline="2925" dirty="0" smtClean="0">
                <a:solidFill>
                  <a:srgbClr val="7F7E7E"/>
                </a:solidFill>
                <a:cs typeface="Calibri"/>
              </a:rPr>
              <a:t>Agglomera</a:t>
            </a:r>
            <a:r>
              <a:rPr lang="en-US" sz="4200" spc="0" baseline="2925" dirty="0" smtClean="0">
                <a:solidFill>
                  <a:srgbClr val="7F7E7E"/>
                </a:solidFill>
                <a:cs typeface="Calibri"/>
              </a:rPr>
              <a:t>ti</a:t>
            </a:r>
            <a:r>
              <a:rPr sz="4200" spc="0" baseline="2925" dirty="0" smtClean="0">
                <a:solidFill>
                  <a:srgbClr val="7F7E7E"/>
                </a:solidFill>
                <a:cs typeface="Calibri"/>
              </a:rPr>
              <a:t>veClustering(….,</a:t>
            </a:r>
            <a:endParaRPr sz="2800" dirty="0">
              <a:solidFill>
                <a:srgbClr val="7F7E7E"/>
              </a:solidFill>
              <a:cs typeface="Calibri"/>
            </a:endParaRPr>
          </a:p>
          <a:p>
            <a:pPr marL="3630929" marR="2635779" algn="ctr">
              <a:lnSpc>
                <a:spcPts val="3400"/>
              </a:lnSpc>
              <a:spcBef>
                <a:spcPts val="18"/>
              </a:spcBef>
            </a:pPr>
            <a:r>
              <a:rPr sz="2800" spc="0" dirty="0" smtClean="0">
                <a:solidFill>
                  <a:srgbClr val="7F7E7E"/>
                </a:solidFill>
                <a:cs typeface="Calibri"/>
              </a:rPr>
              <a:t>….,</a:t>
            </a:r>
            <a:endParaRPr sz="2800" dirty="0">
              <a:solidFill>
                <a:srgbClr val="7F7E7E"/>
              </a:solidFill>
              <a:cs typeface="Calibri"/>
            </a:endParaRPr>
          </a:p>
          <a:p>
            <a:pPr marL="3670300" marR="53340">
              <a:lnSpc>
                <a:spcPts val="3300"/>
              </a:lnSpc>
            </a:pPr>
            <a:r>
              <a:rPr sz="4200" spc="0" baseline="1950" dirty="0" smtClean="0">
                <a:solidFill>
                  <a:srgbClr val="7F7E7E"/>
                </a:solidFill>
                <a:cs typeface="Calibri"/>
              </a:rPr>
              <a:t>linkage = “ward”,</a:t>
            </a:r>
            <a:endParaRPr sz="2800" dirty="0">
              <a:solidFill>
                <a:srgbClr val="7F7E7E"/>
              </a:solidFill>
              <a:cs typeface="Calibri"/>
            </a:endParaRPr>
          </a:p>
          <a:p>
            <a:pPr marL="3630929" marR="2635779" algn="ctr">
              <a:lnSpc>
                <a:spcPts val="3400"/>
              </a:lnSpc>
              <a:spcBef>
                <a:spcPts val="5"/>
              </a:spcBef>
            </a:pPr>
            <a:r>
              <a:rPr sz="2800" spc="0" dirty="0" smtClean="0">
                <a:solidFill>
                  <a:srgbClr val="7F7E7E"/>
                </a:solidFill>
                <a:cs typeface="Calibri"/>
              </a:rPr>
              <a:t>….,</a:t>
            </a:r>
            <a:endParaRPr sz="2800" dirty="0">
              <a:solidFill>
                <a:srgbClr val="7F7E7E"/>
              </a:solidFill>
              <a:cs typeface="Calibri"/>
            </a:endParaRPr>
          </a:p>
          <a:p>
            <a:pPr marL="3670300">
              <a:lnSpc>
                <a:spcPts val="3300"/>
              </a:lnSpc>
            </a:pPr>
            <a:r>
              <a:rPr sz="4200" spc="0" baseline="1950" dirty="0" smtClean="0">
                <a:solidFill>
                  <a:srgbClr val="7F7E7E"/>
                </a:solidFill>
                <a:cs typeface="Calibri"/>
              </a:rPr>
              <a:t>aﬃnity = “euclidian”,</a:t>
            </a:r>
            <a:endParaRPr sz="2800" dirty="0">
              <a:solidFill>
                <a:srgbClr val="7F7E7E"/>
              </a:solidFill>
              <a:cs typeface="Calibri"/>
            </a:endParaRPr>
          </a:p>
          <a:p>
            <a:pPr marL="3630929" marR="2616680" algn="ctr">
              <a:lnSpc>
                <a:spcPts val="3365"/>
              </a:lnSpc>
              <a:spcBef>
                <a:spcPts val="3"/>
              </a:spcBef>
            </a:pPr>
            <a:r>
              <a:rPr sz="2800" spc="0" dirty="0" smtClean="0">
                <a:solidFill>
                  <a:srgbClr val="7F7E7E"/>
                </a:solidFill>
                <a:cs typeface="Calibri"/>
              </a:rPr>
              <a:t>….)</a:t>
            </a:r>
            <a:endParaRPr sz="2800" dirty="0">
              <a:solidFill>
                <a:srgbClr val="7F7E7E"/>
              </a:solidFill>
              <a:cs typeface="Calibri"/>
            </a:endParaRPr>
          </a:p>
        </p:txBody>
      </p:sp>
      <p:sp>
        <p:nvSpPr>
          <p:cNvPr id="4" name="object 3"/>
          <p:cNvSpPr txBox="1"/>
          <p:nvPr/>
        </p:nvSpPr>
        <p:spPr>
          <a:xfrm>
            <a:off x="604887" y="533891"/>
            <a:ext cx="8310513" cy="3810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3000"/>
              </a:lnSpc>
              <a:spcBef>
                <a:spcPts val="150"/>
              </a:spcBef>
            </a:pPr>
            <a:r>
              <a:rPr sz="4200" b="1" spc="0" baseline="1950" dirty="0" smtClean="0">
                <a:solidFill>
                  <a:srgbClr val="7F7E7E"/>
                </a:solidFill>
                <a:cs typeface="Calibri"/>
              </a:rPr>
              <a:t>fr</a:t>
            </a:r>
            <a:r>
              <a:rPr sz="4200" b="1" spc="-4" baseline="1950" dirty="0" smtClean="0">
                <a:solidFill>
                  <a:srgbClr val="7F7E7E"/>
                </a:solidFill>
                <a:cs typeface="Calibri"/>
              </a:rPr>
              <a:t>o</a:t>
            </a:r>
            <a:r>
              <a:rPr sz="4200" b="1" spc="0" baseline="1950" dirty="0" smtClean="0">
                <a:solidFill>
                  <a:srgbClr val="7F7E7E"/>
                </a:solidFill>
                <a:cs typeface="Calibri"/>
              </a:rPr>
              <a:t>m </a:t>
            </a:r>
            <a:r>
              <a:rPr sz="4200" spc="0" baseline="1950" dirty="0" smtClean="0">
                <a:solidFill>
                  <a:srgbClr val="4E81BC"/>
                </a:solidFill>
                <a:cs typeface="Calibri"/>
              </a:rPr>
              <a:t>sklearn.cluster </a:t>
            </a:r>
            <a:r>
              <a:rPr sz="4200" b="1" spc="0" baseline="1950" dirty="0" smtClean="0">
                <a:solidFill>
                  <a:srgbClr val="7F7E7E"/>
                </a:solidFill>
                <a:cs typeface="Calibri"/>
              </a:rPr>
              <a:t>impo</a:t>
            </a:r>
            <a:r>
              <a:rPr sz="4200" b="1" spc="4" baseline="1950" dirty="0" smtClean="0">
                <a:solidFill>
                  <a:srgbClr val="7F7E7E"/>
                </a:solidFill>
                <a:cs typeface="Calibri"/>
              </a:rPr>
              <a:t>r</a:t>
            </a:r>
            <a:r>
              <a:rPr sz="4200" b="1" spc="0" baseline="1950" dirty="0" smtClean="0">
                <a:solidFill>
                  <a:srgbClr val="7F7E7E"/>
                </a:solidFill>
                <a:cs typeface="Calibri"/>
              </a:rPr>
              <a:t>t </a:t>
            </a:r>
            <a:r>
              <a:rPr sz="4200" spc="0" baseline="1950" dirty="0" smtClean="0">
                <a:solidFill>
                  <a:srgbClr val="9BBA58"/>
                </a:solidFill>
                <a:cs typeface="Calibri"/>
              </a:rPr>
              <a:t>Agglomera</a:t>
            </a:r>
            <a:r>
              <a:rPr lang="en-US" sz="4200" spc="0" baseline="1950" dirty="0" smtClean="0">
                <a:solidFill>
                  <a:srgbClr val="9BBA58"/>
                </a:solidFill>
                <a:cs typeface="Calibri"/>
              </a:rPr>
              <a:t>ti</a:t>
            </a:r>
            <a:r>
              <a:rPr sz="4200" spc="0" baseline="1950" dirty="0" smtClean="0">
                <a:solidFill>
                  <a:srgbClr val="9BBA58"/>
                </a:solidFill>
                <a:cs typeface="Calibri"/>
              </a:rPr>
              <a:t>veClustering</a:t>
            </a:r>
            <a:endParaRPr sz="2800" dirty="0">
              <a:cs typeface="Calibri"/>
            </a:endParaRPr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9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/>
          <p:nvPr/>
        </p:nvSpPr>
        <p:spPr>
          <a:xfrm>
            <a:off x="604887" y="2235691"/>
            <a:ext cx="6769532" cy="25146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 marR="53340">
              <a:lnSpc>
                <a:spcPts val="3035"/>
              </a:lnSpc>
              <a:spcBef>
                <a:spcPts val="151"/>
              </a:spcBef>
            </a:pPr>
            <a:r>
              <a:rPr sz="4200" spc="0" baseline="2925" dirty="0" smtClean="0">
                <a:solidFill>
                  <a:srgbClr val="7F7E7E"/>
                </a:solidFill>
                <a:cs typeface="Calibri"/>
              </a:rPr>
              <a:t>Agglomer</a:t>
            </a:r>
            <a:r>
              <a:rPr lang="en-US" sz="4200" baseline="2925" dirty="0" smtClean="0">
                <a:solidFill>
                  <a:srgbClr val="7F7E7E"/>
                </a:solidFill>
                <a:cs typeface="Calibri"/>
              </a:rPr>
              <a:t>ati</a:t>
            </a:r>
            <a:r>
              <a:rPr sz="4200" spc="0" baseline="2925" dirty="0" smtClean="0">
                <a:solidFill>
                  <a:srgbClr val="7F7E7E"/>
                </a:solidFill>
                <a:cs typeface="Calibri"/>
              </a:rPr>
              <a:t>veClustering(….,</a:t>
            </a:r>
            <a:endParaRPr sz="2800" dirty="0">
              <a:solidFill>
                <a:srgbClr val="7F7E7E"/>
              </a:solidFill>
              <a:cs typeface="Calibri"/>
            </a:endParaRPr>
          </a:p>
          <a:p>
            <a:pPr marL="3630929" marR="2635424" algn="ctr">
              <a:lnSpc>
                <a:spcPts val="3400"/>
              </a:lnSpc>
              <a:spcBef>
                <a:spcPts val="18"/>
              </a:spcBef>
            </a:pPr>
            <a:r>
              <a:rPr sz="2800" spc="0" dirty="0" smtClean="0">
                <a:solidFill>
                  <a:srgbClr val="7F7E7E"/>
                </a:solidFill>
                <a:cs typeface="Calibri"/>
              </a:rPr>
              <a:t>….,</a:t>
            </a:r>
            <a:endParaRPr sz="2800" dirty="0">
              <a:solidFill>
                <a:srgbClr val="7F7E7E"/>
              </a:solidFill>
              <a:cs typeface="Calibri"/>
            </a:endParaRPr>
          </a:p>
          <a:p>
            <a:pPr marL="3670300" marR="53340">
              <a:lnSpc>
                <a:spcPts val="3300"/>
              </a:lnSpc>
            </a:pPr>
            <a:r>
              <a:rPr sz="4200" spc="0" baseline="1950" dirty="0" smtClean="0">
                <a:solidFill>
                  <a:srgbClr val="7F7E7E"/>
                </a:solidFill>
                <a:cs typeface="Calibri"/>
              </a:rPr>
              <a:t>linkage = “ward”,</a:t>
            </a:r>
            <a:endParaRPr sz="2800" dirty="0">
              <a:solidFill>
                <a:srgbClr val="7F7E7E"/>
              </a:solidFill>
              <a:cs typeface="Calibri"/>
            </a:endParaRPr>
          </a:p>
          <a:p>
            <a:pPr marL="3630929" marR="2635424" algn="ctr">
              <a:lnSpc>
                <a:spcPts val="3400"/>
              </a:lnSpc>
              <a:spcBef>
                <a:spcPts val="5"/>
              </a:spcBef>
            </a:pPr>
            <a:r>
              <a:rPr sz="2800" spc="0" dirty="0" smtClean="0">
                <a:solidFill>
                  <a:srgbClr val="7F7E7E"/>
                </a:solidFill>
                <a:cs typeface="Calibri"/>
              </a:rPr>
              <a:t>….,</a:t>
            </a:r>
            <a:endParaRPr sz="2800" dirty="0">
              <a:solidFill>
                <a:srgbClr val="7F7E7E"/>
              </a:solidFill>
              <a:cs typeface="Calibri"/>
            </a:endParaRPr>
          </a:p>
          <a:p>
            <a:pPr marL="3670300">
              <a:lnSpc>
                <a:spcPts val="3300"/>
              </a:lnSpc>
            </a:pPr>
            <a:r>
              <a:rPr sz="4200" spc="0" baseline="1950" dirty="0" smtClean="0">
                <a:solidFill>
                  <a:srgbClr val="F69545"/>
                </a:solidFill>
                <a:cs typeface="Calibri"/>
              </a:rPr>
              <a:t>aﬃnity = “euclidian”</a:t>
            </a:r>
            <a:r>
              <a:rPr sz="4200" spc="0" baseline="1950" dirty="0" smtClean="0">
                <a:solidFill>
                  <a:srgbClr val="7F7E7E"/>
                </a:solidFill>
                <a:cs typeface="Calibri"/>
              </a:rPr>
              <a:t>,</a:t>
            </a:r>
            <a:endParaRPr sz="2800" dirty="0">
              <a:cs typeface="Calibri"/>
            </a:endParaRPr>
          </a:p>
          <a:p>
            <a:pPr marL="3630929" marR="2616324" algn="ctr">
              <a:lnSpc>
                <a:spcPts val="3365"/>
              </a:lnSpc>
              <a:spcBef>
                <a:spcPts val="3"/>
              </a:spcBef>
            </a:pPr>
            <a:r>
              <a:rPr sz="2800" spc="0" dirty="0" smtClean="0">
                <a:solidFill>
                  <a:srgbClr val="7F7E7E"/>
                </a:solidFill>
                <a:cs typeface="Calibri"/>
              </a:rPr>
              <a:t>….)</a:t>
            </a:r>
            <a:endParaRPr sz="2800" dirty="0">
              <a:solidFill>
                <a:srgbClr val="7F7E7E"/>
              </a:solidFill>
              <a:cs typeface="Calibri"/>
            </a:endParaRPr>
          </a:p>
        </p:txBody>
      </p:sp>
      <p:sp>
        <p:nvSpPr>
          <p:cNvPr id="4" name="object 3"/>
          <p:cNvSpPr txBox="1"/>
          <p:nvPr/>
        </p:nvSpPr>
        <p:spPr>
          <a:xfrm>
            <a:off x="604887" y="533891"/>
            <a:ext cx="8310513" cy="3810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3000"/>
              </a:lnSpc>
              <a:spcBef>
                <a:spcPts val="150"/>
              </a:spcBef>
            </a:pPr>
            <a:r>
              <a:rPr sz="4200" b="1" spc="0" baseline="1950" dirty="0" smtClean="0">
                <a:solidFill>
                  <a:srgbClr val="7F7E7E"/>
                </a:solidFill>
                <a:cs typeface="Calibri"/>
              </a:rPr>
              <a:t>fr</a:t>
            </a:r>
            <a:r>
              <a:rPr sz="4200" b="1" spc="-4" baseline="1950" dirty="0" smtClean="0">
                <a:solidFill>
                  <a:srgbClr val="7F7E7E"/>
                </a:solidFill>
                <a:cs typeface="Calibri"/>
              </a:rPr>
              <a:t>o</a:t>
            </a:r>
            <a:r>
              <a:rPr sz="4200" b="1" spc="0" baseline="1950" dirty="0" smtClean="0">
                <a:solidFill>
                  <a:srgbClr val="7F7E7E"/>
                </a:solidFill>
                <a:cs typeface="Calibri"/>
              </a:rPr>
              <a:t>m </a:t>
            </a:r>
            <a:r>
              <a:rPr sz="4200" spc="0" baseline="1950" dirty="0" smtClean="0">
                <a:solidFill>
                  <a:srgbClr val="4E81BC"/>
                </a:solidFill>
                <a:cs typeface="Calibri"/>
              </a:rPr>
              <a:t>sklearn.cluster </a:t>
            </a:r>
            <a:r>
              <a:rPr sz="4200" b="1" spc="0" baseline="1950" dirty="0" smtClean="0">
                <a:solidFill>
                  <a:srgbClr val="7F7E7E"/>
                </a:solidFill>
                <a:cs typeface="Calibri"/>
              </a:rPr>
              <a:t>impo</a:t>
            </a:r>
            <a:r>
              <a:rPr sz="4200" b="1" spc="4" baseline="1950" dirty="0" smtClean="0">
                <a:solidFill>
                  <a:srgbClr val="7F7E7E"/>
                </a:solidFill>
                <a:cs typeface="Calibri"/>
              </a:rPr>
              <a:t>r</a:t>
            </a:r>
            <a:r>
              <a:rPr sz="4200" b="1" spc="0" baseline="1950" dirty="0" smtClean="0">
                <a:solidFill>
                  <a:srgbClr val="7F7E7E"/>
                </a:solidFill>
                <a:cs typeface="Calibri"/>
              </a:rPr>
              <a:t>t </a:t>
            </a:r>
            <a:r>
              <a:rPr sz="4200" spc="0" baseline="1950" dirty="0" smtClean="0">
                <a:solidFill>
                  <a:srgbClr val="9BBA58"/>
                </a:solidFill>
                <a:cs typeface="Calibri"/>
              </a:rPr>
              <a:t>Agglomera</a:t>
            </a:r>
            <a:r>
              <a:rPr lang="en-US" sz="4200" spc="0" baseline="1950" dirty="0" smtClean="0">
                <a:solidFill>
                  <a:srgbClr val="9BBA58"/>
                </a:solidFill>
                <a:cs typeface="Calibri"/>
              </a:rPr>
              <a:t>ti</a:t>
            </a:r>
            <a:r>
              <a:rPr sz="4200" spc="0" baseline="1950" dirty="0" smtClean="0">
                <a:solidFill>
                  <a:srgbClr val="9BBA58"/>
                </a:solidFill>
                <a:cs typeface="Calibri"/>
              </a:rPr>
              <a:t>veClustering</a:t>
            </a:r>
            <a:endParaRPr sz="2800" dirty="0">
              <a:cs typeface="Calibri"/>
            </a:endParaRPr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9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ject 3"/>
          <p:cNvSpPr/>
          <p:nvPr/>
        </p:nvSpPr>
        <p:spPr>
          <a:xfrm>
            <a:off x="1041400" y="3691729"/>
            <a:ext cx="7048498" cy="2184138"/>
          </a:xfrm>
          <a:prstGeom prst="rect">
            <a:avLst/>
          </a:prstGeom>
          <a:blipFill>
            <a:blip r:embed="rId2" cstate="print"/>
            <a:srcRect/>
            <a:stretch>
              <a:fillRect t="-1" b="-38388"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2" name="object 2"/>
          <p:cNvSpPr txBox="1"/>
          <p:nvPr/>
        </p:nvSpPr>
        <p:spPr>
          <a:xfrm>
            <a:off x="940428" y="2743200"/>
            <a:ext cx="7593972" cy="602729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ts val="4715"/>
              </a:lnSpc>
            </a:pPr>
            <a:r>
              <a:rPr lang="en-US" sz="6600" baseline="3103" dirty="0">
                <a:solidFill>
                  <a:srgbClr val="F69545"/>
                </a:solidFill>
                <a:cs typeface="Calibri"/>
              </a:rPr>
              <a:t>Distance Metrics</a:t>
            </a:r>
          </a:p>
        </p:txBody>
      </p:sp>
    </p:spTree>
    <p:extLst>
      <p:ext uri="{BB962C8B-B14F-4D97-AF65-F5344CB8AC3E}">
        <p14:creationId xmlns:p14="http://schemas.microsoft.com/office/powerpoint/2010/main" val="1363528859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9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object 5"/>
          <p:cNvSpPr txBox="1"/>
          <p:nvPr/>
        </p:nvSpPr>
        <p:spPr>
          <a:xfrm>
            <a:off x="1041016" y="545066"/>
            <a:ext cx="7874384" cy="436017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>
              <a:lnSpc>
                <a:spcPts val="3400"/>
              </a:lnSpc>
              <a:spcBef>
                <a:spcPts val="170"/>
              </a:spcBef>
            </a:pPr>
            <a:r>
              <a:rPr sz="4800" spc="0" baseline="1706" dirty="0" smtClean="0">
                <a:solidFill>
                  <a:srgbClr val="4E81BC"/>
                </a:solidFill>
                <a:latin typeface="+mj-lt"/>
                <a:cs typeface="Calibri"/>
              </a:rPr>
              <a:t>Euclidean Distance</a:t>
            </a:r>
            <a:endParaRPr sz="3200" dirty="0">
              <a:latin typeface="+mj-lt"/>
              <a:cs typeface="Calibri"/>
            </a:endParaRPr>
          </a:p>
        </p:txBody>
      </p:sp>
      <p:sp>
        <p:nvSpPr>
          <p:cNvPr id="115" name="object 82"/>
          <p:cNvSpPr/>
          <p:nvPr/>
        </p:nvSpPr>
        <p:spPr>
          <a:xfrm>
            <a:off x="4414372" y="54871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6" name="object 84"/>
          <p:cNvSpPr/>
          <p:nvPr/>
        </p:nvSpPr>
        <p:spPr>
          <a:xfrm>
            <a:off x="5399747" y="55212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7" name="object 86"/>
          <p:cNvSpPr/>
          <p:nvPr/>
        </p:nvSpPr>
        <p:spPr>
          <a:xfrm>
            <a:off x="6251551" y="55023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8" name="object 74"/>
          <p:cNvSpPr/>
          <p:nvPr/>
        </p:nvSpPr>
        <p:spPr>
          <a:xfrm>
            <a:off x="2668469" y="519520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9" name="object 72"/>
          <p:cNvSpPr/>
          <p:nvPr/>
        </p:nvSpPr>
        <p:spPr>
          <a:xfrm>
            <a:off x="5959366" y="251737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40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80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0" name="object 70"/>
          <p:cNvSpPr/>
          <p:nvPr/>
        </p:nvSpPr>
        <p:spPr>
          <a:xfrm>
            <a:off x="5560113" y="213564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1" name="object 68"/>
          <p:cNvSpPr/>
          <p:nvPr/>
        </p:nvSpPr>
        <p:spPr>
          <a:xfrm>
            <a:off x="5148028" y="1723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2" name="object 66"/>
          <p:cNvSpPr/>
          <p:nvPr/>
        </p:nvSpPr>
        <p:spPr>
          <a:xfrm>
            <a:off x="6872003" y="34121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3" name="object 63"/>
          <p:cNvSpPr/>
          <p:nvPr/>
        </p:nvSpPr>
        <p:spPr>
          <a:xfrm>
            <a:off x="5880842" y="502152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6"/>
                </a:lnTo>
                <a:lnTo>
                  <a:pt x="1583" y="198179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6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2"/>
                </a:lnTo>
                <a:lnTo>
                  <a:pt x="49876" y="299561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6"/>
                </a:lnTo>
                <a:lnTo>
                  <a:pt x="196530" y="342926"/>
                </a:lnTo>
                <a:lnTo>
                  <a:pt x="209650" y="339004"/>
                </a:lnTo>
                <a:lnTo>
                  <a:pt x="222295" y="333936"/>
                </a:lnTo>
                <a:lnTo>
                  <a:pt x="234413" y="327778"/>
                </a:lnTo>
                <a:lnTo>
                  <a:pt x="245953" y="320583"/>
                </a:lnTo>
                <a:lnTo>
                  <a:pt x="256864" y="312409"/>
                </a:lnTo>
                <a:lnTo>
                  <a:pt x="267095" y="303311"/>
                </a:lnTo>
                <a:lnTo>
                  <a:pt x="276595" y="293343"/>
                </a:lnTo>
                <a:lnTo>
                  <a:pt x="285312" y="282562"/>
                </a:lnTo>
                <a:lnTo>
                  <a:pt x="293195" y="271023"/>
                </a:lnTo>
                <a:lnTo>
                  <a:pt x="300193" y="258781"/>
                </a:lnTo>
                <a:lnTo>
                  <a:pt x="306255" y="245892"/>
                </a:lnTo>
                <a:lnTo>
                  <a:pt x="311330" y="232411"/>
                </a:lnTo>
                <a:lnTo>
                  <a:pt x="315366" y="218394"/>
                </a:lnTo>
                <a:lnTo>
                  <a:pt x="318312" y="203896"/>
                </a:lnTo>
                <a:lnTo>
                  <a:pt x="320117" y="188973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9" y="93485"/>
                </a:lnTo>
                <a:lnTo>
                  <a:pt x="296006" y="80986"/>
                </a:lnTo>
                <a:lnTo>
                  <a:pt x="288459" y="69169"/>
                </a:lnTo>
                <a:lnTo>
                  <a:pt x="280058" y="58089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4"/>
                </a:lnTo>
                <a:lnTo>
                  <a:pt x="86318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4" name="object 62"/>
          <p:cNvSpPr/>
          <p:nvPr/>
        </p:nvSpPr>
        <p:spPr>
          <a:xfrm>
            <a:off x="4326962" y="34938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5" name="object 60"/>
          <p:cNvSpPr/>
          <p:nvPr/>
        </p:nvSpPr>
        <p:spPr>
          <a:xfrm>
            <a:off x="3451263" y="457102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6" name="object 58"/>
          <p:cNvSpPr/>
          <p:nvPr/>
        </p:nvSpPr>
        <p:spPr>
          <a:xfrm>
            <a:off x="7513462" y="204543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7" name="object 56"/>
          <p:cNvSpPr/>
          <p:nvPr/>
        </p:nvSpPr>
        <p:spPr>
          <a:xfrm>
            <a:off x="6553321" y="196196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8" name="object 54"/>
          <p:cNvSpPr/>
          <p:nvPr/>
        </p:nvSpPr>
        <p:spPr>
          <a:xfrm>
            <a:off x="7353097" y="275391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9" name="object 52"/>
          <p:cNvSpPr/>
          <p:nvPr/>
        </p:nvSpPr>
        <p:spPr>
          <a:xfrm>
            <a:off x="4696124" y="412086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0" name="object 50"/>
          <p:cNvSpPr/>
          <p:nvPr/>
        </p:nvSpPr>
        <p:spPr>
          <a:xfrm>
            <a:off x="4441297" y="46123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1" name="object 48"/>
          <p:cNvSpPr/>
          <p:nvPr/>
        </p:nvSpPr>
        <p:spPr>
          <a:xfrm>
            <a:off x="3130532" y="40499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2" name="object 42"/>
          <p:cNvSpPr/>
          <p:nvPr/>
        </p:nvSpPr>
        <p:spPr>
          <a:xfrm>
            <a:off x="5748103" y="33118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3" name="object 44"/>
          <p:cNvSpPr/>
          <p:nvPr/>
        </p:nvSpPr>
        <p:spPr>
          <a:xfrm>
            <a:off x="5560113" y="25802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4" name="object 46"/>
          <p:cNvSpPr/>
          <p:nvPr/>
        </p:nvSpPr>
        <p:spPr>
          <a:xfrm>
            <a:off x="5421508" y="296447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5" name="object 40"/>
          <p:cNvSpPr/>
          <p:nvPr/>
        </p:nvSpPr>
        <p:spPr>
          <a:xfrm>
            <a:off x="5213120" y="49216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6" name="object 38"/>
          <p:cNvSpPr/>
          <p:nvPr/>
        </p:nvSpPr>
        <p:spPr>
          <a:xfrm>
            <a:off x="7032365" y="221911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7" name="object 36"/>
          <p:cNvSpPr/>
          <p:nvPr/>
        </p:nvSpPr>
        <p:spPr>
          <a:xfrm>
            <a:off x="7385165" y="340218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6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7"/>
                </a:lnTo>
                <a:lnTo>
                  <a:pt x="310251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8" name="object 34"/>
          <p:cNvSpPr/>
          <p:nvPr/>
        </p:nvSpPr>
        <p:spPr>
          <a:xfrm>
            <a:off x="5038354" y="24830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9" name="object 32"/>
          <p:cNvSpPr/>
          <p:nvPr/>
        </p:nvSpPr>
        <p:spPr>
          <a:xfrm>
            <a:off x="7192732" y="159327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0" name="object 30"/>
          <p:cNvSpPr/>
          <p:nvPr/>
        </p:nvSpPr>
        <p:spPr>
          <a:xfrm>
            <a:off x="6201572" y="316997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1" name="object 28"/>
          <p:cNvSpPr/>
          <p:nvPr/>
        </p:nvSpPr>
        <p:spPr>
          <a:xfrm>
            <a:off x="4877989" y="532865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2" name="object 26"/>
          <p:cNvSpPr/>
          <p:nvPr/>
        </p:nvSpPr>
        <p:spPr>
          <a:xfrm>
            <a:off x="5581873" y="4521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3" name="object 24"/>
          <p:cNvSpPr/>
          <p:nvPr/>
        </p:nvSpPr>
        <p:spPr>
          <a:xfrm>
            <a:off x="3528670" y="35173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4" name="object 22"/>
          <p:cNvSpPr/>
          <p:nvPr/>
        </p:nvSpPr>
        <p:spPr>
          <a:xfrm>
            <a:off x="3252845" y="520650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5" name="object 20"/>
          <p:cNvSpPr/>
          <p:nvPr/>
        </p:nvSpPr>
        <p:spPr>
          <a:xfrm>
            <a:off x="3849401" y="4051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6" name="object 18"/>
          <p:cNvSpPr/>
          <p:nvPr/>
        </p:nvSpPr>
        <p:spPr>
          <a:xfrm>
            <a:off x="6713687" y="269105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7" name="object 6"/>
          <p:cNvSpPr txBox="1"/>
          <p:nvPr/>
        </p:nvSpPr>
        <p:spPr>
          <a:xfrm>
            <a:off x="1332125" y="3759280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sp>
        <p:nvSpPr>
          <p:cNvPr id="148" name="object 5"/>
          <p:cNvSpPr txBox="1"/>
          <p:nvPr/>
        </p:nvSpPr>
        <p:spPr>
          <a:xfrm>
            <a:off x="5426815" y="6116930"/>
            <a:ext cx="542241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Age</a:t>
            </a:r>
            <a:endParaRPr sz="2400">
              <a:cs typeface="Calibri"/>
            </a:endParaRPr>
          </a:p>
        </p:txBody>
      </p:sp>
      <p:grpSp>
        <p:nvGrpSpPr>
          <p:cNvPr id="149" name="Group 148"/>
          <p:cNvGrpSpPr/>
          <p:nvPr/>
        </p:nvGrpSpPr>
        <p:grpSpPr>
          <a:xfrm>
            <a:off x="2383438" y="1888930"/>
            <a:ext cx="6303362" cy="4054670"/>
            <a:chOff x="2343901" y="1923700"/>
            <a:chExt cx="6303362" cy="4054670"/>
          </a:xfrm>
        </p:grpSpPr>
        <p:sp>
          <p:nvSpPr>
            <p:cNvPr id="150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151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717</TotalTime>
  <Words>5146</Words>
  <Application>Microsoft Macintosh PowerPoint</Application>
  <PresentationFormat>On-screen Show (4:3)</PresentationFormat>
  <Paragraphs>1381</Paragraphs>
  <Slides>236</Slides>
  <Notes>0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36</vt:i4>
      </vt:variant>
    </vt:vector>
  </HeadingPairs>
  <TitlesOfParts>
    <vt:vector size="238" baseType="lpstr">
      <vt:lpstr>Office Theme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Admin</dc:creator>
  <cp:lastModifiedBy>Resh S</cp:lastModifiedBy>
  <cp:revision>148</cp:revision>
  <dcterms:modified xsi:type="dcterms:W3CDTF">2015-09-14T18:14:27Z</dcterms:modified>
</cp:coreProperties>
</file>